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theme/themeOverride2.xml" ContentType="application/vnd.openxmlformats-officedocument.themeOverr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  <p:sldMasterId id="2147483784" r:id="rId2"/>
    <p:sldMasterId id="2147483858" r:id="rId3"/>
  </p:sldMasterIdLst>
  <p:notesMasterIdLst>
    <p:notesMasterId r:id="rId28"/>
  </p:notesMasterIdLst>
  <p:sldIdLst>
    <p:sldId id="2147378718" r:id="rId4"/>
    <p:sldId id="2147378819" r:id="rId5"/>
    <p:sldId id="2147378791" r:id="rId6"/>
    <p:sldId id="2147378820" r:id="rId7"/>
    <p:sldId id="2147378805" r:id="rId8"/>
    <p:sldId id="2147378821" r:id="rId9"/>
    <p:sldId id="416" r:id="rId10"/>
    <p:sldId id="2147378793" r:id="rId11"/>
    <p:sldId id="2147378808" r:id="rId12"/>
    <p:sldId id="2147374942" r:id="rId13"/>
    <p:sldId id="2147378810" r:id="rId14"/>
    <p:sldId id="2147378811" r:id="rId15"/>
    <p:sldId id="2147378812" r:id="rId16"/>
    <p:sldId id="2147378799" r:id="rId17"/>
    <p:sldId id="2147378813" r:id="rId18"/>
    <p:sldId id="2147378814" r:id="rId19"/>
    <p:sldId id="2147378668" r:id="rId20"/>
    <p:sldId id="2147378665" r:id="rId21"/>
    <p:sldId id="2147378715" r:id="rId22"/>
    <p:sldId id="2147378716" r:id="rId23"/>
    <p:sldId id="2147378818" r:id="rId24"/>
    <p:sldId id="2147378815" r:id="rId25"/>
    <p:sldId id="2147378817" r:id="rId26"/>
    <p:sldId id="445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8A05B"/>
    <a:srgbClr val="FBFBFB"/>
    <a:srgbClr val="95B77F"/>
    <a:srgbClr val="0F4F7D"/>
    <a:srgbClr val="EA9C30"/>
    <a:srgbClr val="F36F22"/>
    <a:srgbClr val="C00000"/>
    <a:srgbClr val="273C9A"/>
    <a:srgbClr val="70AD47"/>
    <a:srgbClr val="E9EB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81" autoAdjust="0"/>
    <p:restoredTop sz="95220" autoAdjust="0"/>
  </p:normalViewPr>
  <p:slideViewPr>
    <p:cSldViewPr snapToGrid="0" showGuides="1">
      <p:cViewPr varScale="1">
        <p:scale>
          <a:sx n="77" d="100"/>
          <a:sy n="77" d="100"/>
        </p:scale>
        <p:origin x="634" y="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862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1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2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342678850716639E-3"/>
          <c:y val="7.537134233854921E-2"/>
          <c:w val="0.99096573211492833"/>
          <c:h val="0.594201813857842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1 Q2</c:v>
                </c:pt>
              </c:strCache>
            </c:strRef>
          </c:tx>
          <c:spPr>
            <a:solidFill>
              <a:srgbClr val="001FAE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M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USA</c:v>
                </c:pt>
                <c:pt idx="1">
                  <c:v>EU</c:v>
                </c:pt>
                <c:pt idx="2">
                  <c:v>China</c:v>
                </c:pt>
                <c:pt idx="3">
                  <c:v>South Korea</c:v>
                </c:pt>
                <c:pt idx="4">
                  <c:v>India</c:v>
                </c:pt>
                <c:pt idx="5">
                  <c:v>Singapore</c:v>
                </c:pt>
                <c:pt idx="6">
                  <c:v>Vietnam</c:v>
                </c:pt>
                <c:pt idx="7">
                  <c:v>Indonesia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2.2</c:v>
                </c:pt>
                <c:pt idx="1">
                  <c:v>13.7</c:v>
                </c:pt>
                <c:pt idx="2">
                  <c:v>7.9</c:v>
                </c:pt>
                <c:pt idx="3">
                  <c:v>5.9</c:v>
                </c:pt>
                <c:pt idx="4">
                  <c:v>20.100000000000001</c:v>
                </c:pt>
                <c:pt idx="5">
                  <c:v>14.3</c:v>
                </c:pt>
                <c:pt idx="6">
                  <c:v>6.61</c:v>
                </c:pt>
                <c:pt idx="7">
                  <c:v>7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B1-4335-8CCE-8775F042DDD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21 Q3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7"/>
              <c:layout>
                <c:manualLayout>
                  <c:x val="0"/>
                  <c:y val="1.2561890389758202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0B1-4335-8CCE-8775F042DD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M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USA</c:v>
                </c:pt>
                <c:pt idx="1">
                  <c:v>EU</c:v>
                </c:pt>
                <c:pt idx="2">
                  <c:v>China</c:v>
                </c:pt>
                <c:pt idx="3">
                  <c:v>South Korea</c:v>
                </c:pt>
                <c:pt idx="4">
                  <c:v>India</c:v>
                </c:pt>
                <c:pt idx="5">
                  <c:v>Singapore</c:v>
                </c:pt>
                <c:pt idx="6">
                  <c:v>Vietnam</c:v>
                </c:pt>
                <c:pt idx="7">
                  <c:v>Indonesia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4.9000000000000004</c:v>
                </c:pt>
                <c:pt idx="1">
                  <c:v>4.0999999999999996</c:v>
                </c:pt>
                <c:pt idx="2">
                  <c:v>4.9000000000000004</c:v>
                </c:pt>
                <c:pt idx="3">
                  <c:v>4</c:v>
                </c:pt>
                <c:pt idx="4">
                  <c:v>8.4</c:v>
                </c:pt>
                <c:pt idx="5">
                  <c:v>7.1</c:v>
                </c:pt>
                <c:pt idx="6">
                  <c:v>-6</c:v>
                </c:pt>
                <c:pt idx="7">
                  <c:v>3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0B1-4335-8CCE-8775F042DDDA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21 Q4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dLbl>
              <c:idx val="6"/>
              <c:layout>
                <c:manualLayout>
                  <c:x val="-1.129283485633958E-3"/>
                  <c:y val="-3.838311056373702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0B1-4335-8CCE-8775F042DDDA}"/>
                </c:ext>
              </c:extLst>
            </c:dLbl>
            <c:dLbl>
              <c:idx val="7"/>
              <c:layout>
                <c:manualLayout>
                  <c:x val="-3.387850456901874E-3"/>
                  <c:y val="-3.8383110563737027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C0B1-4335-8CCE-8775F042DD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M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USA</c:v>
                </c:pt>
                <c:pt idx="1">
                  <c:v>EU</c:v>
                </c:pt>
                <c:pt idx="2">
                  <c:v>China</c:v>
                </c:pt>
                <c:pt idx="3">
                  <c:v>South Korea</c:v>
                </c:pt>
                <c:pt idx="4">
                  <c:v>India</c:v>
                </c:pt>
                <c:pt idx="5">
                  <c:v>Singapore</c:v>
                </c:pt>
                <c:pt idx="6">
                  <c:v>Vietnam</c:v>
                </c:pt>
                <c:pt idx="7">
                  <c:v>Indonesia</c:v>
                </c:pt>
              </c:strCache>
            </c:strRef>
          </c:cat>
          <c:val>
            <c:numRef>
              <c:f>Sheet1!$D$2:$D$9</c:f>
              <c:numCache>
                <c:formatCode>General</c:formatCode>
                <c:ptCount val="8"/>
                <c:pt idx="0">
                  <c:v>5.5</c:v>
                </c:pt>
                <c:pt idx="1">
                  <c:v>4.8</c:v>
                </c:pt>
                <c:pt idx="2">
                  <c:v>4</c:v>
                </c:pt>
                <c:pt idx="3">
                  <c:v>4.0999999999999996</c:v>
                </c:pt>
                <c:pt idx="4">
                  <c:v>5.4</c:v>
                </c:pt>
                <c:pt idx="5">
                  <c:v>5.9</c:v>
                </c:pt>
                <c:pt idx="6">
                  <c:v>5.2</c:v>
                </c:pt>
                <c:pt idx="7">
                  <c:v>5.01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C0B1-4335-8CCE-8775F042DDDA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22 Q1</c:v>
                </c:pt>
              </c:strCache>
            </c:strRef>
          </c:tx>
          <c:spPr>
            <a:solidFill>
              <a:srgbClr val="FD6D7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M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USA</c:v>
                </c:pt>
                <c:pt idx="1">
                  <c:v>EU</c:v>
                </c:pt>
                <c:pt idx="2">
                  <c:v>China</c:v>
                </c:pt>
                <c:pt idx="3">
                  <c:v>South Korea</c:v>
                </c:pt>
                <c:pt idx="4">
                  <c:v>India</c:v>
                </c:pt>
                <c:pt idx="5">
                  <c:v>Singapore</c:v>
                </c:pt>
                <c:pt idx="6">
                  <c:v>Vietnam</c:v>
                </c:pt>
                <c:pt idx="7">
                  <c:v>Indonesia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  <c:pt idx="0">
                  <c:v>3.4</c:v>
                </c:pt>
                <c:pt idx="1">
                  <c:v>5.2</c:v>
                </c:pt>
                <c:pt idx="2">
                  <c:v>4.8</c:v>
                </c:pt>
                <c:pt idx="3">
                  <c:v>3.1</c:v>
                </c:pt>
                <c:pt idx="4">
                  <c:v>4.0999999999999996</c:v>
                </c:pt>
                <c:pt idx="5">
                  <c:v>3.4</c:v>
                </c:pt>
                <c:pt idx="6">
                  <c:v>5.03</c:v>
                </c:pt>
                <c:pt idx="7">
                  <c:v>5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0B1-4335-8CCE-8775F042DDDA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22 Q2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7"/>
              <c:layout>
                <c:manualLayout>
                  <c:x val="-1.6562633123013536E-16"/>
                  <c:y val="-2.512378077951644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C0B1-4335-8CCE-8775F042DD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M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USA</c:v>
                </c:pt>
                <c:pt idx="1">
                  <c:v>EU</c:v>
                </c:pt>
                <c:pt idx="2">
                  <c:v>China</c:v>
                </c:pt>
                <c:pt idx="3">
                  <c:v>South Korea</c:v>
                </c:pt>
                <c:pt idx="4">
                  <c:v>India</c:v>
                </c:pt>
                <c:pt idx="5">
                  <c:v>Singapore</c:v>
                </c:pt>
                <c:pt idx="6">
                  <c:v>Vietnam</c:v>
                </c:pt>
                <c:pt idx="7">
                  <c:v>Indonesia</c:v>
                </c:pt>
              </c:strCache>
            </c:strRef>
          </c:cat>
          <c:val>
            <c:numRef>
              <c:f>Sheet1!$F$2:$F$9</c:f>
              <c:numCache>
                <c:formatCode>General</c:formatCode>
                <c:ptCount val="8"/>
                <c:pt idx="0">
                  <c:v>0.9</c:v>
                </c:pt>
                <c:pt idx="1">
                  <c:v>4</c:v>
                </c:pt>
                <c:pt idx="2">
                  <c:v>0.4</c:v>
                </c:pt>
                <c:pt idx="3">
                  <c:v>2.9</c:v>
                </c:pt>
                <c:pt idx="5">
                  <c:v>4.8</c:v>
                </c:pt>
                <c:pt idx="6">
                  <c:v>7.72</c:v>
                </c:pt>
                <c:pt idx="7">
                  <c:v>5.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0B1-4335-8CCE-8775F042DD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44"/>
        <c:overlap val="-27"/>
        <c:axId val="1060198928"/>
        <c:axId val="1060200560"/>
      </c:barChart>
      <c:catAx>
        <c:axId val="10601989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60200560"/>
        <c:crosses val="autoZero"/>
        <c:auto val="1"/>
        <c:lblAlgn val="ctr"/>
        <c:lblOffset val="100"/>
        <c:noMultiLvlLbl val="0"/>
      </c:catAx>
      <c:valAx>
        <c:axId val="1060200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60198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594699356726335"/>
          <c:y val="0.69509126823328715"/>
          <c:w val="0.49485255692455737"/>
          <c:h val="8.07139374009020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M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M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Papua-Maluku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rgbClr val="FFFFFF"/>
              </a:solidFill>
            </a:ln>
          </c:spPr>
          <c:invertIfNegative val="0"/>
          <c:dLbls>
            <c:dLbl>
              <c:idx val="0"/>
              <c:layout>
                <c:manualLayout>
                  <c:x val="-5.1589807603058369E-2"/>
                  <c:y val="-1.3154571969382304E-2"/>
                </c:manualLayout>
              </c:layout>
              <c:tx>
                <c:rich>
                  <a:bodyPr/>
                  <a:lstStyle/>
                  <a:p>
                    <a:r>
                      <a:rPr lang="en-US" b="0" dirty="0"/>
                      <a:t>$ 0.26</a:t>
                    </a:r>
                    <a:r>
                      <a:rPr lang="en-US" b="0" baseline="0" dirty="0"/>
                      <a:t> </a:t>
                    </a:r>
                    <a:r>
                      <a:rPr lang="en-US" b="0" dirty="0"/>
                      <a:t>million</a:t>
                    </a:r>
                  </a:p>
                  <a:p>
                    <a:r>
                      <a:rPr lang="en-US" b="1" dirty="0"/>
                      <a:t>0.0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574563816966234"/>
                      <c:h val="0.2015312162908784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8AE0-4F79-95A1-9BFDDE9580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0.2618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E0-4F79-95A1-9BFDDE9580F3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Kalimantan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srgbClr val="FFFFFF"/>
              </a:solidFill>
            </a:ln>
          </c:spPr>
          <c:invertIfNegative val="0"/>
          <c:dLbls>
            <c:dLbl>
              <c:idx val="0"/>
              <c:layout>
                <c:manualLayout>
                  <c:x val="-7.481556163682096E-3"/>
                  <c:y val="2.6308522453135394E-3"/>
                </c:manualLayout>
              </c:layout>
              <c:tx>
                <c:rich>
                  <a:bodyPr/>
                  <a:lstStyle/>
                  <a:p>
                    <a:r>
                      <a:rPr lang="en-US" sz="1600" b="1" i="0" u="none" strike="noStrike" kern="1200" baseline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$</a:t>
                    </a:r>
                    <a:r>
                      <a:rPr lang="en-US" sz="1600" b="0" i="0" u="none" strike="noStrike" kern="1200" baseline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 51.76 million</a:t>
                    </a:r>
                  </a:p>
                  <a:p>
                    <a:r>
                      <a:rPr lang="en-US" sz="1600" b="1" i="0" u="none" strike="noStrike" kern="1200" baseline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0.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5035767439627433"/>
                      <c:h val="0.15312162908784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8AE0-4F79-95A1-9BFDDE9580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</c:f>
              <c:numCache>
                <c:formatCode>General</c:formatCode>
                <c:ptCount val="1"/>
                <c:pt idx="0">
                  <c:v>51.7641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E0-4F79-95A1-9BFDDE9580F3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Sulawesi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rgbClr val="FFFFFF"/>
              </a:solidFill>
            </a:ln>
          </c:spPr>
          <c:invertIfNegative val="0"/>
          <c:dLbls>
            <c:dLbl>
              <c:idx val="0"/>
              <c:layout>
                <c:manualLayout>
                  <c:x val="2.7528495157761967E-2"/>
                  <c:y val="2.6310594071897188E-3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$</a:t>
                    </a:r>
                    <a:r>
                      <a:rPr lang="en-US" b="0" baseline="0" dirty="0"/>
                      <a:t> 65.80</a:t>
                    </a:r>
                    <a:r>
                      <a:rPr lang="en-US" b="0" dirty="0"/>
                      <a:t> million</a:t>
                    </a:r>
                  </a:p>
                  <a:p>
                    <a:r>
                      <a:rPr lang="en-US" b="1" dirty="0"/>
                      <a:t>0.3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51289375882491239"/>
                      <c:h val="0.15312162908784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8AE0-4F79-95A1-9BFDDE9580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</c:f>
              <c:numCache>
                <c:formatCode>General</c:formatCode>
                <c:ptCount val="1"/>
                <c:pt idx="0">
                  <c:v>65.7973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AE0-4F79-95A1-9BFDDE9580F3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Bali-Nusa Tenggara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1.172566970853018E-2"/>
                  <c:y val="1.0274193244326441E-3"/>
                </c:manualLayout>
              </c:layout>
              <c:tx>
                <c:rich>
                  <a:bodyPr/>
                  <a:lstStyle/>
                  <a:p>
                    <a:r>
                      <a:rPr lang="en-US" b="0" dirty="0"/>
                      <a:t>$ 80.67 million</a:t>
                    </a:r>
                  </a:p>
                  <a:p>
                    <a:r>
                      <a:rPr lang="en-US" b="1" dirty="0"/>
                      <a:t>0.4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644916911948446"/>
                      <c:h val="0.15312162908784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8AE0-4F79-95A1-9BFDDE9580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</c:f>
              <c:numCache>
                <c:formatCode>General</c:formatCode>
                <c:ptCount val="1"/>
                <c:pt idx="0">
                  <c:v>80.6731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AE0-4F79-95A1-9BFDDE9580F3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Sumatra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3.1268042214319114E-2"/>
                  <c:y val="1.0358093804140462E-7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b="0"/>
                    </a:pPr>
                    <a:r>
                      <a:rPr lang="en-US" dirty="0"/>
                      <a:t>$562.4 million</a:t>
                    </a:r>
                  </a:p>
                  <a:p>
                    <a:pPr>
                      <a:defRPr b="0"/>
                    </a:pPr>
                    <a:r>
                      <a:rPr lang="en-US" b="1" dirty="0"/>
                      <a:t>2.7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574563816966234"/>
                      <c:h val="0.104712041884816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8-8AE0-4F79-95A1-9BFDDE9580F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E$2</c:f>
              <c:numCache>
                <c:formatCode>General</c:formatCode>
                <c:ptCount val="1"/>
                <c:pt idx="0">
                  <c:v>562.4193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AE0-4F79-95A1-9BFDDE9580F3}"/>
            </c:ext>
          </c:extLst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Java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Lbls>
            <c:delete val="1"/>
          </c:dLbls>
          <c:val>
            <c:numRef>
              <c:f>Sheet1!$F$2</c:f>
              <c:numCache>
                <c:formatCode>General</c:formatCode>
                <c:ptCount val="1"/>
                <c:pt idx="0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AE0-4F79-95A1-9BFDDE9580F3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2078162360"/>
        <c:axId val="-2077676552"/>
      </c:barChart>
      <c:catAx>
        <c:axId val="-2078162360"/>
        <c:scaling>
          <c:orientation val="minMax"/>
        </c:scaling>
        <c:delete val="1"/>
        <c:axPos val="l"/>
        <c:majorTickMark val="none"/>
        <c:minorTickMark val="none"/>
        <c:tickLblPos val="nextTo"/>
        <c:crossAx val="-2077676552"/>
        <c:crosses val="autoZero"/>
        <c:auto val="1"/>
        <c:lblAlgn val="ctr"/>
        <c:lblOffset val="100"/>
        <c:noMultiLvlLbl val="0"/>
      </c:catAx>
      <c:valAx>
        <c:axId val="-20776765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078162360"/>
        <c:crosses val="autoZero"/>
        <c:crossBetween val="between"/>
      </c:valAx>
    </c:plotArea>
    <c:plotVisOnly val="1"/>
    <c:dispBlanksAs val="gap"/>
    <c:showDLblsOverMax val="0"/>
  </c:chart>
  <c:spPr>
    <a:ln w="34925"/>
  </c:spPr>
  <c:txPr>
    <a:bodyPr/>
    <a:lstStyle/>
    <a:p>
      <a:pPr>
        <a:defRPr sz="1600" b="1">
          <a:latin typeface="Arial" panose="020B0604020202020204" pitchFamily="34" charset="0"/>
          <a:cs typeface="Arial" panose="020B0604020202020204" pitchFamily="34" charset="0"/>
        </a:defRPr>
      </a:pPr>
      <a:endParaRPr lang="en-UM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explosion val="10"/>
            <c:spPr>
              <a:solidFill>
                <a:srgbClr val="0070C0"/>
              </a:solidFill>
              <a:ln w="38100">
                <a:solidFill>
                  <a:srgbClr val="FFC000"/>
                </a:solidFill>
                <a:prstDash val="sysDash"/>
              </a:ln>
              <a:effectLst>
                <a:glow rad="63500">
                  <a:schemeClr val="accent1">
                    <a:satMod val="175000"/>
                    <a:alpha val="40000"/>
                  </a:schemeClr>
                </a:glow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EE3B-4596-9E97-41C359A58437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2"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3B-4596-9E97-41C359A58437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3"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E3B-4596-9E97-41C359A58437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4"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E3B-4596-9E97-41C359A58437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5"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E3B-4596-9E97-41C359A58437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6"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E3B-4596-9E97-41C359A58437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1">
                      <a:lumMod val="60000"/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E3B-4596-9E97-41C359A58437}"/>
              </c:ext>
            </c:extLst>
          </c:dPt>
          <c:dPt>
            <c:idx val="7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2">
                      <a:lumMod val="60000"/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E3B-4596-9E97-41C359A58437}"/>
              </c:ext>
            </c:extLst>
          </c:dPt>
          <c:dPt>
            <c:idx val="8"/>
            <c:bubble3D val="0"/>
            <c:spPr>
              <a:gradFill rotWithShape="1">
                <a:gsLst>
                  <a:gs pos="0">
                    <a:schemeClr val="accent3">
                      <a:lumMod val="60000"/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3">
                      <a:lumMod val="60000"/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EE3B-4596-9E97-41C359A58437}"/>
              </c:ext>
            </c:extLst>
          </c:dPt>
          <c:dPt>
            <c:idx val="9"/>
            <c:bubble3D val="0"/>
            <c:spPr>
              <a:gradFill rotWithShape="1">
                <a:gsLst>
                  <a:gs pos="0">
                    <a:schemeClr val="accent4">
                      <a:lumMod val="60000"/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4">
                      <a:lumMod val="60000"/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EE3B-4596-9E97-41C359A58437}"/>
              </c:ext>
            </c:extLst>
          </c:dPt>
          <c:dPt>
            <c:idx val="10"/>
            <c:bubble3D val="0"/>
            <c:spPr>
              <a:gradFill rotWithShape="1">
                <a:gsLst>
                  <a:gs pos="0">
                    <a:schemeClr val="accent5">
                      <a:lumMod val="60000"/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5">
                      <a:lumMod val="60000"/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EE3B-4596-9E97-41C359A58437}"/>
              </c:ext>
            </c:extLst>
          </c:dPt>
          <c:dPt>
            <c:idx val="11"/>
            <c:bubble3D val="0"/>
            <c:spPr>
              <a:gradFill rotWithShape="1">
                <a:gsLst>
                  <a:gs pos="0">
                    <a:schemeClr val="accent6">
                      <a:lumMod val="60000"/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6">
                      <a:lumMod val="60000"/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EE3B-4596-9E97-41C359A58437}"/>
              </c:ext>
            </c:extLst>
          </c:dPt>
          <c:dPt>
            <c:idx val="12"/>
            <c:bubble3D val="0"/>
            <c:spPr>
              <a:gradFill rotWithShape="1">
                <a:gsLst>
                  <a:gs pos="0">
                    <a:schemeClr val="accent1">
                      <a:lumMod val="80000"/>
                      <a:lumOff val="20000"/>
                      <a:tint val="100000"/>
                      <a:shade val="100000"/>
                      <a:satMod val="130000"/>
                    </a:schemeClr>
                  </a:gs>
                  <a:gs pos="100000">
                    <a:schemeClr val="accent1">
                      <a:lumMod val="80000"/>
                      <a:lumOff val="20000"/>
                      <a:tint val="50000"/>
                      <a:shade val="100000"/>
                      <a:satMod val="35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EE3B-4596-9E97-41C359A58437}"/>
              </c:ext>
            </c:extLst>
          </c:dPt>
          <c:dLbls>
            <c:dLbl>
              <c:idx val="0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E3B-4596-9E97-41C359A5843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M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; </c:separator>
            <c:showLeaderLines val="1"/>
            <c:leaderLines>
              <c:spPr>
                <a:ln w="6350" cap="flat" cmpd="sng" algn="ctr">
                  <a:solidFill>
                    <a:schemeClr val="tx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4</c:f>
              <c:strCache>
                <c:ptCount val="13"/>
                <c:pt idx="0">
                  <c:v>Indonesia</c:v>
                </c:pt>
                <c:pt idx="1">
                  <c:v>Australia</c:v>
                </c:pt>
                <c:pt idx="2">
                  <c:v>Brazil</c:v>
                </c:pt>
                <c:pt idx="3">
                  <c:v>Russia</c:v>
                </c:pt>
                <c:pt idx="4">
                  <c:v>Other countries</c:v>
                </c:pt>
                <c:pt idx="5">
                  <c:v>Cuba</c:v>
                </c:pt>
                <c:pt idx="6">
                  <c:v>Philippines</c:v>
                </c:pt>
                <c:pt idx="7">
                  <c:v>South Africa</c:v>
                </c:pt>
                <c:pt idx="8">
                  <c:v>China</c:v>
                </c:pt>
                <c:pt idx="9">
                  <c:v>Canada</c:v>
                </c:pt>
                <c:pt idx="10">
                  <c:v>Guatamela</c:v>
                </c:pt>
                <c:pt idx="11">
                  <c:v>Madagascar</c:v>
                </c:pt>
                <c:pt idx="12">
                  <c:v>Colombia</c:v>
                </c:pt>
              </c:strCache>
            </c:strRef>
          </c:cat>
          <c:val>
            <c:numRef>
              <c:f>Sheet1!$B$2:$B$14</c:f>
              <c:numCache>
                <c:formatCode>0.0%</c:formatCode>
                <c:ptCount val="13"/>
                <c:pt idx="0">
                  <c:v>0.23699999999999999</c:v>
                </c:pt>
                <c:pt idx="1">
                  <c:v>0.215</c:v>
                </c:pt>
                <c:pt idx="2">
                  <c:v>0.124</c:v>
                </c:pt>
                <c:pt idx="3">
                  <c:v>8.5999999999999993E-2</c:v>
                </c:pt>
                <c:pt idx="4">
                  <c:v>7.2999999999999995E-2</c:v>
                </c:pt>
                <c:pt idx="5">
                  <c:v>6.2E-2</c:v>
                </c:pt>
                <c:pt idx="6">
                  <c:v>5.3999999999999999E-2</c:v>
                </c:pt>
                <c:pt idx="7">
                  <c:v>4.2000000000000003E-2</c:v>
                </c:pt>
                <c:pt idx="8">
                  <c:v>3.2000000000000001E-2</c:v>
                </c:pt>
                <c:pt idx="9">
                  <c:v>0.03</c:v>
                </c:pt>
                <c:pt idx="10">
                  <c:v>0.02</c:v>
                </c:pt>
                <c:pt idx="11">
                  <c:v>1.7999999999999999E-2</c:v>
                </c:pt>
                <c:pt idx="12">
                  <c:v>5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E3B-4596-9E97-41C359A584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M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460065230155072E-2"/>
          <c:y val="8.6223165337386637E-2"/>
          <c:w val="0.76838786428111061"/>
          <c:h val="0.8004414803682133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explosion val="14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F8F-40D3-BC5D-6EEE6DA6A89A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F8F-40D3-BC5D-6EEE6DA6A89A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F8F-40D3-BC5D-6EEE6DA6A89A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E569310-96CD-406B-BB74-D791F297BC16}" type="CATEGORYNAME">
                      <a:rPr lang="en-US" smtClean="0"/>
                      <a:pPr>
                        <a:defRPr sz="1600"/>
                      </a:pPr>
                      <a:t>[CATEGORY NAME]</a:t>
                    </a:fld>
                    <a:r>
                      <a:rPr lang="en-US" baseline="0" dirty="0"/>
                      <a:t> $</a:t>
                    </a:r>
                    <a:fld id="{C89CAEB8-C118-4889-BA07-3AA8271220BC}" type="VALUE">
                      <a:rPr lang="en-US" baseline="0" smtClean="0"/>
                      <a:pPr>
                        <a:defRPr sz="1600"/>
                      </a:pPr>
                      <a:t>[VALUE]</a:t>
                    </a:fld>
                    <a:r>
                      <a:rPr lang="en-US" baseline="0" dirty="0"/>
                      <a:t>B (</a:t>
                    </a:r>
                    <a:fld id="{C8DC907A-75AC-4B95-A87B-68912BB04647}" type="PERCENTAGE">
                      <a:rPr lang="en-US" baseline="0" smtClean="0"/>
                      <a:pPr>
                        <a:defRPr sz="1600"/>
                      </a:pPr>
                      <a:t>[PERCENTAGE]</a:t>
                    </a:fld>
                    <a:r>
                      <a:rPr lang="en-US" baseline="0" dirty="0"/>
                      <a:t>)</a:t>
                    </a:r>
                  </a:p>
                </c:rich>
              </c:tx>
              <c:spPr>
                <a:solidFill>
                  <a:schemeClr val="bg1">
                    <a:alpha val="69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M"/>
                </a:p>
              </c:txPr>
              <c:dLblPos val="inEnd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0576317539493139"/>
                      <c:h val="0.3302921071507864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F8F-40D3-BC5D-6EEE6DA6A89A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600" b="0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3B92E24A-CFD5-446A-90F7-F05287BC30CD}" type="CATEGORYNAME">
                      <a:rPr lang="en-US" smtClean="0"/>
                      <a:pPr>
                        <a:defRPr sz="1600"/>
                      </a:pPr>
                      <a:t>[CATEGORY NAME]</a:t>
                    </a:fld>
                    <a:r>
                      <a:rPr lang="en-US" baseline="0" dirty="0"/>
                      <a:t> $</a:t>
                    </a:r>
                    <a:fld id="{B725F3C7-D4E3-42CD-9FC3-3248CE69A68C}" type="VALUE">
                      <a:rPr lang="en-US" baseline="0" smtClean="0"/>
                      <a:pPr>
                        <a:defRPr sz="1600"/>
                      </a:pPr>
                      <a:t>[VALUE]</a:t>
                    </a:fld>
                    <a:r>
                      <a:rPr lang="en-US" baseline="0" dirty="0"/>
                      <a:t>B </a:t>
                    </a:r>
                  </a:p>
                  <a:p>
                    <a:pPr>
                      <a:defRPr sz="1600"/>
                    </a:pPr>
                    <a:r>
                      <a:rPr lang="en-US" baseline="0" dirty="0"/>
                      <a:t>(</a:t>
                    </a:r>
                    <a:fld id="{D43FBDD2-E36B-4EC7-91D1-BFFE735C45FE}" type="PERCENTAGE">
                      <a:rPr lang="en-US" baseline="0" smtClean="0"/>
                      <a:pPr>
                        <a:defRPr sz="1600"/>
                      </a:pPr>
                      <a:t>[PERCENTAGE]</a:t>
                    </a:fld>
                    <a:r>
                      <a:rPr lang="en-US" baseline="0" dirty="0"/>
                      <a:t>)</a:t>
                    </a:r>
                  </a:p>
                </c:rich>
              </c:tx>
              <c:spPr>
                <a:solidFill>
                  <a:schemeClr val="bg1">
                    <a:alpha val="69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M"/>
                </a:p>
              </c:txPr>
              <c:dLblPos val="inEnd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4840119506507028"/>
                      <c:h val="0.286262019025498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1F8F-40D3-BC5D-6EEE6DA6A89A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8D6881A-50F6-41A8-8777-3636B4720601}" type="CATEGORYNAME">
                      <a:rPr lang="en-US" smtClean="0"/>
                      <a:pPr/>
                      <a:t>[CATEGORY NAME]</a:t>
                    </a:fld>
                    <a:r>
                      <a:rPr lang="en-US" dirty="0"/>
                      <a:t> Sector</a:t>
                    </a:r>
                    <a:r>
                      <a:rPr lang="en-US" baseline="0" dirty="0"/>
                      <a:t> $</a:t>
                    </a:r>
                    <a:fld id="{DD202293-F5F7-49EA-AC25-2FB72A245BEF}" type="VALUE">
                      <a:rPr lang="en-US" baseline="0" smtClean="0"/>
                      <a:pPr/>
                      <a:t>[VALUE]</a:t>
                    </a:fld>
                    <a:r>
                      <a:rPr lang="en-US" baseline="0" dirty="0"/>
                      <a:t>B (</a:t>
                    </a:r>
                    <a:fld id="{CF2CB7BD-AE51-43B9-BAF9-D7D9C1CF419F}" type="PERCENTAGE">
                      <a:rPr lang="en-US" baseline="0" smtClean="0"/>
                      <a:pPr/>
                      <a:t>[PERCENTAGE]</a:t>
                    </a:fld>
                    <a:r>
                      <a:rPr lang="en-US" baseline="0" dirty="0"/>
                      <a:t>)</a:t>
                    </a:r>
                  </a:p>
                </c:rich>
              </c:tx>
              <c:dLblPos val="inEnd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37808731920426586"/>
                      <c:h val="0.259599209263402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F8F-40D3-BC5D-6EEE6DA6A89A}"/>
                </c:ext>
              </c:extLst>
            </c:dLbl>
            <c:spPr>
              <a:solidFill>
                <a:schemeClr val="bg1">
                  <a:alpha val="69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M"/>
              </a:p>
            </c:txPr>
            <c:dLblPos val="inEnd"/>
            <c:showLegendKey val="0"/>
            <c:showVal val="1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National Budget</c:v>
                </c:pt>
                <c:pt idx="1">
                  <c:v>PPP Scheme</c:v>
                </c:pt>
                <c:pt idx="2">
                  <c:v>Privat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.3</c:v>
                </c:pt>
                <c:pt idx="1">
                  <c:v>17.899999999999999</c:v>
                </c:pt>
                <c:pt idx="2">
                  <c:v>8.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F8F-40D3-BC5D-6EEE6DA6A8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55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M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p-22</c:v>
                </c:pt>
              </c:strCache>
            </c:strRef>
          </c:tx>
          <c:spPr>
            <a:solidFill>
              <a:srgbClr val="9972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472C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2B4-4C04-9C38-23C67B3E0FCE}"/>
              </c:ext>
            </c:extLst>
          </c:dPt>
          <c:dPt>
            <c:idx val="1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2B4-4C04-9C38-23C67B3E0FCE}"/>
              </c:ext>
            </c:extLst>
          </c:dPt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2B4-4C04-9C38-23C67B3E0FCE}"/>
              </c:ext>
            </c:extLst>
          </c:dPt>
          <c:dPt>
            <c:idx val="3"/>
            <c:invertIfNegative val="0"/>
            <c:bubble3D val="0"/>
            <c:spPr>
              <a:solidFill>
                <a:srgbClr val="ED7D3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2B4-4C04-9C38-23C67B3E0FCE}"/>
              </c:ext>
            </c:extLst>
          </c:dPt>
          <c:dPt>
            <c:idx val="4"/>
            <c:invertIfNegative val="0"/>
            <c:bubble3D val="0"/>
            <c:spPr>
              <a:solidFill>
                <a:srgbClr val="71AD4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2B4-4C04-9C38-23C67B3E0FCE}"/>
              </c:ext>
            </c:extLst>
          </c:dPt>
          <c:dPt>
            <c:idx val="5"/>
            <c:invertIfNegative val="0"/>
            <c:bubble3D val="0"/>
            <c:spPr>
              <a:solidFill>
                <a:srgbClr val="FFD96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2B4-4C04-9C38-23C67B3E0FCE}"/>
              </c:ext>
            </c:extLst>
          </c:dPt>
          <c:dPt>
            <c:idx val="6"/>
            <c:invertIfNegative val="0"/>
            <c:bubble3D val="0"/>
            <c:spPr>
              <a:solidFill>
                <a:srgbClr val="264478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2B4-4C04-9C38-23C67B3E0FCE}"/>
              </c:ext>
            </c:extLst>
          </c:dPt>
          <c:dPt>
            <c:idx val="7"/>
            <c:invertIfNegative val="0"/>
            <c:bubble3D val="0"/>
            <c:spPr>
              <a:solidFill>
                <a:srgbClr val="63636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72B4-4C04-9C38-23C67B3E0FCE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72B4-4C04-9C38-23C67B3E0FCE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M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72B4-4C04-9C38-23C67B3E0F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M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Turkey</c:v>
                </c:pt>
                <c:pt idx="1">
                  <c:v>Brazil</c:v>
                </c:pt>
                <c:pt idx="2">
                  <c:v>UK</c:v>
                </c:pt>
                <c:pt idx="3">
                  <c:v>USA</c:v>
                </c:pt>
                <c:pt idx="4">
                  <c:v>Germany</c:v>
                </c:pt>
                <c:pt idx="5">
                  <c:v>India</c:v>
                </c:pt>
                <c:pt idx="6">
                  <c:v>South Korea</c:v>
                </c:pt>
                <c:pt idx="7">
                  <c:v>Australia</c:v>
                </c:pt>
                <c:pt idx="8">
                  <c:v>Indonesia</c:v>
                </c:pt>
                <c:pt idx="9">
                  <c:v>China</c:v>
                </c:pt>
              </c:strCache>
            </c:strRef>
          </c:cat>
          <c:val>
            <c:numRef>
              <c:f>Sheet1!$B$2:$B$11</c:f>
              <c:numCache>
                <c:formatCode>0.0%</c:formatCode>
                <c:ptCount val="10"/>
                <c:pt idx="0">
                  <c:v>0.78600000000000003</c:v>
                </c:pt>
                <c:pt idx="1">
                  <c:v>0.11890000000000001</c:v>
                </c:pt>
                <c:pt idx="2">
                  <c:v>9.4E-2</c:v>
                </c:pt>
                <c:pt idx="3">
                  <c:v>9.0999999999999998E-2</c:v>
                </c:pt>
                <c:pt idx="4">
                  <c:v>7.5999999999999998E-2</c:v>
                </c:pt>
                <c:pt idx="5">
                  <c:v>7.0000000000000007E-2</c:v>
                </c:pt>
                <c:pt idx="6">
                  <c:v>0.06</c:v>
                </c:pt>
                <c:pt idx="7">
                  <c:v>5.0999999999999997E-2</c:v>
                </c:pt>
                <c:pt idx="8">
                  <c:v>4.3499999999999997E-2</c:v>
                </c:pt>
                <c:pt idx="9">
                  <c:v>2.5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72B4-4C04-9C38-23C67B3E0FC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103020544"/>
        <c:axId val="79649536"/>
      </c:barChart>
      <c:catAx>
        <c:axId val="1030205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M"/>
          </a:p>
        </c:txPr>
        <c:crossAx val="79649536"/>
        <c:crosses val="autoZero"/>
        <c:auto val="1"/>
        <c:lblAlgn val="ctr"/>
        <c:lblOffset val="100"/>
        <c:noMultiLvlLbl val="0"/>
      </c:catAx>
      <c:valAx>
        <c:axId val="79649536"/>
        <c:scaling>
          <c:orientation val="minMax"/>
        </c:scaling>
        <c:delete val="1"/>
        <c:axPos val="t"/>
        <c:numFmt formatCode="0.0%" sourceLinked="1"/>
        <c:majorTickMark val="none"/>
        <c:minorTickMark val="none"/>
        <c:tickLblPos val="nextTo"/>
        <c:crossAx val="103020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M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59819985468349E-2"/>
          <c:y val="4.7740743760883358E-2"/>
          <c:w val="0.95856996693308028"/>
          <c:h val="0.9192079720969665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F559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9A-4C07-9EED-1968A88BB4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51C22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9A-4C07-9EED-1968A88BB4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6890312"/>
        <c:axId val="256892664"/>
      </c:barChart>
      <c:catAx>
        <c:axId val="2568903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56892664"/>
        <c:crosses val="autoZero"/>
        <c:auto val="1"/>
        <c:lblAlgn val="ctr"/>
        <c:lblOffset val="100"/>
        <c:noMultiLvlLbl val="0"/>
      </c:catAx>
      <c:valAx>
        <c:axId val="256892664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56890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M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59819985468349E-2"/>
          <c:y val="4.7740743760883358E-2"/>
          <c:w val="0.95856996693308028"/>
          <c:h val="0.9192079720969665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F559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AA-4E8C-B354-F8215AAC5D3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51C22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AA-4E8C-B354-F8215AAC5D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6888352"/>
        <c:axId val="256898152"/>
      </c:barChart>
      <c:catAx>
        <c:axId val="25688835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56898152"/>
        <c:crosses val="autoZero"/>
        <c:auto val="1"/>
        <c:lblAlgn val="ctr"/>
        <c:lblOffset val="100"/>
        <c:noMultiLvlLbl val="0"/>
      </c:catAx>
      <c:valAx>
        <c:axId val="256898152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56888352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M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59819985468349E-2"/>
          <c:y val="4.7740743760883358E-2"/>
          <c:w val="0.95856996693308028"/>
          <c:h val="0.9192079720969665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F559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52-4ABF-94EC-9AF0C8230A6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51C22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9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52-4ABF-94EC-9AF0C8230A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6898544"/>
        <c:axId val="256895408"/>
      </c:barChart>
      <c:catAx>
        <c:axId val="2568985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56895408"/>
        <c:crosses val="autoZero"/>
        <c:auto val="1"/>
        <c:lblAlgn val="ctr"/>
        <c:lblOffset val="100"/>
        <c:noMultiLvlLbl val="0"/>
      </c:catAx>
      <c:valAx>
        <c:axId val="256895408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568985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M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259819985468349E-2"/>
          <c:y val="4.7740743760883358E-2"/>
          <c:w val="0.95856996693308028"/>
          <c:h val="0.9192079720969665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F559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5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41-48F0-86C3-8F4D21CB4E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51C227"/>
            </a:solidFill>
            <a:ln>
              <a:noFill/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47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41-48F0-86C3-8F4D21CB4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56898936"/>
        <c:axId val="256895800"/>
      </c:barChart>
      <c:catAx>
        <c:axId val="25689893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56895800"/>
        <c:crosses val="autoZero"/>
        <c:auto val="1"/>
        <c:lblAlgn val="ctr"/>
        <c:lblOffset val="100"/>
        <c:noMultiLvlLbl val="0"/>
      </c:catAx>
      <c:valAx>
        <c:axId val="256895800"/>
        <c:scaling>
          <c:orientation val="minMax"/>
          <c:max val="100"/>
        </c:scaling>
        <c:delete val="1"/>
        <c:axPos val="b"/>
        <c:numFmt formatCode="General" sourceLinked="1"/>
        <c:majorTickMark val="out"/>
        <c:minorTickMark val="none"/>
        <c:tickLblPos val="nextTo"/>
        <c:crossAx val="2568989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M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9050">
              <a:noFill/>
            </a:ln>
          </c:spPr>
          <c:dPt>
            <c:idx val="0"/>
            <c:bubble3D val="0"/>
            <c:spPr>
              <a:solidFill>
                <a:srgbClr val="2F5597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B87-4D21-8514-CEFF0578FA1E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B87-4D21-8514-CEFF0578FA1E}"/>
              </c:ext>
            </c:extLst>
          </c:dPt>
          <c:cat>
            <c:strRef>
              <c:f>Sheet1!$A$2:$A$3</c:f>
              <c:strCache>
                <c:ptCount val="2"/>
                <c:pt idx="0">
                  <c:v>TW IV 2020</c:v>
                </c:pt>
                <c:pt idx="1">
                  <c:v>Target 2020</c:v>
                </c:pt>
              </c:strCache>
            </c:strRef>
          </c:cat>
          <c:val>
            <c:numRef>
              <c:f>Sheet1!$B$2:$B$3</c:f>
              <c:numCache>
                <c:formatCode>0.00</c:formatCode>
                <c:ptCount val="2"/>
                <c:pt idx="0">
                  <c:v>1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B87-4D21-8514-CEFF0578FA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M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dk2" tx2="lt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9050">
              <a:noFill/>
            </a:ln>
          </c:spPr>
          <c:dPt>
            <c:idx val="0"/>
            <c:bubble3D val="0"/>
            <c:spPr>
              <a:solidFill>
                <a:srgbClr val="2F5597"/>
              </a:solidFill>
              <a:ln w="1905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7E5-4E38-B7A2-CBBF746BD170}"/>
              </c:ext>
            </c:extLst>
          </c:dPt>
          <c:dPt>
            <c:idx val="1"/>
            <c:bubble3D val="0"/>
            <c:spPr>
              <a:solidFill>
                <a:srgbClr val="4472C4">
                  <a:lumMod val="20000"/>
                  <a:lumOff val="80000"/>
                </a:srgb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7E5-4E38-B7A2-CBBF746BD170}"/>
              </c:ext>
            </c:extLst>
          </c:dPt>
          <c:cat>
            <c:strRef>
              <c:f>Sheet1!$A$2:$A$3</c:f>
              <c:strCache>
                <c:ptCount val="2"/>
                <c:pt idx="0">
                  <c:v>TW IIII 2022</c:v>
                </c:pt>
                <c:pt idx="1">
                  <c:v>Target 2022</c:v>
                </c:pt>
              </c:strCache>
            </c:strRef>
          </c:cat>
          <c:val>
            <c:numRef>
              <c:f>Sheet1!$B$2:$B$3</c:f>
              <c:numCache>
                <c:formatCode>0.00</c:formatCode>
                <c:ptCount val="2"/>
                <c:pt idx="0">
                  <c:v>892.4</c:v>
                </c:pt>
                <c:pt idx="1">
                  <c:v>307.6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7E5-4E38-B7A2-CBBF746BD1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lang="en-US"/>
      </a:pPr>
      <a:endParaRPr lang="en-UM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A$1</c:f>
              <c:strCache>
                <c:ptCount val="1"/>
                <c:pt idx="0">
                  <c:v>Industri Logam Dasar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rgbClr val="FFFFFF"/>
              </a:solidFill>
            </a:ln>
          </c:spPr>
          <c:invertIfNegative val="0"/>
          <c:dLbls>
            <c:dLbl>
              <c:idx val="0"/>
              <c:layout>
                <c:manualLayout>
                  <c:x val="-2.4230270665529217E-2"/>
                  <c:y val="-7.8928674787550317E-3"/>
                </c:manualLayout>
              </c:layout>
              <c:tx>
                <c:rich>
                  <a:bodyPr/>
                  <a:lstStyle/>
                  <a:p>
                    <a:r>
                      <a:rPr lang="en-US" b="0" dirty="0"/>
                      <a:t>$ 952.1</a:t>
                    </a:r>
                    <a:r>
                      <a:rPr lang="en-US" b="0" baseline="0" dirty="0"/>
                      <a:t> </a:t>
                    </a:r>
                    <a:r>
                      <a:rPr lang="en-US" b="0" dirty="0"/>
                      <a:t>million</a:t>
                    </a:r>
                  </a:p>
                  <a:p>
                    <a:r>
                      <a:rPr lang="en-US" b="1" dirty="0"/>
                      <a:t>4.6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4574563816966234"/>
                      <c:h val="0.2499408034939093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109F-476A-A904-5291613B95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952.0799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9F-476A-A904-5291613B9507}"/>
            </c:ext>
          </c:extLst>
        </c:ser>
        <c:ser>
          <c:idx val="1"/>
          <c:order val="1"/>
          <c:tx>
            <c:strRef>
              <c:f>Sheet1!$B$1</c:f>
              <c:strCache>
                <c:ptCount val="1"/>
                <c:pt idx="0">
                  <c:v>Industri Kimia dan Farmasi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solidFill>
                <a:srgbClr val="FFFFFF"/>
              </a:solidFill>
            </a:ln>
          </c:spPr>
          <c:invertIfNegative val="0"/>
          <c:dLbls>
            <c:dLbl>
              <c:idx val="0"/>
              <c:layout>
                <c:manualLayout>
                  <c:x val="-3.0932587824421345E-2"/>
                  <c:y val="-1.0358093804140462E-7"/>
                </c:manualLayout>
              </c:layout>
              <c:tx>
                <c:rich>
                  <a:bodyPr/>
                  <a:lstStyle/>
                  <a:p>
                    <a:r>
                      <a:rPr lang="en-US" b="0" dirty="0"/>
                      <a:t>$ 1.1</a:t>
                    </a:r>
                    <a:r>
                      <a:rPr lang="en-US" b="0" baseline="0" dirty="0"/>
                      <a:t> billion</a:t>
                    </a:r>
                  </a:p>
                  <a:p>
                    <a:r>
                      <a:rPr lang="en-US" b="1" baseline="0" dirty="0"/>
                      <a:t>5.2%</a:t>
                    </a:r>
                    <a:endParaRPr lang="en-US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145279448894601"/>
                      <c:h val="0.15312162908784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109F-476A-A904-5291613B95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B$2</c:f>
              <c:numCache>
                <c:formatCode>General</c:formatCode>
                <c:ptCount val="1"/>
                <c:pt idx="0">
                  <c:v>1090.4943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09F-476A-A904-5291613B9507}"/>
            </c:ext>
          </c:extLst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Perumahan, Kawasan Industri dan Perkantora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ln>
              <a:solidFill>
                <a:srgbClr val="FFFFFF"/>
              </a:solidFill>
            </a:ln>
          </c:spPr>
          <c:invertIfNegative val="0"/>
          <c:dLbls>
            <c:dLbl>
              <c:idx val="0"/>
              <c:layout>
                <c:manualLayout>
                  <c:x val="-2.3282073440506396E-2"/>
                  <c:y val="1.0358093808963825E-7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$ 2.4 </a:t>
                    </a:r>
                    <a:r>
                      <a:rPr lang="en-US" b="0" dirty="0"/>
                      <a:t>billion</a:t>
                    </a:r>
                    <a:endParaRPr lang="en-US" b="1" dirty="0"/>
                  </a:p>
                  <a:p>
                    <a:r>
                      <a:rPr lang="en-US" b="1" dirty="0"/>
                      <a:t>12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8272083670326507"/>
                      <c:h val="0.15312162908784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109F-476A-A904-5291613B95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C$2</c:f>
              <c:numCache>
                <c:formatCode>General</c:formatCode>
                <c:ptCount val="1"/>
                <c:pt idx="0">
                  <c:v>2440.7251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09F-476A-A904-5291613B9507}"/>
            </c:ext>
          </c:extLst>
        </c:ser>
        <c:ser>
          <c:idx val="3"/>
          <c:order val="3"/>
          <c:tx>
            <c:strRef>
              <c:f>Sheet1!$D$1</c:f>
              <c:strCache>
                <c:ptCount val="1"/>
                <c:pt idx="0">
                  <c:v>Industri Kendaraan Bermotor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3.9085052767898872E-2"/>
                  <c:y val="-1.6035365018189848E-3"/>
                </c:manualLayout>
              </c:layout>
              <c:tx>
                <c:rich>
                  <a:bodyPr/>
                  <a:lstStyle/>
                  <a:p>
                    <a:r>
                      <a:rPr lang="en-US" b="0" dirty="0"/>
                      <a:t>$ 3.4 billion</a:t>
                    </a:r>
                  </a:p>
                  <a:p>
                    <a:r>
                      <a:rPr lang="en-US" b="1" dirty="0"/>
                      <a:t>17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9444635253363469"/>
                      <c:h val="0.153121629087847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109F-476A-A904-5291613B95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D$2</c:f>
              <c:numCache>
                <c:formatCode>_(* #,##0.00_);_(* \(#,##0.00\);_(* "-"??_);_(@_)</c:formatCode>
                <c:ptCount val="1"/>
                <c:pt idx="0">
                  <c:v>3596.9601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09F-476A-A904-5291613B9507}"/>
            </c:ext>
          </c:extLst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Listrik, Gas, dan Air</c:v>
                </c:pt>
              </c:strCache>
            </c:strRef>
          </c:tx>
          <c:invertIfNegative val="0"/>
          <c:dLbls>
            <c:delete val="1"/>
          </c:dLbls>
          <c:val>
            <c:numRef>
              <c:f>Sheet1!$E$2</c:f>
              <c:numCache>
                <c:formatCode>_(* #,##0.00_);_(* \(#,##0.00\);_(* "-"??_);_(@_)</c:formatCode>
                <c:ptCount val="1"/>
                <c:pt idx="0">
                  <c:v>7481.1705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09F-476A-A904-5291613B950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-2078162360"/>
        <c:axId val="-2077676552"/>
      </c:barChart>
      <c:catAx>
        <c:axId val="-2078162360"/>
        <c:scaling>
          <c:orientation val="minMax"/>
        </c:scaling>
        <c:delete val="1"/>
        <c:axPos val="l"/>
        <c:majorTickMark val="none"/>
        <c:minorTickMark val="none"/>
        <c:tickLblPos val="nextTo"/>
        <c:crossAx val="-2077676552"/>
        <c:crosses val="autoZero"/>
        <c:auto val="1"/>
        <c:lblAlgn val="ctr"/>
        <c:lblOffset val="100"/>
        <c:noMultiLvlLbl val="0"/>
      </c:catAx>
      <c:valAx>
        <c:axId val="-20776765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2078162360"/>
        <c:crosses val="autoZero"/>
        <c:crossBetween val="between"/>
      </c:valAx>
    </c:plotArea>
    <c:plotVisOnly val="1"/>
    <c:dispBlanksAs val="gap"/>
    <c:showDLblsOverMax val="0"/>
  </c:chart>
  <c:spPr>
    <a:ln w="34925"/>
  </c:spPr>
  <c:txPr>
    <a:bodyPr/>
    <a:lstStyle/>
    <a:p>
      <a:pPr>
        <a:defRPr sz="1600" b="1">
          <a:latin typeface="Arial" panose="020B0604020202020204" pitchFamily="34" charset="0"/>
          <a:cs typeface="Arial" panose="020B0604020202020204" pitchFamily="34" charset="0"/>
        </a:defRPr>
      </a:pPr>
      <a:endParaRPr lang="en-UM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11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3">
      <cs:styleClr val="auto"/>
    </cs:fillRef>
    <cs:effectRef idx="2">
      <a:schemeClr val="dk1"/>
    </cs:effectRef>
    <cs:fontRef idx="minor">
      <a:schemeClr val="tx1"/>
    </cs:fontRef>
  </cs:dataPoint>
  <cs:dataPoint3D>
    <cs:lnRef idx="0"/>
    <cs:fillRef idx="3">
      <cs:styleClr val="auto"/>
    </cs:fillRef>
    <cs:effectRef idx="2">
      <a:schemeClr val="dk1"/>
    </cs:effectRef>
    <cs:fontRef idx="minor">
      <a:schemeClr val="tx1"/>
    </cs:fontRef>
  </cs:dataPoint3D>
  <cs:dataPointLine>
    <cs:lnRef idx="1">
      <cs:styleClr val="auto"/>
    </cs:lnRef>
    <cs:lineWidthScale>5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3">
      <cs:styleClr val="auto"/>
    </cs:fillRef>
    <cs:effectRef idx="2">
      <a:schemeClr val="dk1"/>
    </cs:effectRef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0"/>
    <cs:fillRef idx="3">
      <a:schemeClr val="dk1">
        <a:tint val="95000"/>
      </a:schemeClr>
    </cs:fillRef>
    <cs:effectRef idx="2">
      <a:schemeClr val="dk1"/>
    </cs:effectRef>
    <cs:fontRef idx="minor">
      <a:schemeClr val="tx1"/>
    </cs:fontRef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0"/>
    <cs:fillRef idx="3">
      <a:schemeClr val="dk1">
        <a:tint val="5000"/>
      </a:schemeClr>
    </cs:fillRef>
    <cs:effectRef idx="2">
      <a:schemeClr val="dk1"/>
    </cs:effectRef>
    <cs:fontRef idx="minor">
      <a:schemeClr val="tx1"/>
    </cs:fontRef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FAB3E4-7F02-4CEC-96ED-AA2281C73D69}" type="datetimeFigureOut">
              <a:rPr lang="en-ID" smtClean="0"/>
              <a:t>25/10/2022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47FA77-FFB0-46B0-ADD9-24C5BF4EBD93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701051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lang="id-ID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073455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47FA77-FFB0-46B0-ADD9-24C5BF4EBD93}" type="slidenum">
              <a:rPr lang="en-ID" smtClean="0"/>
              <a:t>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9369655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id-ID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332172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47FA77-FFB0-46B0-ADD9-24C5BF4EBD93}" type="slidenum">
              <a:rPr lang="en-ID" smtClean="0"/>
              <a:t>15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398257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ashurst.com/en/news-and-insights/insights/indonesia-moves-capital-city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47FA77-FFB0-46B0-ADD9-24C5BF4EBD93}" type="slidenum">
              <a:rPr lang="en-ID" smtClean="0"/>
              <a:t>18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218991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12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image" Target="../media/image3.jpeg"/><Relationship Id="rId12" Type="http://schemas.openxmlformats.org/officeDocument/2006/relationships/image" Target="../media/image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0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5184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2F1CFB8-5982-144D-BB04-6500DB00F2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3" b="22670"/>
          <a:stretch/>
        </p:blipFill>
        <p:spPr>
          <a:xfrm>
            <a:off x="0" y="0"/>
            <a:ext cx="12192000" cy="527432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-792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1168400"/>
            <a:ext cx="8125200" cy="4103407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4608755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251976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C312189-E5DD-E947-A890-4B7FD338106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379" y="5382802"/>
            <a:ext cx="1642126" cy="70924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F179C9B-EEA8-DB4C-899E-5C06E779E99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415" y="5553608"/>
            <a:ext cx="1273779" cy="36763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AEC37ED-280E-EE40-8EE2-97167029D31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690" y="5574807"/>
            <a:ext cx="1354585" cy="32523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0BA36C3-0889-4D4D-A7AD-9F8A6F3C46E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6461" y="5397954"/>
            <a:ext cx="495628" cy="678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473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8EBC02C-4602-48E1-BAA0-7DBB7F404097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4585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B8961A12-5A88-4646-B39E-4FB3C09632FB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23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2725F48-43AC-4648-A6AC-1844D2E4CB40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637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3CCFFCB-B2DD-4DC7-AD46-599A6036A281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96297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845AD542-814B-47F6-A1E1-FF2E911F7D9D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236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3814753-9BE0-456A-82C4-99C972EE8AE1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002807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BBED86E1-FE90-4740-B69E-53E8ADBBBE49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2105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821C6EC-E9D1-4473-A865-DA0778040A70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95293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E85F551-D5A6-4C14-BDA9-CD80FABD99A3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090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40306AA2-801C-4BAC-8B02-EEA43757A42A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67124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4D3E113A-7A23-43F2-92E5-8E0A2E3DE2F3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28265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CB1DF15A-221A-4C6D-B887-C58793ED1636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05666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9D719F6-375F-4CB4-8A00-8C3914083CF6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87244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83369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EFA45957-C7CF-4748-841B-48623EDDA4CC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005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60D5FB8-3C2F-4986-8F3D-1780E0A28B8D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329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206C3AE-14A3-4DB7-8B6E-91971EA087D6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750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76F91E6F-7BC7-41B5-9022-641D11E6752B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1218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 userDrawn="1"/>
        </p:nvSpPr>
        <p:spPr>
          <a:xfrm>
            <a:off x="3158206" y="2710875"/>
            <a:ext cx="5875588" cy="110799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7200" b="1" dirty="0" err="1">
                <a:solidFill>
                  <a:schemeClr val="tx2"/>
                </a:solidFill>
              </a:rPr>
              <a:t>Terima</a:t>
            </a:r>
            <a:r>
              <a:rPr lang="en-US" sz="7200" b="1" dirty="0">
                <a:solidFill>
                  <a:schemeClr val="tx2"/>
                </a:solidFill>
              </a:rPr>
              <a:t> Kasih</a:t>
            </a:r>
          </a:p>
        </p:txBody>
      </p:sp>
    </p:spTree>
    <p:extLst>
      <p:ext uri="{BB962C8B-B14F-4D97-AF65-F5344CB8AC3E}">
        <p14:creationId xmlns:p14="http://schemas.microsoft.com/office/powerpoint/2010/main" val="1904787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AB0D0E-4BA9-4EC2-B381-D353147B17C8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71663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5206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3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5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2F1CFB8-5982-144D-BB04-6500DB00F2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23" b="22670"/>
          <a:stretch/>
        </p:blipFill>
        <p:spPr>
          <a:xfrm>
            <a:off x="0" y="0"/>
            <a:ext cx="12192000" cy="527432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-792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9" name="Rectangle 28"/>
          <p:cNvSpPr/>
          <p:nvPr userDrawn="1"/>
        </p:nvSpPr>
        <p:spPr bwMode="black">
          <a:xfrm>
            <a:off x="630936" y="1168400"/>
            <a:ext cx="8125200" cy="4103407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117415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117415" y="4608755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1117415" y="1886242"/>
            <a:ext cx="6868800" cy="2519767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AC312189-E5DD-E947-A890-4B7FD338106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379" y="5382802"/>
            <a:ext cx="1642126" cy="70924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F179C9B-EEA8-DB4C-899E-5C06E779E99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415" y="5553608"/>
            <a:ext cx="1273779" cy="36763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7AEC37ED-280E-EE40-8EE2-97167029D31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690" y="5574807"/>
            <a:ext cx="1354585" cy="32523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0BA36C3-0889-4D4D-A7AD-9F8A6F3C46E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36461" y="5397954"/>
            <a:ext cx="495628" cy="678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7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8843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9B125769-D46A-469D-A10C-A62B28D9C931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230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19020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9B49600-1F9E-4989-85F5-1A10ECB2781C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51602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782536A9-0F72-47AE-B389-8AB5B719EE10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9891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9789DAB2-86D9-4179-9206-AE6F17D0F2D8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89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4E581FA-FC42-4930-A5E4-31D05750DBDD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4943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0BDF86C-2E37-411D-BF18-963AF5F20313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068872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19995E4-EB77-41F3-A13D-6EFBCEC24310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13438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F584F25F-4295-4384-919A-3D546FCCB390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095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9B163975-3D99-4ACA-9816-91D52A986F5D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9377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8CA5119-CB64-4761-BCCC-45B0187C5C09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7368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7474338-31F3-4EA4-8763-85016739F71D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222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418A01A-7E82-4B52-B5BF-7D9DB31C8C17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300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43363366-7FA4-4777-BA85-1F70711EDC9D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783401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485E603B-CC57-4368-9CEB-9A904C2D4241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5892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817047D-2FC7-4705-88DB-A8D3C6A1E974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9677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B068541-8435-4517-BFD1-3828A67D0432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7641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74FBBD6A-313D-4267-8A99-74A5C59929B4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1992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BB516D5-F29B-445D-AAFB-A639999FFDDB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1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2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BC08AF61-6406-4423-93CB-20D9359F9496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48354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4D350AB-0C5B-4887-9E60-6D46D5B14353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127976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142544F6-B978-495A-A934-B076EB94E48B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72068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C657E010-5E24-4005-A4D5-0FF4369620C3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69780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1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0BAA61F9-F4D7-491F-8D31-FED4235A6288}" type="datetime1">
              <a:rPr lang="id-ID" smtClean="0"/>
              <a:t>25/10/2022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8516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9829AD06-B65B-46E0-A68A-8B10E8F8BA14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04779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88DC491-0EFC-4029-85BE-77B4409D1C27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813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29CC3BB5-AAFF-4A81-B9A9-5E975B4D6887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2462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7F093D83-4385-4F1A-95B1-90DF2D8FCA26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345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C28B342E-0971-43A6-89D8-626A1BAF0F57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4888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+mn-lt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65D3972-FC03-454D-9929-F38D1B61041C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666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08949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1220467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9652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2342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1487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D497E011-1631-4712-9617-3FC16B261033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871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60976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653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0961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791487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7416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9073" y="1115416"/>
            <a:ext cx="2569934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7792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743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353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1561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2573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7225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141804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7470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3040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4B9701-9E10-9143-8006-8C128984D3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6B59CE-2788-3041-A073-C5C4717A7B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E1EF43-9F6E-9E4C-8F15-481029D068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445289-5A4B-4691-BA28-81B15743BB3F}" type="datetime1">
              <a:rPr lang="id-ID" smtClean="0"/>
              <a:t>25/10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569FFC-6B88-464F-ADEC-6BF5ED304E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5025DF-F7BA-6D4C-8B5E-134F7DE4D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973C7E-3C14-0C49-88E6-033B80AFFA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59434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353801" y="182563"/>
            <a:ext cx="637233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Lato" panose="020F0502020204030203" pitchFamily="34" charset="77"/>
              </a:defRPr>
            </a:lvl1pPr>
          </a:lstStyle>
          <a:p>
            <a:fld id="{5F3D371F-D1FD-1444-8585-68F90020573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FAE352E-5929-FE4A-B550-3B611F605C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14367" y="1561622"/>
            <a:ext cx="11776667" cy="4735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667"/>
            </a:lvl1pPr>
            <a:lvl2pPr marL="685783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133"/>
            </a:lvl2pPr>
            <a:lvl3pPr marL="1142971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67"/>
            </a:lvl3pPr>
            <a:lvl4pPr marL="1600160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4pPr>
            <a:lvl5pPr marL="2057349" marR="0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5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Edit Master text styles</a:t>
            </a:r>
          </a:p>
          <a:p>
            <a:pPr marL="685783" marR="0" lvl="1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Second level</a:t>
            </a:r>
          </a:p>
          <a:p>
            <a:pPr marL="1142971" marR="0" lvl="2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Third level</a:t>
            </a:r>
          </a:p>
          <a:p>
            <a:pPr marL="1600160" marR="0" lvl="3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Fourth level</a:t>
            </a:r>
          </a:p>
          <a:p>
            <a:pPr marL="2057349" marR="0" lvl="4" indent="-228594" algn="l" defTabSz="914377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D4D2BD-F864-0B4D-8C8D-C4889DDE3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153486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Jud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C390582E-1943-424B-8775-79EE0BA8A18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d-ID"/>
              <a:t>Klik untuk mengedit gaya judul Master</a:t>
            </a:r>
          </a:p>
        </p:txBody>
      </p:sp>
      <p:sp>
        <p:nvSpPr>
          <p:cNvPr id="3" name="Subjudul 2">
            <a:extLst>
              <a:ext uri="{FF2B5EF4-FFF2-40B4-BE49-F238E27FC236}">
                <a16:creationId xmlns:a16="http://schemas.microsoft.com/office/drawing/2014/main" id="{0D1326FA-D32E-CE4B-A15D-53950E4EF6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d-ID"/>
              <a:t>Klik untuk mengedit gaya subjudul Master</a:t>
            </a:r>
          </a:p>
        </p:txBody>
      </p:sp>
      <p:sp>
        <p:nvSpPr>
          <p:cNvPr id="4" name="Tampungan Tanggal 3">
            <a:extLst>
              <a:ext uri="{FF2B5EF4-FFF2-40B4-BE49-F238E27FC236}">
                <a16:creationId xmlns:a16="http://schemas.microsoft.com/office/drawing/2014/main" id="{5483F8D4-9F0D-4F42-8CF3-550546FE5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0D0304-BC02-44C1-9607-0FC386ED4A2A}" type="datetime1">
              <a:rPr lang="id-ID" smtClean="0"/>
              <a:t>25/10/2022</a:t>
            </a:fld>
            <a:endParaRPr lang="id-ID"/>
          </a:p>
        </p:txBody>
      </p:sp>
      <p:sp>
        <p:nvSpPr>
          <p:cNvPr id="5" name="Tampungan Kaki 4">
            <a:extLst>
              <a:ext uri="{FF2B5EF4-FFF2-40B4-BE49-F238E27FC236}">
                <a16:creationId xmlns:a16="http://schemas.microsoft.com/office/drawing/2014/main" id="{F399D30E-6817-8E4F-8281-23F61FD839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Tampungan Nomor Slide 5">
            <a:extLst>
              <a:ext uri="{FF2B5EF4-FFF2-40B4-BE49-F238E27FC236}">
                <a16:creationId xmlns:a16="http://schemas.microsoft.com/office/drawing/2014/main" id="{37A3285A-4D20-E044-B564-7B72BACFF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51585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75A3A8D-A8B2-4480-984D-CD38AE5F1B8B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7257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Judul dan Ko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374FDDCE-31D7-8042-BD82-12B6ECC4B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Konten 2">
            <a:extLst>
              <a:ext uri="{FF2B5EF4-FFF2-40B4-BE49-F238E27FC236}">
                <a16:creationId xmlns:a16="http://schemas.microsoft.com/office/drawing/2014/main" id="{31B6658A-0FEC-F849-8320-846800C7E6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4" name="Tampungan Tanggal 3">
            <a:extLst>
              <a:ext uri="{FF2B5EF4-FFF2-40B4-BE49-F238E27FC236}">
                <a16:creationId xmlns:a16="http://schemas.microsoft.com/office/drawing/2014/main" id="{93EAAA82-DEE2-0247-9ED3-DB5182096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121FF4-4608-478C-A06D-AC0D4E85939C}" type="datetime1">
              <a:rPr lang="id-ID" smtClean="0"/>
              <a:t>25/10/2022</a:t>
            </a:fld>
            <a:endParaRPr lang="id-ID"/>
          </a:p>
        </p:txBody>
      </p:sp>
      <p:sp>
        <p:nvSpPr>
          <p:cNvPr id="5" name="Tampungan Kaki 4">
            <a:extLst>
              <a:ext uri="{FF2B5EF4-FFF2-40B4-BE49-F238E27FC236}">
                <a16:creationId xmlns:a16="http://schemas.microsoft.com/office/drawing/2014/main" id="{6906F7D1-B26A-654E-B681-6E459C0262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Tampungan Nomor Slide 5">
            <a:extLst>
              <a:ext uri="{FF2B5EF4-FFF2-40B4-BE49-F238E27FC236}">
                <a16:creationId xmlns:a16="http://schemas.microsoft.com/office/drawing/2014/main" id="{ECD0AA66-FBD2-0648-AD93-995AC303E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930883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eader Bagi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7D6280A5-D27C-294E-B070-BCCE5601CE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d-ID"/>
              <a:t>Klik untuk mengedit gaya judul Master</a:t>
            </a:r>
          </a:p>
        </p:txBody>
      </p:sp>
      <p:sp>
        <p:nvSpPr>
          <p:cNvPr id="3" name="Tampungan Teks 2">
            <a:extLst>
              <a:ext uri="{FF2B5EF4-FFF2-40B4-BE49-F238E27FC236}">
                <a16:creationId xmlns:a16="http://schemas.microsoft.com/office/drawing/2014/main" id="{940ECACF-A216-164A-AC8B-6585EC5E55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d-ID"/>
              <a:t>Klik untuk edit gaya teks Master</a:t>
            </a:r>
          </a:p>
        </p:txBody>
      </p:sp>
      <p:sp>
        <p:nvSpPr>
          <p:cNvPr id="4" name="Tampungan Tanggal 3">
            <a:extLst>
              <a:ext uri="{FF2B5EF4-FFF2-40B4-BE49-F238E27FC236}">
                <a16:creationId xmlns:a16="http://schemas.microsoft.com/office/drawing/2014/main" id="{9D57DFC1-0F65-F149-831D-2F1A4434C9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09D43-DE84-4DE6-BFBC-43F4551AB0CB}" type="datetime1">
              <a:rPr lang="id-ID" smtClean="0"/>
              <a:t>25/10/2022</a:t>
            </a:fld>
            <a:endParaRPr lang="id-ID"/>
          </a:p>
        </p:txBody>
      </p:sp>
      <p:sp>
        <p:nvSpPr>
          <p:cNvPr id="5" name="Tampungan Kaki 4">
            <a:extLst>
              <a:ext uri="{FF2B5EF4-FFF2-40B4-BE49-F238E27FC236}">
                <a16:creationId xmlns:a16="http://schemas.microsoft.com/office/drawing/2014/main" id="{A24A423C-8EC4-5F4C-A965-E50882F7B7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Tampungan Nomor Slide 5">
            <a:extLst>
              <a:ext uri="{FF2B5EF4-FFF2-40B4-BE49-F238E27FC236}">
                <a16:creationId xmlns:a16="http://schemas.microsoft.com/office/drawing/2014/main" id="{554ED0D4-5E50-3144-B78B-F007191F9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2437164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 Ko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72ACAB4E-6FAD-2F41-9628-CBDBEE1B8D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Konten 2">
            <a:extLst>
              <a:ext uri="{FF2B5EF4-FFF2-40B4-BE49-F238E27FC236}">
                <a16:creationId xmlns:a16="http://schemas.microsoft.com/office/drawing/2014/main" id="{8A3B7B1B-9E29-D54E-BDE8-3D9376791E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4" name="Tampungan Konten 3">
            <a:extLst>
              <a:ext uri="{FF2B5EF4-FFF2-40B4-BE49-F238E27FC236}">
                <a16:creationId xmlns:a16="http://schemas.microsoft.com/office/drawing/2014/main" id="{DFB4159A-3D05-F843-BF04-3E3DB0C9D5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5" name="Tampungan Tanggal 4">
            <a:extLst>
              <a:ext uri="{FF2B5EF4-FFF2-40B4-BE49-F238E27FC236}">
                <a16:creationId xmlns:a16="http://schemas.microsoft.com/office/drawing/2014/main" id="{8D1CC5D5-B7E8-F444-A4DB-D2D84D1A1B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C13F4C-0E9C-4736-A3E8-C546334C1617}" type="datetime1">
              <a:rPr lang="id-ID" smtClean="0"/>
              <a:t>25/10/2022</a:t>
            </a:fld>
            <a:endParaRPr lang="id-ID"/>
          </a:p>
        </p:txBody>
      </p:sp>
      <p:sp>
        <p:nvSpPr>
          <p:cNvPr id="6" name="Tampungan Kaki 5">
            <a:extLst>
              <a:ext uri="{FF2B5EF4-FFF2-40B4-BE49-F238E27FC236}">
                <a16:creationId xmlns:a16="http://schemas.microsoft.com/office/drawing/2014/main" id="{C0D6ADF2-6AC1-264B-A071-983BE42B9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Tampungan Nomor Slide 6">
            <a:extLst>
              <a:ext uri="{FF2B5EF4-FFF2-40B4-BE49-F238E27FC236}">
                <a16:creationId xmlns:a16="http://schemas.microsoft.com/office/drawing/2014/main" id="{5C9C64BF-60D0-4941-A9A9-13251EEF2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0665720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erbandin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808E5F5E-EFB0-DC47-8BE6-6436FA71F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Teks 2">
            <a:extLst>
              <a:ext uri="{FF2B5EF4-FFF2-40B4-BE49-F238E27FC236}">
                <a16:creationId xmlns:a16="http://schemas.microsoft.com/office/drawing/2014/main" id="{8E263BA0-1C2E-3443-B25B-26670BA94B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d-ID"/>
              <a:t>Klik untuk edit gaya teks Master</a:t>
            </a:r>
          </a:p>
        </p:txBody>
      </p:sp>
      <p:sp>
        <p:nvSpPr>
          <p:cNvPr id="4" name="Tampungan Konten 3">
            <a:extLst>
              <a:ext uri="{FF2B5EF4-FFF2-40B4-BE49-F238E27FC236}">
                <a16:creationId xmlns:a16="http://schemas.microsoft.com/office/drawing/2014/main" id="{B8F0BBC0-F7AD-2F42-B5B0-EB65AB9C22B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5" name="Tampungan Teks 4">
            <a:extLst>
              <a:ext uri="{FF2B5EF4-FFF2-40B4-BE49-F238E27FC236}">
                <a16:creationId xmlns:a16="http://schemas.microsoft.com/office/drawing/2014/main" id="{9D40E40E-C29E-874E-8E3B-6797E5448D6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d-ID"/>
              <a:t>Klik untuk edit gaya teks Master</a:t>
            </a:r>
          </a:p>
        </p:txBody>
      </p:sp>
      <p:sp>
        <p:nvSpPr>
          <p:cNvPr id="6" name="Tampungan Konten 5">
            <a:extLst>
              <a:ext uri="{FF2B5EF4-FFF2-40B4-BE49-F238E27FC236}">
                <a16:creationId xmlns:a16="http://schemas.microsoft.com/office/drawing/2014/main" id="{141F4748-57E4-8149-9DC6-AC12B605F6C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7" name="Tampungan Tanggal 6">
            <a:extLst>
              <a:ext uri="{FF2B5EF4-FFF2-40B4-BE49-F238E27FC236}">
                <a16:creationId xmlns:a16="http://schemas.microsoft.com/office/drawing/2014/main" id="{85A6BF87-A465-6840-BE33-B78ECA9BD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04E0C-6BFD-44D4-A430-52261AD72F2B}" type="datetime1">
              <a:rPr lang="id-ID" smtClean="0"/>
              <a:t>25/10/2022</a:t>
            </a:fld>
            <a:endParaRPr lang="id-ID"/>
          </a:p>
        </p:txBody>
      </p:sp>
      <p:sp>
        <p:nvSpPr>
          <p:cNvPr id="8" name="Tampungan Kaki 7">
            <a:extLst>
              <a:ext uri="{FF2B5EF4-FFF2-40B4-BE49-F238E27FC236}">
                <a16:creationId xmlns:a16="http://schemas.microsoft.com/office/drawing/2014/main" id="{3D9DF805-898E-C740-81E8-2FE1EA5E9E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9" name="Tampungan Nomor Slide 8">
            <a:extLst>
              <a:ext uri="{FF2B5EF4-FFF2-40B4-BE49-F238E27FC236}">
                <a16:creationId xmlns:a16="http://schemas.microsoft.com/office/drawing/2014/main" id="{AC5B6443-C073-3148-A43D-AFEA058245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2212195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udul S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DCDD8CB4-3631-C144-9186-698099EB07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Tanggal 2">
            <a:extLst>
              <a:ext uri="{FF2B5EF4-FFF2-40B4-BE49-F238E27FC236}">
                <a16:creationId xmlns:a16="http://schemas.microsoft.com/office/drawing/2014/main" id="{64BD738B-CD3B-434F-A039-F60EA20828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BE2ADE-9AB3-4D56-94A0-5E49E6234A68}" type="datetime1">
              <a:rPr lang="id-ID" smtClean="0"/>
              <a:t>25/10/2022</a:t>
            </a:fld>
            <a:endParaRPr lang="id-ID"/>
          </a:p>
        </p:txBody>
      </p:sp>
      <p:sp>
        <p:nvSpPr>
          <p:cNvPr id="4" name="Tampungan Kaki 3">
            <a:extLst>
              <a:ext uri="{FF2B5EF4-FFF2-40B4-BE49-F238E27FC236}">
                <a16:creationId xmlns:a16="http://schemas.microsoft.com/office/drawing/2014/main" id="{53120574-E1D5-2947-B73A-A86F711C11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5" name="Tampungan Nomor Slide 4">
            <a:extLst>
              <a:ext uri="{FF2B5EF4-FFF2-40B4-BE49-F238E27FC236}">
                <a16:creationId xmlns:a16="http://schemas.microsoft.com/office/drawing/2014/main" id="{8E09F966-3E60-4549-A589-76CFDD5992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4863448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Kos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mpungan Tanggal 1">
            <a:extLst>
              <a:ext uri="{FF2B5EF4-FFF2-40B4-BE49-F238E27FC236}">
                <a16:creationId xmlns:a16="http://schemas.microsoft.com/office/drawing/2014/main" id="{8638A5CB-656C-DE44-81CD-DFDA9878AF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0304E-1FC6-434D-990D-F00C4D9AAF1A}" type="datetime1">
              <a:rPr lang="id-ID" smtClean="0"/>
              <a:t>25/10/2022</a:t>
            </a:fld>
            <a:endParaRPr lang="id-ID"/>
          </a:p>
        </p:txBody>
      </p:sp>
      <p:sp>
        <p:nvSpPr>
          <p:cNvPr id="3" name="Tampungan Kaki 2">
            <a:extLst>
              <a:ext uri="{FF2B5EF4-FFF2-40B4-BE49-F238E27FC236}">
                <a16:creationId xmlns:a16="http://schemas.microsoft.com/office/drawing/2014/main" id="{59BBF020-6C1F-1648-B9D6-88132AAF5D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Tampungan Nomor Slide 3">
            <a:extLst>
              <a:ext uri="{FF2B5EF4-FFF2-40B4-BE49-F238E27FC236}">
                <a16:creationId xmlns:a16="http://schemas.microsoft.com/office/drawing/2014/main" id="{6570A4FE-A32B-354C-A1D1-8C4ECC952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9500164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onten dengan Keteran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1B80DE26-A003-3A44-8579-D039E7942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d-ID"/>
              <a:t>Klik untuk mengedit gaya judul Master</a:t>
            </a:r>
          </a:p>
        </p:txBody>
      </p:sp>
      <p:sp>
        <p:nvSpPr>
          <p:cNvPr id="3" name="Tampungan Konten 2">
            <a:extLst>
              <a:ext uri="{FF2B5EF4-FFF2-40B4-BE49-F238E27FC236}">
                <a16:creationId xmlns:a16="http://schemas.microsoft.com/office/drawing/2014/main" id="{0EE402BA-6DA4-4444-BBB9-1B0E90555B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4" name="Tampungan Teks 3">
            <a:extLst>
              <a:ext uri="{FF2B5EF4-FFF2-40B4-BE49-F238E27FC236}">
                <a16:creationId xmlns:a16="http://schemas.microsoft.com/office/drawing/2014/main" id="{66E5DF4A-9ED4-EF41-B1BD-83EDBC6DA7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d-ID"/>
              <a:t>Klik untuk edit gaya teks Master</a:t>
            </a:r>
          </a:p>
        </p:txBody>
      </p:sp>
      <p:sp>
        <p:nvSpPr>
          <p:cNvPr id="5" name="Tampungan Tanggal 4">
            <a:extLst>
              <a:ext uri="{FF2B5EF4-FFF2-40B4-BE49-F238E27FC236}">
                <a16:creationId xmlns:a16="http://schemas.microsoft.com/office/drawing/2014/main" id="{E83EE42D-A106-6745-8D42-895B63686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F944C5-89DC-4009-927D-B86998D49D5A}" type="datetime1">
              <a:rPr lang="id-ID" smtClean="0"/>
              <a:t>25/10/2022</a:t>
            </a:fld>
            <a:endParaRPr lang="id-ID"/>
          </a:p>
        </p:txBody>
      </p:sp>
      <p:sp>
        <p:nvSpPr>
          <p:cNvPr id="6" name="Tampungan Kaki 5">
            <a:extLst>
              <a:ext uri="{FF2B5EF4-FFF2-40B4-BE49-F238E27FC236}">
                <a16:creationId xmlns:a16="http://schemas.microsoft.com/office/drawing/2014/main" id="{E61BB4A2-6751-CF40-8C47-27C799E493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Tampungan Nomor Slide 6">
            <a:extLst>
              <a:ext uri="{FF2B5EF4-FFF2-40B4-BE49-F238E27FC236}">
                <a16:creationId xmlns:a16="http://schemas.microsoft.com/office/drawing/2014/main" id="{CDED9DF7-87F1-1A4F-804C-FA57E8B16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2490304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Gambar dengan Keteran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9A1F1ECA-4E67-8545-ADA7-608563E62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d-ID"/>
              <a:t>Klik untuk mengedit gaya judul Master</a:t>
            </a:r>
          </a:p>
        </p:txBody>
      </p:sp>
      <p:sp>
        <p:nvSpPr>
          <p:cNvPr id="3" name="Tampungan Gambar 2">
            <a:extLst>
              <a:ext uri="{FF2B5EF4-FFF2-40B4-BE49-F238E27FC236}">
                <a16:creationId xmlns:a16="http://schemas.microsoft.com/office/drawing/2014/main" id="{648A60C5-1F74-3E44-8D56-D9178ECABB4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d-ID"/>
          </a:p>
        </p:txBody>
      </p:sp>
      <p:sp>
        <p:nvSpPr>
          <p:cNvPr id="4" name="Tampungan Teks 3">
            <a:extLst>
              <a:ext uri="{FF2B5EF4-FFF2-40B4-BE49-F238E27FC236}">
                <a16:creationId xmlns:a16="http://schemas.microsoft.com/office/drawing/2014/main" id="{342A61B8-1E20-8D4B-BC5A-861ACAD3F0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d-ID"/>
              <a:t>Klik untuk edit gaya teks Master</a:t>
            </a:r>
          </a:p>
        </p:txBody>
      </p:sp>
      <p:sp>
        <p:nvSpPr>
          <p:cNvPr id="5" name="Tampungan Tanggal 4">
            <a:extLst>
              <a:ext uri="{FF2B5EF4-FFF2-40B4-BE49-F238E27FC236}">
                <a16:creationId xmlns:a16="http://schemas.microsoft.com/office/drawing/2014/main" id="{F5ED0743-1AAB-0349-A174-C85B307FD8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0D0631-AA1B-46B5-A5D4-CDCA5B79949F}" type="datetime1">
              <a:rPr lang="id-ID" smtClean="0"/>
              <a:t>25/10/2022</a:t>
            </a:fld>
            <a:endParaRPr lang="id-ID"/>
          </a:p>
        </p:txBody>
      </p:sp>
      <p:sp>
        <p:nvSpPr>
          <p:cNvPr id="6" name="Tampungan Kaki 5">
            <a:extLst>
              <a:ext uri="{FF2B5EF4-FFF2-40B4-BE49-F238E27FC236}">
                <a16:creationId xmlns:a16="http://schemas.microsoft.com/office/drawing/2014/main" id="{AC735462-BFC8-C74A-99E1-331519093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7" name="Tampungan Nomor Slide 6">
            <a:extLst>
              <a:ext uri="{FF2B5EF4-FFF2-40B4-BE49-F238E27FC236}">
                <a16:creationId xmlns:a16="http://schemas.microsoft.com/office/drawing/2014/main" id="{4ABB9F28-19B4-7746-AF31-EFA604B47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839233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Judul dan Teks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16F8BDE3-16FB-B54B-95A4-37C1609417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Teks Vertikal 2">
            <a:extLst>
              <a:ext uri="{FF2B5EF4-FFF2-40B4-BE49-F238E27FC236}">
                <a16:creationId xmlns:a16="http://schemas.microsoft.com/office/drawing/2014/main" id="{DA84D2D6-60B6-0D4F-88C3-BEE02390BBD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4" name="Tampungan Tanggal 3">
            <a:extLst>
              <a:ext uri="{FF2B5EF4-FFF2-40B4-BE49-F238E27FC236}">
                <a16:creationId xmlns:a16="http://schemas.microsoft.com/office/drawing/2014/main" id="{D04BFC69-95DA-2644-AF3B-7D0B28AFC4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2345B5-4382-48A0-81A9-06DF1FA075FF}" type="datetime1">
              <a:rPr lang="id-ID" smtClean="0"/>
              <a:t>25/10/2022</a:t>
            </a:fld>
            <a:endParaRPr lang="id-ID"/>
          </a:p>
        </p:txBody>
      </p:sp>
      <p:sp>
        <p:nvSpPr>
          <p:cNvPr id="5" name="Tampungan Kaki 4">
            <a:extLst>
              <a:ext uri="{FF2B5EF4-FFF2-40B4-BE49-F238E27FC236}">
                <a16:creationId xmlns:a16="http://schemas.microsoft.com/office/drawing/2014/main" id="{5EE34903-E304-1546-8236-CD356BA39E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Tampungan Nomor Slide 5">
            <a:extLst>
              <a:ext uri="{FF2B5EF4-FFF2-40B4-BE49-F238E27FC236}">
                <a16:creationId xmlns:a16="http://schemas.microsoft.com/office/drawing/2014/main" id="{4803C611-803C-5740-B2DA-AF7E3E3CF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21701313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Judul Vertikal dan Te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Vertikal 1">
            <a:extLst>
              <a:ext uri="{FF2B5EF4-FFF2-40B4-BE49-F238E27FC236}">
                <a16:creationId xmlns:a16="http://schemas.microsoft.com/office/drawing/2014/main" id="{BD4A2644-42AB-8F43-92B1-531350BDED1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Teks Vertikal 2">
            <a:extLst>
              <a:ext uri="{FF2B5EF4-FFF2-40B4-BE49-F238E27FC236}">
                <a16:creationId xmlns:a16="http://schemas.microsoft.com/office/drawing/2014/main" id="{A158A1AC-56AC-6047-8B22-86087FBB3D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4" name="Tampungan Tanggal 3">
            <a:extLst>
              <a:ext uri="{FF2B5EF4-FFF2-40B4-BE49-F238E27FC236}">
                <a16:creationId xmlns:a16="http://schemas.microsoft.com/office/drawing/2014/main" id="{354914D7-6240-F24D-A273-7DE497EA33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DBB70-29AE-4893-82F6-F001FB2AB31D}" type="datetime1">
              <a:rPr lang="id-ID" smtClean="0"/>
              <a:t>25/10/2022</a:t>
            </a:fld>
            <a:endParaRPr lang="id-ID"/>
          </a:p>
        </p:txBody>
      </p:sp>
      <p:sp>
        <p:nvSpPr>
          <p:cNvPr id="5" name="Tampungan Kaki 4">
            <a:extLst>
              <a:ext uri="{FF2B5EF4-FFF2-40B4-BE49-F238E27FC236}">
                <a16:creationId xmlns:a16="http://schemas.microsoft.com/office/drawing/2014/main" id="{F0F03022-825E-8544-A381-FFB96E41F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Tampungan Nomor Slide 5">
            <a:extLst>
              <a:ext uri="{FF2B5EF4-FFF2-40B4-BE49-F238E27FC236}">
                <a16:creationId xmlns:a16="http://schemas.microsoft.com/office/drawing/2014/main" id="{E284E2E4-6E36-9D45-AF53-458853BB11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254219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DC56517-53EC-4B27-B307-131FBF1BC466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9138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Judul dan Ko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ambar 6">
            <a:extLst>
              <a:ext uri="{FF2B5EF4-FFF2-40B4-BE49-F238E27FC236}">
                <a16:creationId xmlns:a16="http://schemas.microsoft.com/office/drawing/2014/main" id="{E709445B-597D-F447-9AAA-B382FFB152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66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7976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Judul" type="title">
  <p:cSld name="Slide Judul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4" name="Google Shape;264;p2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65" name="Google Shape;265;p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7" name="Google Shape;267;p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26499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Header Bagian" type="secHead">
  <p:cSld name="Header Bagian"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p4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4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77" name="Google Shape;277;p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8" name="Google Shape;278;p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9" name="Google Shape;279;p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311006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ua Konten" type="twoObj">
  <p:cSld name="Dua Konten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5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2" name="Google Shape;282;p5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" name="Google Shape;283;p5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" name="Google Shape;284;p5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5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6" name="Google Shape;286;p5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68143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erbandingan" type="twoTxTwoObj">
  <p:cSld name="Perbandingan"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6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6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9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0" name="Google Shape;290;p6"/>
          <p:cNvSpPr txBox="1">
            <a:spLocks noGrp="1"/>
          </p:cNvSpPr>
          <p:nvPr>
            <p:ph type="body" idx="2"/>
          </p:nvPr>
        </p:nvSpPr>
        <p:spPr>
          <a:xfrm>
            <a:off x="839788" y="2505075"/>
            <a:ext cx="51579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1" name="Google Shape;291;p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00" cy="823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92" name="Google Shape;292;p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183100" cy="3684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3" name="Google Shape;293;p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4" name="Google Shape;294;p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5" name="Google Shape;295;p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0874723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osong" type="blank">
  <p:cSld name="Kosong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3" name="Google Shape;303;p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193583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Konten dengan Keterangan" type="objTx">
  <p:cSld name="Konten dengan Keterangan">
    <p:spTree>
      <p:nvGrpSpPr>
        <p:cNvPr id="1" name="Shape 3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Google Shape;306;p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7" name="Google Shape;307;p9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308" name="Google Shape;308;p9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309" name="Google Shape;309;p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9104419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ambar dengan Keterangan" type="picTx">
  <p:cSld name="Gambar dengan Keterangan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10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1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4" name="Google Shape;314;p10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500"/>
          </a:xfrm>
          <a:prstGeom prst="rect">
            <a:avLst/>
          </a:prstGeom>
          <a:noFill/>
          <a:ln>
            <a:noFill/>
          </a:ln>
        </p:spPr>
      </p:sp>
      <p:sp>
        <p:nvSpPr>
          <p:cNvPr id="315" name="Google Shape;315;p10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1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316" name="Google Shape;316;p1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7" name="Google Shape;317;p1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" name="Google Shape;318;p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066342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Judul dan Teks Vertikal" type="vertTx">
  <p:cSld name="Judul dan Teks Vertikal">
    <p:spTree>
      <p:nvGrpSpPr>
        <p:cNvPr id="1" name="Shape 3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" name="Google Shape;320;p1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" name="Google Shape;321;p11"/>
          <p:cNvSpPr txBox="1">
            <a:spLocks noGrp="1"/>
          </p:cNvSpPr>
          <p:nvPr>
            <p:ph type="body" idx="1"/>
          </p:nvPr>
        </p:nvSpPr>
        <p:spPr>
          <a:xfrm rot="5400000">
            <a:off x="3920400" y="-1256575"/>
            <a:ext cx="4351200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1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3" name="Google Shape;323;p1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1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3897892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Judul Vertikal dan Teks" type="vertTitleAndTx">
  <p:cSld name="Judul Vertikal dan Teks">
    <p:spTree>
      <p:nvGrpSpPr>
        <p:cNvPr id="1" name="Shape 3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" name="Google Shape;326;p12"/>
          <p:cNvSpPr txBox="1">
            <a:spLocks noGrp="1"/>
          </p:cNvSpPr>
          <p:nvPr>
            <p:ph type="title"/>
          </p:nvPr>
        </p:nvSpPr>
        <p:spPr>
          <a:xfrm rot="5400000">
            <a:off x="7133400" y="1956625"/>
            <a:ext cx="5811900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12"/>
          <p:cNvSpPr txBox="1">
            <a:spLocks noGrp="1"/>
          </p:cNvSpPr>
          <p:nvPr>
            <p:ph type="body" idx="1"/>
          </p:nvPr>
        </p:nvSpPr>
        <p:spPr>
          <a:xfrm rot="5400000">
            <a:off x="1799400" y="-596075"/>
            <a:ext cx="5811900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8" name="Google Shape;328;p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9" name="Google Shape;329;p1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0" name="Google Shape;330;p1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8467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chemeClr val="tx2"/>
            </a:gs>
            <a:gs pos="100000">
              <a:schemeClr val="accent2"/>
            </a:gs>
          </a:gsLst>
          <a:lin ang="189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1 by Boston Consulting Group. All rights reserved.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6CE9A60D-81DF-4208-9BF3-BD9E401A30AB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320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Judul dan Ko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22155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CCF74E-241E-4B9C-B4EB-BFE698D684C4}" type="datetime1">
              <a:rPr lang="id-ID" smtClean="0"/>
              <a:t>25/10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89653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Judul dan Ko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Judul 1">
            <a:extLst>
              <a:ext uri="{FF2B5EF4-FFF2-40B4-BE49-F238E27FC236}">
                <a16:creationId xmlns:a16="http://schemas.microsoft.com/office/drawing/2014/main" id="{374FDDCE-31D7-8042-BD82-12B6ECC4B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Konten 2">
            <a:extLst>
              <a:ext uri="{FF2B5EF4-FFF2-40B4-BE49-F238E27FC236}">
                <a16:creationId xmlns:a16="http://schemas.microsoft.com/office/drawing/2014/main" id="{31B6658A-0FEC-F849-8320-846800C7E6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4" name="Tampungan Tanggal 3">
            <a:extLst>
              <a:ext uri="{FF2B5EF4-FFF2-40B4-BE49-F238E27FC236}">
                <a16:creationId xmlns:a16="http://schemas.microsoft.com/office/drawing/2014/main" id="{93EAAA82-DEE2-0247-9ED3-DB5182096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0BFDC3-029A-48B9-B4F0-B155AEA88DC7}" type="datetime1">
              <a:rPr lang="id-ID" smtClean="0"/>
              <a:t>25/10/2022</a:t>
            </a:fld>
            <a:endParaRPr lang="id-ID"/>
          </a:p>
        </p:txBody>
      </p:sp>
      <p:sp>
        <p:nvSpPr>
          <p:cNvPr id="5" name="Tampungan Kaki 4">
            <a:extLst>
              <a:ext uri="{FF2B5EF4-FFF2-40B4-BE49-F238E27FC236}">
                <a16:creationId xmlns:a16="http://schemas.microsoft.com/office/drawing/2014/main" id="{6906F7D1-B26A-654E-B681-6E459C0262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6" name="Tampungan Nomor Slide 5">
            <a:extLst>
              <a:ext uri="{FF2B5EF4-FFF2-40B4-BE49-F238E27FC236}">
                <a16:creationId xmlns:a16="http://schemas.microsoft.com/office/drawing/2014/main" id="{ECD0AA66-FBD2-0648-AD93-995AC303E1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77000"/>
            <a:ext cx="2743200" cy="365125"/>
          </a:xfrm>
        </p:spPr>
        <p:txBody>
          <a:bodyPr/>
          <a:lstStyle/>
          <a:p>
            <a:fld id="{34509EC4-87CD-404E-9853-B7B18F953ABD}" type="slidenum">
              <a:rPr lang="id-ID" smtClean="0"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75664610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ED8F87F-F886-442F-9A1C-B2F7BEF1DFFB}"/>
              </a:ext>
            </a:extLst>
          </p:cNvPr>
          <p:cNvSpPr/>
          <p:nvPr userDrawn="1"/>
        </p:nvSpPr>
        <p:spPr>
          <a:xfrm>
            <a:off x="7545109" y="274320"/>
            <a:ext cx="4616412" cy="67926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ambar 6">
            <a:extLst>
              <a:ext uri="{FF2B5EF4-FFF2-40B4-BE49-F238E27FC236}">
                <a16:creationId xmlns:a16="http://schemas.microsoft.com/office/drawing/2014/main" id="{03A13C87-90AC-43F4-AE35-54D7EBBCA6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863" y="27765"/>
            <a:ext cx="12208564" cy="684870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42A3F5E-8525-4104-805D-D6EBA10CB65D}"/>
              </a:ext>
            </a:extLst>
          </p:cNvPr>
          <p:cNvSpPr/>
          <p:nvPr userDrawn="1"/>
        </p:nvSpPr>
        <p:spPr>
          <a:xfrm>
            <a:off x="8736868" y="274320"/>
            <a:ext cx="3174274" cy="5747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F8D2E46-EE20-4C21-B340-C4E0F0980F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2718" y="-2842"/>
            <a:ext cx="4208746" cy="113625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760999E-58A6-48D7-AB81-84E9DBB99439}"/>
              </a:ext>
            </a:extLst>
          </p:cNvPr>
          <p:cNvSpPr/>
          <p:nvPr userDrawn="1"/>
        </p:nvSpPr>
        <p:spPr>
          <a:xfrm>
            <a:off x="10437091" y="6040582"/>
            <a:ext cx="1474051" cy="5430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C158117A-B90D-4E22-A8F2-938102C9B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E4734FE-71CB-4FB3-8D08-F7D60D322653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15823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71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16.jpeg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07ACA4F6-7797-493B-8233-2FDD05FD90C3}" type="datetime1">
              <a:rPr lang="id-ID" smtClean="0"/>
              <a:t>25/10/2022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167833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  <p:sldLayoutId id="2147483742" r:id="rId27"/>
    <p:sldLayoutId id="2147483743" r:id="rId28"/>
    <p:sldLayoutId id="2147483744" r:id="rId29"/>
    <p:sldLayoutId id="2147483745" r:id="rId30"/>
    <p:sldLayoutId id="2147483746" r:id="rId31"/>
    <p:sldLayoutId id="2147483747" r:id="rId32"/>
    <p:sldLayoutId id="2147483748" r:id="rId33"/>
    <p:sldLayoutId id="2147483749" r:id="rId34"/>
    <p:sldLayoutId id="2147483750" r:id="rId35"/>
    <p:sldLayoutId id="2147483751" r:id="rId36"/>
    <p:sldLayoutId id="2147483752" r:id="rId37"/>
    <p:sldLayoutId id="2147483753" r:id="rId38"/>
    <p:sldLayoutId id="2147483754" r:id="rId39"/>
    <p:sldLayoutId id="2147483755" r:id="rId40"/>
    <p:sldLayoutId id="2147483756" r:id="rId41"/>
    <p:sldLayoutId id="2147483757" r:id="rId42"/>
    <p:sldLayoutId id="2147483758" r:id="rId43"/>
    <p:sldLayoutId id="2147483759" r:id="rId44"/>
    <p:sldLayoutId id="2147483760" r:id="rId45"/>
    <p:sldLayoutId id="2147483761" r:id="rId46"/>
    <p:sldLayoutId id="2147483762" r:id="rId47"/>
    <p:sldLayoutId id="2147483763" r:id="rId48"/>
    <p:sldLayoutId id="2147483764" r:id="rId49"/>
    <p:sldLayoutId id="2147483765" r:id="rId50"/>
    <p:sldLayoutId id="2147483766" r:id="rId51"/>
    <p:sldLayoutId id="2147483767" r:id="rId52"/>
    <p:sldLayoutId id="2147483768" r:id="rId53"/>
    <p:sldLayoutId id="2147483769" r:id="rId54"/>
    <p:sldLayoutId id="2147483770" r:id="rId55"/>
    <p:sldLayoutId id="2147483771" r:id="rId56"/>
    <p:sldLayoutId id="2147483772" r:id="rId57"/>
    <p:sldLayoutId id="2147483773" r:id="rId58"/>
    <p:sldLayoutId id="2147483774" r:id="rId59"/>
    <p:sldLayoutId id="2147483775" r:id="rId60"/>
    <p:sldLayoutId id="2147483776" r:id="rId61"/>
    <p:sldLayoutId id="2147483777" r:id="rId62"/>
    <p:sldLayoutId id="2147483778" r:id="rId63"/>
    <p:sldLayoutId id="2147483779" r:id="rId64"/>
    <p:sldLayoutId id="2147483780" r:id="rId65"/>
    <p:sldLayoutId id="2147483781" r:id="rId66"/>
    <p:sldLayoutId id="2147483782" r:id="rId67"/>
    <p:sldLayoutId id="2147483783" r:id="rId6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mpungan Judul 1">
            <a:extLst>
              <a:ext uri="{FF2B5EF4-FFF2-40B4-BE49-F238E27FC236}">
                <a16:creationId xmlns:a16="http://schemas.microsoft.com/office/drawing/2014/main" id="{F6F3EF8C-4DE9-CD41-AB26-85A1FEF37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d-ID"/>
              <a:t>Klik untuk mengedit gaya judul Master</a:t>
            </a:r>
          </a:p>
        </p:txBody>
      </p:sp>
      <p:sp>
        <p:nvSpPr>
          <p:cNvPr id="3" name="Tampungan Teks 2">
            <a:extLst>
              <a:ext uri="{FF2B5EF4-FFF2-40B4-BE49-F238E27FC236}">
                <a16:creationId xmlns:a16="http://schemas.microsoft.com/office/drawing/2014/main" id="{5F5468CF-5081-A140-ADD0-B4C0F5ED18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d-ID"/>
              <a:t>Klik untuk edit gaya teks Master</a:t>
            </a:r>
          </a:p>
          <a:p>
            <a:pPr lvl="1"/>
            <a:r>
              <a:rPr lang="id-ID"/>
              <a:t>Tingkat kedua</a:t>
            </a:r>
          </a:p>
          <a:p>
            <a:pPr lvl="2"/>
            <a:r>
              <a:rPr lang="id-ID"/>
              <a:t>Tingkat ketiga</a:t>
            </a:r>
          </a:p>
          <a:p>
            <a:pPr lvl="3"/>
            <a:r>
              <a:rPr lang="id-ID"/>
              <a:t>Tingkat keempat</a:t>
            </a:r>
          </a:p>
          <a:p>
            <a:pPr lvl="4"/>
            <a:r>
              <a:rPr lang="id-ID"/>
              <a:t>Tingkat kelima</a:t>
            </a:r>
          </a:p>
        </p:txBody>
      </p:sp>
      <p:sp>
        <p:nvSpPr>
          <p:cNvPr id="4" name="Tampungan Tanggal 3">
            <a:extLst>
              <a:ext uri="{FF2B5EF4-FFF2-40B4-BE49-F238E27FC236}">
                <a16:creationId xmlns:a16="http://schemas.microsoft.com/office/drawing/2014/main" id="{1FAAC527-7D81-2947-8166-9526C2DE833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ACDB08-16E1-44BC-927B-3429DCBB6DF6}" type="datetime1">
              <a:rPr lang="id-ID" smtClean="0"/>
              <a:t>25/10/2022</a:t>
            </a:fld>
            <a:endParaRPr lang="id-ID"/>
          </a:p>
        </p:txBody>
      </p:sp>
      <p:sp>
        <p:nvSpPr>
          <p:cNvPr id="5" name="Tampungan Kaki 4">
            <a:extLst>
              <a:ext uri="{FF2B5EF4-FFF2-40B4-BE49-F238E27FC236}">
                <a16:creationId xmlns:a16="http://schemas.microsoft.com/office/drawing/2014/main" id="{BC1D648B-4109-1149-BAB6-B0ADEB76CB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6" name="Tampungan Nomor Slide 5">
            <a:extLst>
              <a:ext uri="{FF2B5EF4-FFF2-40B4-BE49-F238E27FC236}">
                <a16:creationId xmlns:a16="http://schemas.microsoft.com/office/drawing/2014/main" id="{B4FBC595-E378-8B48-9C17-A3470D29D5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509EC4-87CD-404E-9853-B7B18F953ABD}" type="slidenum">
              <a:rPr lang="id-ID" smtClean="0"/>
              <a:pPr/>
              <a:t>‹#›</a:t>
            </a:fld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672766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  <p:sldLayoutId id="2147483797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5">
            <a:alphaModFix/>
          </a:blip>
          <a:stretch>
            <a:fillRect/>
          </a:stretch>
        </a:blipFill>
        <a:effectLst/>
      </p:bgPr>
    </p:bg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p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58" name="Google Shape;258;p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59" name="Google Shape;259;p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0" name="Google Shape;260;p1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61" name="Google Shape;261;p1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id-ID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7878181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859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9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3" Type="http://schemas.openxmlformats.org/officeDocument/2006/relationships/image" Target="../media/image75.png"/><Relationship Id="rId7" Type="http://schemas.openxmlformats.org/officeDocument/2006/relationships/image" Target="../media/image79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image" Target="../media/image81.jpeg"/><Relationship Id="rId7" Type="http://schemas.openxmlformats.org/officeDocument/2006/relationships/image" Target="../media/image85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84.jpeg"/><Relationship Id="rId5" Type="http://schemas.openxmlformats.org/officeDocument/2006/relationships/image" Target="../media/image83.jpeg"/><Relationship Id="rId10" Type="http://schemas.openxmlformats.org/officeDocument/2006/relationships/image" Target="../media/image88.png"/><Relationship Id="rId4" Type="http://schemas.openxmlformats.org/officeDocument/2006/relationships/image" Target="../media/image82.jpeg"/><Relationship Id="rId9" Type="http://schemas.openxmlformats.org/officeDocument/2006/relationships/image" Target="../media/image8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7" Type="http://schemas.openxmlformats.org/officeDocument/2006/relationships/chart" Target="../charts/chart11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90.svg"/><Relationship Id="rId5" Type="http://schemas.openxmlformats.org/officeDocument/2006/relationships/image" Target="../media/image89.png"/><Relationship Id="rId4" Type="http://schemas.openxmlformats.org/officeDocument/2006/relationships/image" Target="../media/image78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5.xml"/><Relationship Id="rId5" Type="http://schemas.microsoft.com/office/2007/relationships/hdphoto" Target="../media/hdphoto5.wdp"/><Relationship Id="rId4" Type="http://schemas.openxmlformats.org/officeDocument/2006/relationships/image" Target="../media/image9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92.xml"/><Relationship Id="rId5" Type="http://schemas.openxmlformats.org/officeDocument/2006/relationships/image" Target="../media/image96.jpeg"/><Relationship Id="rId4" Type="http://schemas.openxmlformats.org/officeDocument/2006/relationships/image" Target="../media/image95.jpe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7.png"/><Relationship Id="rId18" Type="http://schemas.openxmlformats.org/officeDocument/2006/relationships/image" Target="../media/image112.png"/><Relationship Id="rId26" Type="http://schemas.openxmlformats.org/officeDocument/2006/relationships/image" Target="../media/image120.png"/><Relationship Id="rId39" Type="http://schemas.openxmlformats.org/officeDocument/2006/relationships/image" Target="../media/image22.png"/><Relationship Id="rId21" Type="http://schemas.openxmlformats.org/officeDocument/2006/relationships/image" Target="../media/image115.png"/><Relationship Id="rId34" Type="http://schemas.openxmlformats.org/officeDocument/2006/relationships/image" Target="../media/image128.png"/><Relationship Id="rId7" Type="http://schemas.openxmlformats.org/officeDocument/2006/relationships/image" Target="../media/image101.jpg"/><Relationship Id="rId12" Type="http://schemas.openxmlformats.org/officeDocument/2006/relationships/image" Target="../media/image106.png"/><Relationship Id="rId17" Type="http://schemas.openxmlformats.org/officeDocument/2006/relationships/image" Target="../media/image111.png"/><Relationship Id="rId25" Type="http://schemas.openxmlformats.org/officeDocument/2006/relationships/image" Target="../media/image119.png"/><Relationship Id="rId33" Type="http://schemas.openxmlformats.org/officeDocument/2006/relationships/image" Target="../media/image127.png"/><Relationship Id="rId38" Type="http://schemas.openxmlformats.org/officeDocument/2006/relationships/image" Target="../media/image132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110.png"/><Relationship Id="rId20" Type="http://schemas.openxmlformats.org/officeDocument/2006/relationships/image" Target="../media/image114.png"/><Relationship Id="rId29" Type="http://schemas.openxmlformats.org/officeDocument/2006/relationships/image" Target="../media/image123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100.jpg"/><Relationship Id="rId11" Type="http://schemas.openxmlformats.org/officeDocument/2006/relationships/image" Target="../media/image105.png"/><Relationship Id="rId24" Type="http://schemas.openxmlformats.org/officeDocument/2006/relationships/image" Target="../media/image118.png"/><Relationship Id="rId32" Type="http://schemas.openxmlformats.org/officeDocument/2006/relationships/image" Target="../media/image126.png"/><Relationship Id="rId37" Type="http://schemas.openxmlformats.org/officeDocument/2006/relationships/image" Target="../media/image131.png"/><Relationship Id="rId5" Type="http://schemas.openxmlformats.org/officeDocument/2006/relationships/image" Target="../media/image99.png"/><Relationship Id="rId15" Type="http://schemas.openxmlformats.org/officeDocument/2006/relationships/image" Target="../media/image109.png"/><Relationship Id="rId23" Type="http://schemas.openxmlformats.org/officeDocument/2006/relationships/image" Target="../media/image117.png"/><Relationship Id="rId28" Type="http://schemas.openxmlformats.org/officeDocument/2006/relationships/image" Target="../media/image122.png"/><Relationship Id="rId36" Type="http://schemas.openxmlformats.org/officeDocument/2006/relationships/image" Target="../media/image130.png"/><Relationship Id="rId10" Type="http://schemas.openxmlformats.org/officeDocument/2006/relationships/image" Target="../media/image104.png"/><Relationship Id="rId19" Type="http://schemas.openxmlformats.org/officeDocument/2006/relationships/image" Target="../media/image113.png"/><Relationship Id="rId31" Type="http://schemas.openxmlformats.org/officeDocument/2006/relationships/image" Target="../media/image125.png"/><Relationship Id="rId4" Type="http://schemas.openxmlformats.org/officeDocument/2006/relationships/image" Target="../media/image98.jpg"/><Relationship Id="rId9" Type="http://schemas.openxmlformats.org/officeDocument/2006/relationships/image" Target="../media/image103.png"/><Relationship Id="rId14" Type="http://schemas.openxmlformats.org/officeDocument/2006/relationships/image" Target="../media/image108.png"/><Relationship Id="rId22" Type="http://schemas.openxmlformats.org/officeDocument/2006/relationships/image" Target="../media/image116.png"/><Relationship Id="rId27" Type="http://schemas.openxmlformats.org/officeDocument/2006/relationships/image" Target="../media/image121.png"/><Relationship Id="rId30" Type="http://schemas.openxmlformats.org/officeDocument/2006/relationships/image" Target="../media/image124.png"/><Relationship Id="rId35" Type="http://schemas.openxmlformats.org/officeDocument/2006/relationships/image" Target="../media/image129.png"/><Relationship Id="rId8" Type="http://schemas.openxmlformats.org/officeDocument/2006/relationships/image" Target="../media/image102.png"/><Relationship Id="rId3" Type="http://schemas.openxmlformats.org/officeDocument/2006/relationships/image" Target="../media/image97.jp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7" Type="http://schemas.openxmlformats.org/officeDocument/2006/relationships/image" Target="../media/image22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png"/><Relationship Id="rId3" Type="http://schemas.openxmlformats.org/officeDocument/2006/relationships/image" Target="../media/image133.jpeg"/><Relationship Id="rId7" Type="http://schemas.openxmlformats.org/officeDocument/2006/relationships/image" Target="../media/image136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135.png"/><Relationship Id="rId5" Type="http://schemas.microsoft.com/office/2007/relationships/hdphoto" Target="../media/hdphoto6.wdp"/><Relationship Id="rId4" Type="http://schemas.openxmlformats.org/officeDocument/2006/relationships/image" Target="../media/image1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5.xml"/><Relationship Id="rId5" Type="http://schemas.openxmlformats.org/officeDocument/2006/relationships/image" Target="../media/image140.png"/><Relationship Id="rId4" Type="http://schemas.openxmlformats.org/officeDocument/2006/relationships/image" Target="../media/image13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image" Target="../media/image141.jpeg"/><Relationship Id="rId1" Type="http://schemas.openxmlformats.org/officeDocument/2006/relationships/slideLayout" Target="../slideLayouts/slideLayout7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31.png"/><Relationship Id="rId11" Type="http://schemas.openxmlformats.org/officeDocument/2006/relationships/image" Target="../media/image22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41.png"/><Relationship Id="rId18" Type="http://schemas.openxmlformats.org/officeDocument/2006/relationships/image" Target="../media/image46.png"/><Relationship Id="rId3" Type="http://schemas.openxmlformats.org/officeDocument/2006/relationships/image" Target="../media/image36.png"/><Relationship Id="rId21" Type="http://schemas.openxmlformats.org/officeDocument/2006/relationships/image" Target="../media/image49.png"/><Relationship Id="rId7" Type="http://schemas.openxmlformats.org/officeDocument/2006/relationships/image" Target="../media/image38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44.png"/><Relationship Id="rId20" Type="http://schemas.openxmlformats.org/officeDocument/2006/relationships/image" Target="../media/image48.png"/><Relationship Id="rId1" Type="http://schemas.openxmlformats.org/officeDocument/2006/relationships/slideLayout" Target="../slideLayouts/slideLayout92.xml"/><Relationship Id="rId6" Type="http://schemas.microsoft.com/office/2007/relationships/hdphoto" Target="../media/hdphoto2.wdp"/><Relationship Id="rId11" Type="http://schemas.openxmlformats.org/officeDocument/2006/relationships/chart" Target="../charts/chart2.xml"/><Relationship Id="rId5" Type="http://schemas.openxmlformats.org/officeDocument/2006/relationships/image" Target="../media/image37.png"/><Relationship Id="rId15" Type="http://schemas.openxmlformats.org/officeDocument/2006/relationships/image" Target="../media/image43.png"/><Relationship Id="rId10" Type="http://schemas.microsoft.com/office/2007/relationships/hdphoto" Target="../media/hdphoto4.wdp"/><Relationship Id="rId19" Type="http://schemas.openxmlformats.org/officeDocument/2006/relationships/image" Target="../media/image47.png"/><Relationship Id="rId4" Type="http://schemas.microsoft.com/office/2007/relationships/hdphoto" Target="../media/hdphoto1.wdp"/><Relationship Id="rId9" Type="http://schemas.openxmlformats.org/officeDocument/2006/relationships/image" Target="../media/image39.png"/><Relationship Id="rId14" Type="http://schemas.openxmlformats.org/officeDocument/2006/relationships/image" Target="../media/image42.png"/><Relationship Id="rId22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chart" Target="../charts/chart3.xml"/><Relationship Id="rId7" Type="http://schemas.openxmlformats.org/officeDocument/2006/relationships/chart" Target="../charts/chart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5.xml"/><Relationship Id="rId6" Type="http://schemas.openxmlformats.org/officeDocument/2006/relationships/chart" Target="../charts/chart5.xml"/><Relationship Id="rId5" Type="http://schemas.openxmlformats.org/officeDocument/2006/relationships/image" Target="../media/image50.jpeg"/><Relationship Id="rId10" Type="http://schemas.openxmlformats.org/officeDocument/2006/relationships/chart" Target="../charts/chart8.xml"/><Relationship Id="rId4" Type="http://schemas.openxmlformats.org/officeDocument/2006/relationships/chart" Target="../charts/chart4.xml"/><Relationship Id="rId9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13" Type="http://schemas.openxmlformats.org/officeDocument/2006/relationships/image" Target="../media/image64.jpeg"/><Relationship Id="rId18" Type="http://schemas.openxmlformats.org/officeDocument/2006/relationships/image" Target="../media/image69.jpeg"/><Relationship Id="rId3" Type="http://schemas.openxmlformats.org/officeDocument/2006/relationships/image" Target="../media/image54.jpeg"/><Relationship Id="rId7" Type="http://schemas.openxmlformats.org/officeDocument/2006/relationships/image" Target="../media/image58.jpeg"/><Relationship Id="rId12" Type="http://schemas.openxmlformats.org/officeDocument/2006/relationships/image" Target="../media/image63.png"/><Relationship Id="rId17" Type="http://schemas.openxmlformats.org/officeDocument/2006/relationships/image" Target="../media/image68.png"/><Relationship Id="rId2" Type="http://schemas.openxmlformats.org/officeDocument/2006/relationships/image" Target="../media/image53.jpeg"/><Relationship Id="rId16" Type="http://schemas.openxmlformats.org/officeDocument/2006/relationships/image" Target="../media/image67.png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57.jpeg"/><Relationship Id="rId11" Type="http://schemas.openxmlformats.org/officeDocument/2006/relationships/image" Target="../media/image62.jpe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10" Type="http://schemas.openxmlformats.org/officeDocument/2006/relationships/image" Target="../media/image61.jpeg"/><Relationship Id="rId19" Type="http://schemas.openxmlformats.org/officeDocument/2006/relationships/image" Target="../media/image22.png"/><Relationship Id="rId4" Type="http://schemas.openxmlformats.org/officeDocument/2006/relationships/image" Target="../media/image55.jpeg"/><Relationship Id="rId9" Type="http://schemas.openxmlformats.org/officeDocument/2006/relationships/image" Target="../media/image60.jpeg"/><Relationship Id="rId14" Type="http://schemas.openxmlformats.org/officeDocument/2006/relationships/image" Target="../media/image6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image" Target="../media/image70.png"/><Relationship Id="rId7" Type="http://schemas.openxmlformats.org/officeDocument/2006/relationships/image" Target="../media/image74.jpe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73.jpeg"/><Relationship Id="rId5" Type="http://schemas.openxmlformats.org/officeDocument/2006/relationships/image" Target="../media/image72.jpeg"/><Relationship Id="rId4" Type="http://schemas.openxmlformats.org/officeDocument/2006/relationships/image" Target="../media/image71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A picture containing person, sky, outdoor, ground&#10;&#10;Description automatically generated">
            <a:extLst>
              <a:ext uri="{FF2B5EF4-FFF2-40B4-BE49-F238E27FC236}">
                <a16:creationId xmlns:a16="http://schemas.microsoft.com/office/drawing/2014/main" id="{CEAD60CD-B3D7-1E5D-5577-F2A9825323E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9803" b="177"/>
          <a:stretch/>
        </p:blipFill>
        <p:spPr>
          <a:xfrm>
            <a:off x="4829784" y="2154879"/>
            <a:ext cx="7351213" cy="4558635"/>
          </a:xfrm>
          <a:prstGeom prst="rect">
            <a:avLst/>
          </a:prstGeom>
        </p:spPr>
      </p:pic>
      <p:pic>
        <p:nvPicPr>
          <p:cNvPr id="2097154" name="Gambar 6"/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48586" name="TextBox 5"/>
          <p:cNvSpPr txBox="1"/>
          <p:nvPr/>
        </p:nvSpPr>
        <p:spPr>
          <a:xfrm>
            <a:off x="143822" y="1617105"/>
            <a:ext cx="6028950" cy="36009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3200" b="1" dirty="0">
                <a:solidFill>
                  <a:srgbClr val="0018C0"/>
                </a:solidFill>
              </a:rPr>
              <a:t>Overview of FDI Trend, Investment Incentives and Strategic Investment Projects</a:t>
            </a:r>
            <a:endParaRPr lang="en-US" sz="2200" dirty="0">
              <a:solidFill>
                <a:srgbClr val="0018C0"/>
              </a:solidFill>
            </a:endParaRPr>
          </a:p>
          <a:p>
            <a:endParaRPr lang="en-US" sz="2200" dirty="0">
              <a:solidFill>
                <a:srgbClr val="0018C0"/>
              </a:solidFill>
            </a:endParaRPr>
          </a:p>
          <a:p>
            <a:r>
              <a:rPr lang="en-US" sz="2200" dirty="0">
                <a:solidFill>
                  <a:srgbClr val="0018C0"/>
                </a:solidFill>
              </a:rPr>
              <a:t>Mr. </a:t>
            </a:r>
            <a:r>
              <a:rPr lang="en-US" sz="2200" dirty="0" err="1">
                <a:solidFill>
                  <a:srgbClr val="0018C0"/>
                </a:solidFill>
              </a:rPr>
              <a:t>Heldy</a:t>
            </a:r>
            <a:r>
              <a:rPr lang="en-US" sz="2200" dirty="0">
                <a:solidFill>
                  <a:srgbClr val="0018C0"/>
                </a:solidFill>
              </a:rPr>
              <a:t> </a:t>
            </a:r>
            <a:r>
              <a:rPr lang="en-US" sz="2200" dirty="0" err="1">
                <a:solidFill>
                  <a:srgbClr val="0018C0"/>
                </a:solidFill>
              </a:rPr>
              <a:t>Satrya</a:t>
            </a:r>
            <a:r>
              <a:rPr lang="en-US" sz="2200" dirty="0">
                <a:solidFill>
                  <a:srgbClr val="0018C0"/>
                </a:solidFill>
              </a:rPr>
              <a:t> </a:t>
            </a:r>
            <a:r>
              <a:rPr lang="en-US" sz="2200" dirty="0" err="1">
                <a:solidFill>
                  <a:srgbClr val="0018C0"/>
                </a:solidFill>
              </a:rPr>
              <a:t>Putera</a:t>
            </a:r>
            <a:r>
              <a:rPr lang="en-US" sz="2200" dirty="0">
                <a:solidFill>
                  <a:srgbClr val="0018C0"/>
                </a:solidFill>
              </a:rPr>
              <a:t> </a:t>
            </a:r>
          </a:p>
          <a:p>
            <a:r>
              <a:rPr lang="en-US" sz="2200" dirty="0">
                <a:solidFill>
                  <a:srgbClr val="0018C0"/>
                </a:solidFill>
              </a:rPr>
              <a:t>Acting Deputy Minister for Strategic</a:t>
            </a:r>
          </a:p>
          <a:p>
            <a:r>
              <a:rPr lang="en-US" sz="2200" dirty="0">
                <a:solidFill>
                  <a:srgbClr val="0018C0"/>
                </a:solidFill>
              </a:rPr>
              <a:t>Downstream Investment</a:t>
            </a:r>
          </a:p>
          <a:p>
            <a:endParaRPr lang="en-US" sz="2200" dirty="0">
              <a:solidFill>
                <a:srgbClr val="0018C0"/>
              </a:solidFill>
            </a:endParaRPr>
          </a:p>
          <a:p>
            <a:r>
              <a:rPr lang="en-US" sz="2200" dirty="0">
                <a:solidFill>
                  <a:srgbClr val="0018C0"/>
                </a:solidFill>
              </a:rPr>
              <a:t>25 October 2022</a:t>
            </a:r>
          </a:p>
        </p:txBody>
      </p:sp>
      <p:pic>
        <p:nvPicPr>
          <p:cNvPr id="2097155" name="Picture 1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45749" y="5346612"/>
            <a:ext cx="2346251" cy="1511389"/>
          </a:xfrm>
          <a:prstGeom prst="rect">
            <a:avLst/>
          </a:prstGeom>
        </p:spPr>
      </p:pic>
      <p:pic>
        <p:nvPicPr>
          <p:cNvPr id="2097156" name="Picture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4541" y="180940"/>
            <a:ext cx="1350483" cy="594912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69B5DEB-2C2A-5ED4-37ED-16AA20820F9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id-ID"/>
              <a:t>1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7BCAC9A-4613-45B8-8DEB-F4EB7F486687}"/>
              </a:ext>
            </a:extLst>
          </p:cNvPr>
          <p:cNvSpPr/>
          <p:nvPr/>
        </p:nvSpPr>
        <p:spPr>
          <a:xfrm>
            <a:off x="403123" y="180940"/>
            <a:ext cx="3224337" cy="5949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2E95462-D07A-4CE5-9069-C756D33A21C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5" y="-103983"/>
            <a:ext cx="4435341" cy="1197425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44">
            <a:extLst>
              <a:ext uri="{FF2B5EF4-FFF2-40B4-BE49-F238E27FC236}">
                <a16:creationId xmlns:a16="http://schemas.microsoft.com/office/drawing/2014/main" id="{5C2F847A-32EC-46C1-B53F-57F938DEE88D}"/>
              </a:ext>
            </a:extLst>
          </p:cNvPr>
          <p:cNvSpPr txBox="1">
            <a:spLocks/>
          </p:cNvSpPr>
          <p:nvPr/>
        </p:nvSpPr>
        <p:spPr>
          <a:xfrm>
            <a:off x="-4416" y="4315"/>
            <a:ext cx="12196415" cy="99930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NL" sz="2800" b="1" dirty="0">
                <a:latin typeface="Gotham"/>
              </a:rPr>
              <a:t>TREND BASED ON SECTORS</a:t>
            </a:r>
          </a:p>
          <a:p>
            <a:pPr algn="ctr"/>
            <a:r>
              <a:rPr lang="nl-NL" sz="2400" b="1" dirty="0">
                <a:solidFill>
                  <a:srgbClr val="275680"/>
                </a:solidFill>
                <a:latin typeface="Gotham"/>
              </a:rPr>
              <a:t>Year 2019, 2020, and 2021</a:t>
            </a:r>
            <a:endParaRPr lang="es-ES" sz="2400" b="1" dirty="0">
              <a:solidFill>
                <a:srgbClr val="275680"/>
              </a:solidFill>
              <a:latin typeface="Gotham"/>
            </a:endParaRPr>
          </a:p>
          <a:p>
            <a:pPr algn="ctr"/>
            <a:endParaRPr lang="id-ID" sz="2400" b="1" dirty="0">
              <a:solidFill>
                <a:srgbClr val="275680"/>
              </a:solidFill>
              <a:latin typeface="Gotham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1EAE0F3-A7A4-47DC-A55D-98C4F33F3539}"/>
              </a:ext>
            </a:extLst>
          </p:cNvPr>
          <p:cNvSpPr txBox="1"/>
          <p:nvPr/>
        </p:nvSpPr>
        <p:spPr>
          <a:xfrm>
            <a:off x="11222" y="6672087"/>
            <a:ext cx="752719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70"/>
              </a:spcBef>
              <a:defRPr/>
            </a:pPr>
            <a:r>
              <a:rPr lang="en-US" sz="1050" spc="-3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Ministry of Investment/BKPM, 2022</a:t>
            </a:r>
          </a:p>
        </p:txBody>
      </p:sp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1ABC5EEC-09D3-4B7E-924F-92C61FD46D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594003"/>
              </p:ext>
            </p:extLst>
          </p:nvPr>
        </p:nvGraphicFramePr>
        <p:xfrm>
          <a:off x="73958" y="1463311"/>
          <a:ext cx="3701171" cy="36226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69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72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34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34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860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tors</a:t>
                      </a: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(B)</a:t>
                      </a: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870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ation, Warehouse, and Telecommunication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D" sz="1400" b="0" i="0" u="none" strike="noStrike" cap="none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8.9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2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860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city, Gas, and Water Supply </a:t>
                      </a: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1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6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35992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using, Industrial Estate,</a:t>
                      </a:r>
                    </a:p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Office Building</a:t>
                      </a: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5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8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35992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al, Metal Goods, Except Machinery, and Equipment Industr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96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6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860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nin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9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4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D1FF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D22FB868-A864-4CEE-A762-1675EB33909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685457"/>
              </p:ext>
            </p:extLst>
          </p:nvPr>
        </p:nvGraphicFramePr>
        <p:xfrm>
          <a:off x="4103035" y="1463311"/>
          <a:ext cx="3592700" cy="36226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062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79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42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3428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860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solidFill>
                      <a:srgbClr val="001F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tors</a:t>
                      </a:r>
                    </a:p>
                  </a:txBody>
                  <a:tcPr marL="9525" marR="9525" marT="9525" marB="0" anchor="ctr">
                    <a:solidFill>
                      <a:srgbClr val="001F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(B)</a:t>
                      </a:r>
                    </a:p>
                  </a:txBody>
                  <a:tcPr marL="9525" marR="9525" marT="9525" marB="0" anchor="ctr">
                    <a:solidFill>
                      <a:srgbClr val="001F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solidFill>
                      <a:srgbClr val="001F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8870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nsportation, Warehouse, and Telecommunica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.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28606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lectricity, Gas, and Water Supply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5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.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35992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al, Metal Goods, Except Machinery, and Equipment Industry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35992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sing, Industrial Estate,</a:t>
                      </a:r>
                    </a:p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d Office Building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.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8606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truction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5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DBED4FD3-A849-4446-8894-02F80536F4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2965023"/>
              </p:ext>
            </p:extLst>
          </p:nvPr>
        </p:nvGraphicFramePr>
        <p:xfrm>
          <a:off x="8023641" y="1463311"/>
          <a:ext cx="4094401" cy="34610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4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14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16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916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22814"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</a:t>
                      </a:r>
                    </a:p>
                  </a:txBody>
                  <a:tcPr marL="9525" marR="9525" marT="9525" marB="0" anchor="ctr">
                    <a:solidFill>
                      <a:srgbClr val="52A85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ctors</a:t>
                      </a:r>
                    </a:p>
                  </a:txBody>
                  <a:tcPr marL="9525" marR="9525" marT="9525" marB="0" anchor="ctr">
                    <a:solidFill>
                      <a:srgbClr val="52A85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D (B)</a:t>
                      </a:r>
                    </a:p>
                  </a:txBody>
                  <a:tcPr marL="9525" marR="9525" marT="9525" marB="0" anchor="ctr">
                    <a:solidFill>
                      <a:srgbClr val="52A85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solidFill>
                      <a:srgbClr val="52A85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0184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etal, Metal Goods, Except Machinery, and Equipment Industry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5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.0%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67997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sing, Industrial Estate,</a:t>
                      </a:r>
                    </a:p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d Office Building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.56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.0%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1890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ansportation, Warehouse, and Telecommunication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91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9%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21890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lectricity, Gas, and Water Supply 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25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.1%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2814"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ining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23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t" latinLnBrk="0" hangingPunct="1"/>
                      <a:r>
                        <a:rPr lang="en-US" sz="14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.0%</a:t>
                      </a: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8" name="TextBox 37">
            <a:extLst>
              <a:ext uri="{FF2B5EF4-FFF2-40B4-BE49-F238E27FC236}">
                <a16:creationId xmlns:a16="http://schemas.microsoft.com/office/drawing/2014/main" id="{12E89B58-5192-4C85-A6B1-83D55FFDC6FF}"/>
              </a:ext>
            </a:extLst>
          </p:cNvPr>
          <p:cNvSpPr txBox="1"/>
          <p:nvPr/>
        </p:nvSpPr>
        <p:spPr>
          <a:xfrm>
            <a:off x="256389" y="5344160"/>
            <a:ext cx="116792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line with the policy of the President of the Republic of Indonesia related to economic transformation from the primary sector industry to value-added (downstream) based industries, starting from 2019 to 2021, </a:t>
            </a:r>
            <a:r>
              <a:rPr 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etal, Metal Goods, Except Machinery, and Equipment Industry sector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increased by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90.7%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from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3.96 Billion USD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600" b="1" u="none" strike="noStrike" kern="1200" dirty="0">
                <a:solidFill>
                  <a:schemeClr val="dk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.56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Billion USD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7FE712C-2C1F-47DB-AC7F-7971D8D2B1F1}"/>
              </a:ext>
            </a:extLst>
          </p:cNvPr>
          <p:cNvSpPr/>
          <p:nvPr/>
        </p:nvSpPr>
        <p:spPr>
          <a:xfrm>
            <a:off x="89248" y="3815881"/>
            <a:ext cx="3701171" cy="830997"/>
          </a:xfrm>
          <a:prstGeom prst="rect">
            <a:avLst/>
          </a:prstGeom>
          <a:noFill/>
          <a:ln w="38100">
            <a:solidFill>
              <a:srgbClr val="52A85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Gotham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DC0CD948-D918-4464-B72A-DABBFCB762D6}"/>
              </a:ext>
            </a:extLst>
          </p:cNvPr>
          <p:cNvSpPr/>
          <p:nvPr/>
        </p:nvSpPr>
        <p:spPr>
          <a:xfrm>
            <a:off x="4126779" y="2992257"/>
            <a:ext cx="3566441" cy="830997"/>
          </a:xfrm>
          <a:prstGeom prst="rect">
            <a:avLst/>
          </a:prstGeom>
          <a:noFill/>
          <a:ln w="38100">
            <a:solidFill>
              <a:srgbClr val="52A85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Gotham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F25C5BF-5222-4832-ADAC-C184EEB7BE66}"/>
              </a:ext>
            </a:extLst>
          </p:cNvPr>
          <p:cNvSpPr/>
          <p:nvPr/>
        </p:nvSpPr>
        <p:spPr>
          <a:xfrm>
            <a:off x="8023641" y="1900065"/>
            <a:ext cx="4094401" cy="751696"/>
          </a:xfrm>
          <a:prstGeom prst="rect">
            <a:avLst/>
          </a:prstGeom>
          <a:noFill/>
          <a:ln w="38100">
            <a:solidFill>
              <a:srgbClr val="52A85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Gotham"/>
            </a:endParaRPr>
          </a:p>
        </p:txBody>
      </p: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1949BBBB-BD89-4A4E-A9F0-37DDF67262E0}"/>
              </a:ext>
            </a:extLst>
          </p:cNvPr>
          <p:cNvCxnSpPr>
            <a:stCxn id="39" idx="3"/>
            <a:endCxn id="40" idx="1"/>
          </p:cNvCxnSpPr>
          <p:nvPr/>
        </p:nvCxnSpPr>
        <p:spPr>
          <a:xfrm flipV="1">
            <a:off x="3790419" y="3407756"/>
            <a:ext cx="336360" cy="823624"/>
          </a:xfrm>
          <a:prstGeom prst="straightConnector1">
            <a:avLst/>
          </a:prstGeom>
          <a:ln w="38100">
            <a:solidFill>
              <a:srgbClr val="52A85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1B52FFF7-2F18-437B-807A-76E6D8BC78EB}"/>
              </a:ext>
            </a:extLst>
          </p:cNvPr>
          <p:cNvCxnSpPr>
            <a:cxnSpLocks/>
            <a:stCxn id="40" idx="3"/>
            <a:endCxn id="41" idx="1"/>
          </p:cNvCxnSpPr>
          <p:nvPr/>
        </p:nvCxnSpPr>
        <p:spPr>
          <a:xfrm flipV="1">
            <a:off x="7693220" y="2275913"/>
            <a:ext cx="330421" cy="1131843"/>
          </a:xfrm>
          <a:prstGeom prst="straightConnector1">
            <a:avLst/>
          </a:prstGeom>
          <a:ln w="38100">
            <a:solidFill>
              <a:srgbClr val="52A85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id="{CF4E19F4-66E8-42E8-B43D-840593827F59}"/>
              </a:ext>
            </a:extLst>
          </p:cNvPr>
          <p:cNvSpPr txBox="1"/>
          <p:nvPr/>
        </p:nvSpPr>
        <p:spPr>
          <a:xfrm>
            <a:off x="1304003" y="1045099"/>
            <a:ext cx="1222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04B1633-3A09-45AB-A331-67D3FBA04582}"/>
              </a:ext>
            </a:extLst>
          </p:cNvPr>
          <p:cNvSpPr txBox="1"/>
          <p:nvPr/>
        </p:nvSpPr>
        <p:spPr>
          <a:xfrm>
            <a:off x="5298215" y="1045099"/>
            <a:ext cx="1222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813B5E3-C285-4D54-89DE-523668447CFB}"/>
              </a:ext>
            </a:extLst>
          </p:cNvPr>
          <p:cNvSpPr txBox="1"/>
          <p:nvPr/>
        </p:nvSpPr>
        <p:spPr>
          <a:xfrm>
            <a:off x="9461411" y="1045099"/>
            <a:ext cx="1222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9203E2C-AB48-00D4-FDDF-D71AB995C15A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5FFBE9-4B79-0C9A-F36A-4205087880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8520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17EBDF-B860-4591-8776-95967A3BF4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6" y="-106009"/>
            <a:ext cx="4435341" cy="1197425"/>
          </a:xfrm>
          <a:prstGeom prst="rect">
            <a:avLst/>
          </a:prstGeom>
        </p:spPr>
      </p:pic>
      <p:sp>
        <p:nvSpPr>
          <p:cNvPr id="125" name="Rectangle 124">
            <a:extLst>
              <a:ext uri="{FF2B5EF4-FFF2-40B4-BE49-F238E27FC236}">
                <a16:creationId xmlns:a16="http://schemas.microsoft.com/office/drawing/2014/main" id="{2E4D4490-5C61-4D83-B06B-C9E6E63B45D8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Google Shape;86;p13">
            <a:extLst>
              <a:ext uri="{FF2B5EF4-FFF2-40B4-BE49-F238E27FC236}">
                <a16:creationId xmlns:a16="http://schemas.microsoft.com/office/drawing/2014/main" id="{64547A6A-230D-4BA6-B5C5-CDC3BB40B525}"/>
              </a:ext>
            </a:extLst>
          </p:cNvPr>
          <p:cNvSpPr/>
          <p:nvPr/>
        </p:nvSpPr>
        <p:spPr>
          <a:xfrm>
            <a:off x="952500" y="611672"/>
            <a:ext cx="10287001" cy="40005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45700" rIns="91425" bIns="457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Potential Sect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lang="en-US" sz="1600" spc="-5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to promote Sustainable Investment</a:t>
            </a:r>
            <a:endParaRPr kumimoji="0" lang="en-US" sz="1600" i="0" u="none" strike="noStrike" kern="1200" cap="none" spc="-5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74E6241-081E-450D-91BD-4CF8426E8B0E}"/>
              </a:ext>
            </a:extLst>
          </p:cNvPr>
          <p:cNvSpPr txBox="1"/>
          <p:nvPr/>
        </p:nvSpPr>
        <p:spPr>
          <a:xfrm>
            <a:off x="256389" y="4746219"/>
            <a:ext cx="5474177" cy="19697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“The investment ecosystem is intended to strengthen the development of an innovation and technology-based economy, in particular towards a sustainabl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BA9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een economy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2B3E9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lue economy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”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Speech of President Jokowi during the Annual Session of the MPR RI and the Joint Session of the DPR RI - DPD RI in 16 August 2021)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ADC245F1-7CF4-45E7-961B-0D752DDAEA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175" y="1439347"/>
            <a:ext cx="5185923" cy="3241202"/>
          </a:xfrm>
          <a:prstGeom prst="round2DiagRect">
            <a:avLst>
              <a:gd name="adj1" fmla="val 6792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00042E4E-D786-4DA2-81BF-FB519C5990AE}"/>
              </a:ext>
            </a:extLst>
          </p:cNvPr>
          <p:cNvSpPr txBox="1"/>
          <p:nvPr/>
        </p:nvSpPr>
        <p:spPr>
          <a:xfrm>
            <a:off x="5838887" y="3479047"/>
            <a:ext cx="180858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</a:p>
        </p:txBody>
      </p:sp>
      <p:pic>
        <p:nvPicPr>
          <p:cNvPr id="41" name="Picture 2" descr="https://i.pinimg.com/originals/51/4f/f5/514ff53d5ea9f7369d79a2d79a245341.jpg">
            <a:extLst>
              <a:ext uri="{FF2B5EF4-FFF2-40B4-BE49-F238E27FC236}">
                <a16:creationId xmlns:a16="http://schemas.microsoft.com/office/drawing/2014/main" id="{65B34DBC-F17E-415A-97FE-7FB0629AA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58255" y="1983539"/>
            <a:ext cx="2169855" cy="1301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28B6FDEC-BEA8-4B62-B0A1-F1D7A6BD27C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1587" y="1934014"/>
            <a:ext cx="2053684" cy="1400962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80D23097-9CF2-4362-9D76-C19A4CDC9A12}"/>
              </a:ext>
            </a:extLst>
          </p:cNvPr>
          <p:cNvSpPr txBox="1"/>
          <p:nvPr/>
        </p:nvSpPr>
        <p:spPr>
          <a:xfrm>
            <a:off x="7907523" y="3479047"/>
            <a:ext cx="18749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lectric battery-based </a:t>
            </a:r>
            <a:r>
              <a:rPr kumimoji="0" lang="en-N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utomotive industry</a:t>
            </a:r>
          </a:p>
        </p:txBody>
      </p:sp>
      <p:pic>
        <p:nvPicPr>
          <p:cNvPr id="44" name="Picture 6" descr="House with save the world icons Free Vector">
            <a:extLst>
              <a:ext uri="{FF2B5EF4-FFF2-40B4-BE49-F238E27FC236}">
                <a16:creationId xmlns:a16="http://schemas.microsoft.com/office/drawing/2014/main" id="{26610157-8E35-418D-BF32-190D55C82E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88748" y="1720095"/>
            <a:ext cx="1828800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619CF823-1AA1-4DCC-B4F2-FE09BDD7DAD8}"/>
              </a:ext>
            </a:extLst>
          </p:cNvPr>
          <p:cNvSpPr txBox="1"/>
          <p:nvPr/>
        </p:nvSpPr>
        <p:spPr>
          <a:xfrm>
            <a:off x="6817732" y="4503202"/>
            <a:ext cx="22847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B3E96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Blue Economy</a:t>
            </a:r>
          </a:p>
        </p:txBody>
      </p:sp>
      <p:pic>
        <p:nvPicPr>
          <p:cNvPr id="46" name="Picture 4">
            <a:extLst>
              <a:ext uri="{FF2B5EF4-FFF2-40B4-BE49-F238E27FC236}">
                <a16:creationId xmlns:a16="http://schemas.microsoft.com/office/drawing/2014/main" id="{A614FDC2-203E-4C4A-8DAF-43179BBE69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91621" y="4964867"/>
            <a:ext cx="2103120" cy="1400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05FBBC87-2A8D-4730-9905-5AFA09EDB3F0}"/>
              </a:ext>
            </a:extLst>
          </p:cNvPr>
          <p:cNvSpPr txBox="1"/>
          <p:nvPr/>
        </p:nvSpPr>
        <p:spPr>
          <a:xfrm>
            <a:off x="7678218" y="4989378"/>
            <a:ext cx="4142307" cy="138499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isheries sector and marin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ndcoast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resources (Example: Maluku National Fish Barn/MLIN)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ral reef conservation projects as a natural carbon capturer and maintain ecosystem balance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2DD16AAF-37F5-497A-A561-4A2A137E547F}"/>
              </a:ext>
            </a:extLst>
          </p:cNvPr>
          <p:cNvSpPr txBox="1"/>
          <p:nvPr/>
        </p:nvSpPr>
        <p:spPr>
          <a:xfrm>
            <a:off x="10064528" y="3479047"/>
            <a:ext cx="20772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NZ" sz="15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Energy, </a:t>
            </a:r>
            <a:r>
              <a:rPr kumimoji="0" lang="en-NZ" sz="15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particularly new and renewabl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6CDFCE0F-CC9F-489F-BA06-776056F79F88}"/>
              </a:ext>
            </a:extLst>
          </p:cNvPr>
          <p:cNvSpPr txBox="1"/>
          <p:nvPr/>
        </p:nvSpPr>
        <p:spPr>
          <a:xfrm>
            <a:off x="5896793" y="1313455"/>
            <a:ext cx="64028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BA960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Green Economy</a:t>
            </a:r>
          </a:p>
        </p:txBody>
      </p:sp>
    </p:spTree>
    <p:extLst>
      <p:ext uri="{BB962C8B-B14F-4D97-AF65-F5344CB8AC3E}">
        <p14:creationId xmlns:p14="http://schemas.microsoft.com/office/powerpoint/2010/main" val="20663281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17EBDF-B860-4591-8776-95967A3BF4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6" y="-106009"/>
            <a:ext cx="4435341" cy="1197425"/>
          </a:xfrm>
          <a:prstGeom prst="rect">
            <a:avLst/>
          </a:prstGeom>
        </p:spPr>
      </p:pic>
      <p:sp>
        <p:nvSpPr>
          <p:cNvPr id="125" name="Rectangle 124">
            <a:extLst>
              <a:ext uri="{FF2B5EF4-FFF2-40B4-BE49-F238E27FC236}">
                <a16:creationId xmlns:a16="http://schemas.microsoft.com/office/drawing/2014/main" id="{2E4D4490-5C61-4D83-B06B-C9E6E63B45D8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D217B47-5798-473A-9536-EEE24A2F1018}"/>
              </a:ext>
            </a:extLst>
          </p:cNvPr>
          <p:cNvSpPr txBox="1"/>
          <p:nvPr/>
        </p:nvSpPr>
        <p:spPr>
          <a:xfrm>
            <a:off x="2076740" y="546239"/>
            <a:ext cx="824441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Priority Sectors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spc="-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 Transformation from Primary Sector based to Valued-Added Based (Downstream)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CC8350C-779B-4935-AE86-6433EA3A1847}"/>
              </a:ext>
            </a:extLst>
          </p:cNvPr>
          <p:cNvGrpSpPr/>
          <p:nvPr/>
        </p:nvGrpSpPr>
        <p:grpSpPr>
          <a:xfrm>
            <a:off x="87666" y="1374179"/>
            <a:ext cx="12016669" cy="5301167"/>
            <a:chOff x="175331" y="1020886"/>
            <a:chExt cx="12016669" cy="5301167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76DF196-72F1-49B1-A8FE-56C56BAD0ACC}"/>
                </a:ext>
              </a:extLst>
            </p:cNvPr>
            <p:cNvSpPr txBox="1"/>
            <p:nvPr/>
          </p:nvSpPr>
          <p:spPr>
            <a:xfrm>
              <a:off x="2835756" y="4832622"/>
              <a:ext cx="313649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NZ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newable Energy</a:t>
              </a:r>
              <a:endParaRPr kumimoji="0" lang="en-NZ" sz="2000" b="0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6978CDC-3566-4D67-90C1-55A6DFF4EC5B}"/>
                </a:ext>
              </a:extLst>
            </p:cNvPr>
            <p:cNvSpPr txBox="1"/>
            <p:nvPr/>
          </p:nvSpPr>
          <p:spPr>
            <a:xfrm>
              <a:off x="9531574" y="2027632"/>
              <a:ext cx="222320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NZ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frastructure, Digital Economy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B30E4145-8C9C-49CB-AB88-6588F1E51E7A}"/>
                </a:ext>
              </a:extLst>
            </p:cNvPr>
            <p:cNvSpPr txBox="1"/>
            <p:nvPr/>
          </p:nvSpPr>
          <p:spPr>
            <a:xfrm>
              <a:off x="9550482" y="4664878"/>
              <a:ext cx="2641518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NZ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F81BD">
                      <a:lumMod val="50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ning Industry which will create added value</a:t>
              </a:r>
            </a:p>
          </p:txBody>
        </p:sp>
        <p:pic>
          <p:nvPicPr>
            <p:cNvPr id="21" name="Picture 2" descr="https://i.pinimg.com/originals/51/4f/f5/514ff53d5ea9f7369d79a2d79a245341.jpg">
              <a:extLst>
                <a:ext uri="{FF2B5EF4-FFF2-40B4-BE49-F238E27FC236}">
                  <a16:creationId xmlns:a16="http://schemas.microsoft.com/office/drawing/2014/main" id="{374697BE-F05A-4AD4-A5C5-36D7A8024D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1640" y="1513752"/>
              <a:ext cx="3048002" cy="18288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1" descr="Mining excavator loads coal in a dump truck isometric vector Free Vector">
              <a:extLst>
                <a:ext uri="{FF2B5EF4-FFF2-40B4-BE49-F238E27FC236}">
                  <a16:creationId xmlns:a16="http://schemas.microsoft.com/office/drawing/2014/main" id="{834B4C34-4C22-43C5-9CE5-5B5219FFE5F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hqprint">
              <a:clrChange>
                <a:clrFrom>
                  <a:srgbClr val="D0DCD8"/>
                </a:clrFrom>
                <a:clrTo>
                  <a:srgbClr val="D0DCD8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985" b="18132"/>
            <a:stretch/>
          </p:blipFill>
          <p:spPr bwMode="auto">
            <a:xfrm>
              <a:off x="6347395" y="4036053"/>
              <a:ext cx="3136492" cy="228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6" descr="House with save the world icons Free Vector">
              <a:extLst>
                <a:ext uri="{FF2B5EF4-FFF2-40B4-BE49-F238E27FC236}">
                  <a16:creationId xmlns:a16="http://schemas.microsoft.com/office/drawing/2014/main" id="{BDAA3670-7D80-4346-9FF8-08E5E59CB8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879" y="4036053"/>
              <a:ext cx="2286000" cy="228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C4A9F8A2-B22C-4584-A13F-1E73E5227972}"/>
                </a:ext>
              </a:extLst>
            </p:cNvPr>
            <p:cNvGrpSpPr/>
            <p:nvPr/>
          </p:nvGrpSpPr>
          <p:grpSpPr>
            <a:xfrm>
              <a:off x="175331" y="1020886"/>
              <a:ext cx="6918973" cy="3167523"/>
              <a:chOff x="397006" y="1020886"/>
              <a:chExt cx="6918973" cy="3167523"/>
            </a:xfrm>
          </p:grpSpPr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5B95A54-FDCD-4F2C-93CF-05CDCB3C9520}"/>
                  </a:ext>
                </a:extLst>
              </p:cNvPr>
              <p:cNvSpPr txBox="1"/>
              <p:nvPr/>
            </p:nvSpPr>
            <p:spPr>
              <a:xfrm>
                <a:off x="3047848" y="1156293"/>
                <a:ext cx="3333123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NZ" sz="2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4F81BD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Labor</a:t>
                </a:r>
                <a:r>
                  <a:rPr kumimoji="0" lang="en-NZ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81BD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Intensive Industry that Export Oriented</a:t>
                </a:r>
                <a:endParaRPr kumimoji="0" lang="en-NZ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79646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AB6F4E7C-EDDE-48B0-BD5D-ADF3B20C7282}"/>
                  </a:ext>
                </a:extLst>
              </p:cNvPr>
              <p:cNvSpPr txBox="1"/>
              <p:nvPr/>
            </p:nvSpPr>
            <p:spPr>
              <a:xfrm>
                <a:off x="3763593" y="1867402"/>
                <a:ext cx="261737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F81BD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harmaceutical, Chemical, and Medical Devices Industry </a:t>
                </a:r>
              </a:p>
            </p:txBody>
          </p:sp>
          <p:pic>
            <p:nvPicPr>
              <p:cNvPr id="27" name="Picture 26" descr="Illustrated online doctor on video call app Free Vector">
                <a:extLst>
                  <a:ext uri="{FF2B5EF4-FFF2-40B4-BE49-F238E27FC236}">
                    <a16:creationId xmlns:a16="http://schemas.microsoft.com/office/drawing/2014/main" id="{8B43AA9A-A5EE-49EB-B69C-DBF694F447D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screen">
                <a:clrChange>
                  <a:clrFrom>
                    <a:srgbClr val="F6FBFF"/>
                  </a:clrFrom>
                  <a:clrTo>
                    <a:srgbClr val="F6FB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85648" y="1835624"/>
                <a:ext cx="622525" cy="622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598BD9F6-6FA0-453E-964F-E8109CDDD75B}"/>
                  </a:ext>
                </a:extLst>
              </p:cNvPr>
              <p:cNvSpPr txBox="1"/>
              <p:nvPr/>
            </p:nvSpPr>
            <p:spPr>
              <a:xfrm>
                <a:off x="3763593" y="3357412"/>
                <a:ext cx="3552386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NZ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MS PGothic" panose="020B0600070205080204" pitchFamily="34" charset="-128"/>
                    <a:cs typeface="+mn-cs"/>
                  </a:rPr>
                  <a:t>Electronic Industry,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NZ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MS PGothic" panose="020B0600070205080204" pitchFamily="34" charset="-128"/>
                    <a:cs typeface="+mn-cs"/>
                  </a:rPr>
                  <a:t>Semiconductors, IT &amp; Communication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E2F8C700-8452-4DF3-99E8-E7A7F5280DDB}"/>
                  </a:ext>
                </a:extLst>
              </p:cNvPr>
              <p:cNvSpPr txBox="1"/>
              <p:nvPr/>
            </p:nvSpPr>
            <p:spPr>
              <a:xfrm>
                <a:off x="3763593" y="2735518"/>
                <a:ext cx="333312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NZ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472C4">
                        <a:lumMod val="50000"/>
                      </a:srgbClr>
                    </a:solidFill>
                    <a:effectLst/>
                    <a:uLnTx/>
                    <a:uFillTx/>
                    <a:latin typeface="Arial"/>
                    <a:ea typeface="MS PGothic" panose="020B0600070205080204" pitchFamily="34" charset="-128"/>
                    <a:cs typeface="+mn-cs"/>
                  </a:rPr>
                  <a:t>Automotive Industry</a:t>
                </a:r>
              </a:p>
            </p:txBody>
          </p:sp>
          <p:pic>
            <p:nvPicPr>
              <p:cNvPr id="30" name="Picture 29" descr="A screenshot of a cell phone&#10;&#10;Description automatically generated">
                <a:extLst>
                  <a:ext uri="{FF2B5EF4-FFF2-40B4-BE49-F238E27FC236}">
                    <a16:creationId xmlns:a16="http://schemas.microsoft.com/office/drawing/2014/main" id="{1A4C888C-472A-457B-90F5-DB9B1B44421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69801" t="3054" r="15407" b="64777"/>
              <a:stretch/>
            </p:blipFill>
            <p:spPr>
              <a:xfrm>
                <a:off x="3057431" y="2524992"/>
                <a:ext cx="678958" cy="621792"/>
              </a:xfrm>
              <a:prstGeom prst="rect">
                <a:avLst/>
              </a:prstGeom>
            </p:spPr>
          </p:pic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80DDB253-3B21-4B26-B61B-27C9574A0A1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11241" t="5514" r="14170" b="38713"/>
              <a:stretch/>
            </p:blipFill>
            <p:spPr>
              <a:xfrm>
                <a:off x="3011928" y="3213627"/>
                <a:ext cx="769964" cy="621792"/>
              </a:xfrm>
              <a:prstGeom prst="rect">
                <a:avLst/>
              </a:prstGeom>
            </p:spPr>
          </p:pic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4A0A48B5-0C35-4707-822F-D530A43AD7F7}"/>
                  </a:ext>
                </a:extLst>
              </p:cNvPr>
              <p:cNvGrpSpPr/>
              <p:nvPr/>
            </p:nvGrpSpPr>
            <p:grpSpPr>
              <a:xfrm>
                <a:off x="397006" y="1020886"/>
                <a:ext cx="2677336" cy="2677336"/>
                <a:chOff x="-371112" y="1421043"/>
                <a:chExt cx="2677336" cy="2677336"/>
              </a:xfrm>
            </p:grpSpPr>
            <p:pic>
              <p:nvPicPr>
                <p:cNvPr id="34" name="Picture 8" descr="See the source image">
                  <a:extLst>
                    <a:ext uri="{FF2B5EF4-FFF2-40B4-BE49-F238E27FC236}">
                      <a16:creationId xmlns:a16="http://schemas.microsoft.com/office/drawing/2014/main" id="{0494B1AC-9383-4A64-91A1-70E8BC0EAD5F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371112" y="1421043"/>
                  <a:ext cx="2677336" cy="267733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991414FC-818E-4CE0-B6D3-11648A4EBD5C}"/>
                    </a:ext>
                  </a:extLst>
                </p:cNvPr>
                <p:cNvSpPr/>
                <p:nvPr/>
              </p:nvSpPr>
              <p:spPr>
                <a:xfrm>
                  <a:off x="309636" y="2071592"/>
                  <a:ext cx="1371600" cy="13716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pic>
              <p:nvPicPr>
                <p:cNvPr id="36" name="Picture 35" descr="A screenshot of a cell phone&#10;&#10;Description automatically generated">
                  <a:extLst>
                    <a:ext uri="{FF2B5EF4-FFF2-40B4-BE49-F238E27FC236}">
                      <a16:creationId xmlns:a16="http://schemas.microsoft.com/office/drawing/2014/main" id="{4FC80162-9442-4495-B39A-1067A99CAF6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10" cstate="screen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l="1697" t="6651" r="83511" b="65793"/>
                <a:stretch/>
              </p:blipFill>
              <p:spPr>
                <a:xfrm>
                  <a:off x="197399" y="2206934"/>
                  <a:ext cx="1520332" cy="1192689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203891990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A8F2A9C-B461-1A75-73CF-DF5FF484E020}"/>
              </a:ext>
            </a:extLst>
          </p:cNvPr>
          <p:cNvSpPr/>
          <p:nvPr/>
        </p:nvSpPr>
        <p:spPr>
          <a:xfrm>
            <a:off x="398206" y="2507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17EBDF-B860-4591-8776-95967A3BF4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6" y="-106009"/>
            <a:ext cx="4435341" cy="1197425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C202C9D-2AEF-4C4A-BE9E-586AB7C55FDE}"/>
              </a:ext>
            </a:extLst>
          </p:cNvPr>
          <p:cNvSpPr txBox="1"/>
          <p:nvPr/>
        </p:nvSpPr>
        <p:spPr>
          <a:xfrm>
            <a:off x="3012153" y="584616"/>
            <a:ext cx="777573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spc="-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onesia encourages the development of Downstrea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spc="-5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ckel Industry to become the global player of BEV industry</a:t>
            </a:r>
          </a:p>
        </p:txBody>
      </p:sp>
      <p:pic>
        <p:nvPicPr>
          <p:cNvPr id="38" name="Graphic 37">
            <a:extLst>
              <a:ext uri="{FF2B5EF4-FFF2-40B4-BE49-F238E27FC236}">
                <a16:creationId xmlns:a16="http://schemas.microsoft.com/office/drawing/2014/main" id="{8C240681-DC8A-4772-AAD1-2422F4071E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62378" y="1370057"/>
            <a:ext cx="3745333" cy="2554955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9D470D38-AC92-4E55-81FE-76FE6340825E}"/>
              </a:ext>
            </a:extLst>
          </p:cNvPr>
          <p:cNvSpPr txBox="1"/>
          <p:nvPr/>
        </p:nvSpPr>
        <p:spPr>
          <a:xfrm>
            <a:off x="295353" y="1766244"/>
            <a:ext cx="2767025" cy="584775"/>
          </a:xfrm>
          <a:prstGeom prst="rect">
            <a:avLst/>
          </a:prstGeom>
          <a:solidFill>
            <a:srgbClr val="E7E6E6">
              <a:lumMod val="20000"/>
              <a:lumOff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lectric Car Components Based on Cost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9671A76-1E0A-4623-B82C-2CFFD116D280}"/>
              </a:ext>
            </a:extLst>
          </p:cNvPr>
          <p:cNvSpPr txBox="1"/>
          <p:nvPr/>
        </p:nvSpPr>
        <p:spPr>
          <a:xfrm>
            <a:off x="295353" y="2416195"/>
            <a:ext cx="28615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5% </a:t>
            </a:r>
            <a:r>
              <a:rPr kumimoji="0" lang="en-US" sz="20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terry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5% Electric Motor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0% Other components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04DFAC7F-A94F-48D9-9B44-1D5AAE5ACF3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53687" y="4186890"/>
            <a:ext cx="1188165" cy="2282774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22DA0121-F9DD-4ECA-B5F8-368DD47A71BB}"/>
              </a:ext>
            </a:extLst>
          </p:cNvPr>
          <p:cNvSpPr txBox="1"/>
          <p:nvPr/>
        </p:nvSpPr>
        <p:spPr>
          <a:xfrm>
            <a:off x="2107527" y="4200574"/>
            <a:ext cx="3745333" cy="584775"/>
          </a:xfrm>
          <a:prstGeom prst="rect">
            <a:avLst/>
          </a:prstGeom>
          <a:solidFill>
            <a:srgbClr val="E7E6E6">
              <a:lumMod val="20000"/>
              <a:lumOff val="80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ttery components in widely used electric car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838EC15-511A-4199-A52C-509AB42B263C}"/>
              </a:ext>
            </a:extLst>
          </p:cNvPr>
          <p:cNvSpPr txBox="1"/>
          <p:nvPr/>
        </p:nvSpPr>
        <p:spPr>
          <a:xfrm>
            <a:off x="2107527" y="4790401"/>
            <a:ext cx="25031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ickel-Cobalt-</a:t>
            </a:r>
            <a:r>
              <a:rPr kumimoji="0" lang="en-US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luminium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(NCA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E7E6E6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0% Nick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5% Cobalt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% Aluminum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326D97E-9B4A-4BD9-B94A-3D5205C538CC}"/>
              </a:ext>
            </a:extLst>
          </p:cNvPr>
          <p:cNvSpPr txBox="1"/>
          <p:nvPr/>
        </p:nvSpPr>
        <p:spPr>
          <a:xfrm>
            <a:off x="4118006" y="4817000"/>
            <a:ext cx="25031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ickel-Mangan-Cobalt (NMC811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0% Nickel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0% Manga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0% Cobalt</a:t>
            </a:r>
          </a:p>
        </p:txBody>
      </p:sp>
      <p:sp>
        <p:nvSpPr>
          <p:cNvPr id="45" name="object 5">
            <a:extLst>
              <a:ext uri="{FF2B5EF4-FFF2-40B4-BE49-F238E27FC236}">
                <a16:creationId xmlns:a16="http://schemas.microsoft.com/office/drawing/2014/main" id="{7E87C9F5-8F6C-40E7-A314-C8E55FAC3ADD}"/>
              </a:ext>
            </a:extLst>
          </p:cNvPr>
          <p:cNvSpPr txBox="1"/>
          <p:nvPr/>
        </p:nvSpPr>
        <p:spPr>
          <a:xfrm>
            <a:off x="7180474" y="5555664"/>
            <a:ext cx="5011526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onesia is the </a:t>
            </a:r>
            <a:r>
              <a:rPr kumimoji="0" lang="en-US" alt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world’s largest nickel ore reserves</a:t>
            </a:r>
            <a:r>
              <a:rPr kumimoji="0" lang="en-US" alt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accounting for 23.7% of the world's reserves.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B3629F46-B6EF-4715-8F34-6A3C3290CF7E}"/>
              </a:ext>
            </a:extLst>
          </p:cNvPr>
          <p:cNvSpPr txBox="1"/>
          <p:nvPr/>
        </p:nvSpPr>
        <p:spPr>
          <a:xfrm>
            <a:off x="7303501" y="1680735"/>
            <a:ext cx="3944798" cy="338554"/>
          </a:xfrm>
          <a:prstGeom prst="rect">
            <a:avLst/>
          </a:prstGeom>
          <a:solidFill>
            <a:srgbClr val="E7E6E6">
              <a:lumMod val="20000"/>
              <a:lumOff val="80000"/>
            </a:srgbClr>
          </a:solidFill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World Nickel Ore Reserve Comparison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3AF266C3-80C7-4A01-BB2E-8696238DF417}"/>
              </a:ext>
            </a:extLst>
          </p:cNvPr>
          <p:cNvSpPr/>
          <p:nvPr/>
        </p:nvSpPr>
        <p:spPr>
          <a:xfrm>
            <a:off x="295353" y="1334225"/>
            <a:ext cx="6682602" cy="5142775"/>
          </a:xfrm>
          <a:prstGeom prst="rect">
            <a:avLst/>
          </a:prstGeom>
          <a:noFill/>
          <a:ln w="38100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F9BC3840-0875-407F-AE94-63CABE9A5A30}"/>
              </a:ext>
            </a:extLst>
          </p:cNvPr>
          <p:cNvCxnSpPr/>
          <p:nvPr/>
        </p:nvCxnSpPr>
        <p:spPr>
          <a:xfrm>
            <a:off x="295353" y="4060255"/>
            <a:ext cx="6682602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CEA3DD7D-B6C5-4C3D-8AB5-8AE04C223583}"/>
              </a:ext>
            </a:extLst>
          </p:cNvPr>
          <p:cNvSpPr/>
          <p:nvPr/>
        </p:nvSpPr>
        <p:spPr>
          <a:xfrm>
            <a:off x="0" y="6668559"/>
            <a:ext cx="5510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ckel Institute, Statista, Indonesian Ministry of Energy and Mineral Resources</a:t>
            </a:r>
          </a:p>
        </p:txBody>
      </p:sp>
      <p:graphicFrame>
        <p:nvGraphicFramePr>
          <p:cNvPr id="50" name="Chart 49">
            <a:extLst>
              <a:ext uri="{FF2B5EF4-FFF2-40B4-BE49-F238E27FC236}">
                <a16:creationId xmlns:a16="http://schemas.microsoft.com/office/drawing/2014/main" id="{1D4BD0AF-9006-49FC-BF8F-005CA419EB00}"/>
              </a:ext>
            </a:extLst>
          </p:cNvPr>
          <p:cNvGraphicFramePr/>
          <p:nvPr/>
        </p:nvGraphicFramePr>
        <p:xfrm>
          <a:off x="6378766" y="2294609"/>
          <a:ext cx="6577070" cy="36075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406648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">
            <a:extLst>
              <a:ext uri="{FF2B5EF4-FFF2-40B4-BE49-F238E27FC236}">
                <a16:creationId xmlns:a16="http://schemas.microsoft.com/office/drawing/2014/main" id="{C350FB38-4DE4-9EBC-70A9-C303E305B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27600" y="1488173"/>
            <a:ext cx="1219200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Montserrat" pitchFamily="2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ontserrat" pitchFamily="2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Montserrat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849D736-8FF1-5201-2D58-87C74C5B7507}"/>
              </a:ext>
            </a:extLst>
          </p:cNvPr>
          <p:cNvSpPr txBox="1"/>
          <p:nvPr/>
        </p:nvSpPr>
        <p:spPr>
          <a:xfrm>
            <a:off x="338975" y="6191554"/>
            <a:ext cx="2579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Indonesia 2045, </a:t>
            </a:r>
            <a:r>
              <a:rPr lang="en-US" sz="1200" dirty="0" err="1"/>
              <a:t>Bappenas</a:t>
            </a:r>
            <a:endParaRPr lang="en-ID" sz="1200" dirty="0"/>
          </a:p>
        </p:txBody>
      </p:sp>
      <p:sp>
        <p:nvSpPr>
          <p:cNvPr id="34" name="TextBox 72">
            <a:extLst>
              <a:ext uri="{FF2B5EF4-FFF2-40B4-BE49-F238E27FC236}">
                <a16:creationId xmlns:a16="http://schemas.microsoft.com/office/drawing/2014/main" id="{8375A612-09E8-46C8-E074-9BBFD7CBF27F}"/>
              </a:ext>
            </a:extLst>
          </p:cNvPr>
          <p:cNvSpPr txBox="1"/>
          <p:nvPr/>
        </p:nvSpPr>
        <p:spPr>
          <a:xfrm>
            <a:off x="1956474" y="666446"/>
            <a:ext cx="8845862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buClrTx/>
            </a:pPr>
            <a:r>
              <a:rPr lang="en-US" sz="2400" b="1" spc="-50" dirty="0">
                <a:solidFill>
                  <a:srgbClr val="001CD4"/>
                </a:solidFill>
                <a:ea typeface="Tahoma"/>
                <a:cs typeface="Tahoma"/>
              </a:rPr>
              <a:t>Downstream as an Instrument to be a Developed Country</a:t>
            </a:r>
            <a:endParaRPr lang="nn-NO" sz="2400" b="1" spc="-50" dirty="0">
              <a:solidFill>
                <a:srgbClr val="001CD4"/>
              </a:solidFill>
              <a:ea typeface="Tahoma"/>
              <a:cs typeface="Tahom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67239B-B5A9-2C41-1234-8C9D89A9037C}"/>
              </a:ext>
            </a:extLst>
          </p:cNvPr>
          <p:cNvSpPr txBox="1"/>
          <p:nvPr/>
        </p:nvSpPr>
        <p:spPr>
          <a:xfrm>
            <a:off x="201196" y="5390869"/>
            <a:ext cx="11795504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 dirty="0" err="1"/>
              <a:t>Downstreaming</a:t>
            </a:r>
            <a:r>
              <a:rPr lang="en-US" sz="2000" dirty="0"/>
              <a:t> is an effort to develop a sustainable industry. Since massive industrial </a:t>
            </a:r>
            <a:r>
              <a:rPr lang="en-US" sz="2000" dirty="0" err="1"/>
              <a:t>downstreaming</a:t>
            </a:r>
            <a:r>
              <a:rPr lang="en-US" sz="2000" dirty="0"/>
              <a:t> process begin, the growth of added value has a significant impact on job number and state income.</a:t>
            </a:r>
            <a:endParaRPr lang="en-ID" sz="2000" dirty="0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8EF86522-B06A-796D-4209-022D227F69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65" y="1479297"/>
            <a:ext cx="11784070" cy="35819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8F31E3B-BE25-B472-384A-6148FAF7DDE6}"/>
              </a:ext>
            </a:extLst>
          </p:cNvPr>
          <p:cNvSpPr/>
          <p:nvPr/>
        </p:nvSpPr>
        <p:spPr>
          <a:xfrm>
            <a:off x="591015" y="1612927"/>
            <a:ext cx="2977376" cy="104315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trong Industrial Growth Foundation</a:t>
            </a:r>
          </a:p>
          <a:p>
            <a:pPr algn="ctr"/>
            <a:r>
              <a:rPr lang="en-ID" dirty="0"/>
              <a:t>(2020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18CB50B-961F-5EFB-138F-6DD44FBCAF88}"/>
              </a:ext>
            </a:extLst>
          </p:cNvPr>
          <p:cNvSpPr/>
          <p:nvPr/>
        </p:nvSpPr>
        <p:spPr>
          <a:xfrm>
            <a:off x="201196" y="2815485"/>
            <a:ext cx="3115155" cy="104315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iversification and Increase of Added Value</a:t>
            </a:r>
          </a:p>
          <a:p>
            <a:pPr algn="ctr"/>
            <a:r>
              <a:rPr lang="en-ID" dirty="0"/>
              <a:t>(2025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732CD5-8156-C701-40AE-2DE1D129E746}"/>
              </a:ext>
            </a:extLst>
          </p:cNvPr>
          <p:cNvSpPr/>
          <p:nvPr/>
        </p:nvSpPr>
        <p:spPr>
          <a:xfrm>
            <a:off x="398896" y="4083276"/>
            <a:ext cx="3115155" cy="104315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Advanced Industrial Base</a:t>
            </a:r>
          </a:p>
          <a:p>
            <a:pPr algn="ctr"/>
            <a:r>
              <a:rPr lang="en-ID" dirty="0"/>
              <a:t>(2030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ABB9515-7EDD-B1E7-FD34-4693F1EF57CC}"/>
              </a:ext>
            </a:extLst>
          </p:cNvPr>
          <p:cNvSpPr/>
          <p:nvPr/>
        </p:nvSpPr>
        <p:spPr>
          <a:xfrm>
            <a:off x="8872880" y="1548303"/>
            <a:ext cx="3115155" cy="104315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novation and Global Role</a:t>
            </a:r>
          </a:p>
          <a:p>
            <a:pPr algn="ctr"/>
            <a:r>
              <a:rPr lang="en-ID" dirty="0"/>
              <a:t>(2035)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70AFB0-66BA-CDE0-4A8C-CA7E9260DE02}"/>
              </a:ext>
            </a:extLst>
          </p:cNvPr>
          <p:cNvSpPr/>
          <p:nvPr/>
        </p:nvSpPr>
        <p:spPr>
          <a:xfrm>
            <a:off x="9323291" y="2703471"/>
            <a:ext cx="2664744" cy="104315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Industrial Adaptability</a:t>
            </a:r>
          </a:p>
          <a:p>
            <a:pPr algn="ctr"/>
            <a:r>
              <a:rPr lang="en-ID" dirty="0"/>
              <a:t>(2040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3449AC-1465-4978-5D9A-5B5BD6A3874B}"/>
              </a:ext>
            </a:extLst>
          </p:cNvPr>
          <p:cNvSpPr/>
          <p:nvPr/>
        </p:nvSpPr>
        <p:spPr>
          <a:xfrm>
            <a:off x="8881545" y="3858639"/>
            <a:ext cx="3115155" cy="104315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Sustainable Industry</a:t>
            </a:r>
          </a:p>
          <a:p>
            <a:pPr algn="ctr"/>
            <a:r>
              <a:rPr lang="en-ID" dirty="0"/>
              <a:t>(2045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11078B8-E961-E25B-D9D9-BF2EFEA6B4EF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BBC4A4B-B7CD-D6C1-2B96-A1378AEDB37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E66FC5DA-8560-7980-F9BA-2F56378705A8}"/>
              </a:ext>
            </a:extLst>
          </p:cNvPr>
          <p:cNvSpPr/>
          <p:nvPr/>
        </p:nvSpPr>
        <p:spPr>
          <a:xfrm>
            <a:off x="3701586" y="1998776"/>
            <a:ext cx="1092819" cy="521577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DP</a:t>
            </a:r>
            <a:endParaRPr lang="en-ID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CE364C-20FE-3374-E92F-6D24EDAB300F}"/>
              </a:ext>
            </a:extLst>
          </p:cNvPr>
          <p:cNvSpPr/>
          <p:nvPr/>
        </p:nvSpPr>
        <p:spPr>
          <a:xfrm>
            <a:off x="3514051" y="3188592"/>
            <a:ext cx="1092819" cy="521577"/>
          </a:xfrm>
          <a:prstGeom prst="rect">
            <a:avLst/>
          </a:prstGeom>
          <a:solidFill>
            <a:srgbClr val="F36F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DP</a:t>
            </a:r>
            <a:endParaRPr lang="en-ID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100944A-FD04-B16D-CE1D-B6D4C037B246}"/>
              </a:ext>
            </a:extLst>
          </p:cNvPr>
          <p:cNvSpPr/>
          <p:nvPr/>
        </p:nvSpPr>
        <p:spPr>
          <a:xfrm>
            <a:off x="3568391" y="4358534"/>
            <a:ext cx="1092819" cy="521577"/>
          </a:xfrm>
          <a:prstGeom prst="rect">
            <a:avLst/>
          </a:prstGeom>
          <a:solidFill>
            <a:srgbClr val="EA9C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DP</a:t>
            </a:r>
            <a:endParaRPr lang="en-ID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1236501-EBAF-1539-398F-2C20819FD8E5}"/>
              </a:ext>
            </a:extLst>
          </p:cNvPr>
          <p:cNvSpPr/>
          <p:nvPr/>
        </p:nvSpPr>
        <p:spPr>
          <a:xfrm>
            <a:off x="7441582" y="2009111"/>
            <a:ext cx="1092819" cy="521577"/>
          </a:xfrm>
          <a:prstGeom prst="rect">
            <a:avLst/>
          </a:prstGeom>
          <a:solidFill>
            <a:srgbClr val="68A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DP</a:t>
            </a:r>
            <a:endParaRPr lang="en-ID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2382AEB-C995-891F-E238-56C6D9E071BF}"/>
              </a:ext>
            </a:extLst>
          </p:cNvPr>
          <p:cNvSpPr/>
          <p:nvPr/>
        </p:nvSpPr>
        <p:spPr>
          <a:xfrm>
            <a:off x="8168739" y="3204842"/>
            <a:ext cx="1092819" cy="521577"/>
          </a:xfrm>
          <a:prstGeom prst="rect">
            <a:avLst/>
          </a:prstGeom>
          <a:solidFill>
            <a:srgbClr val="95B7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DP</a:t>
            </a:r>
            <a:endParaRPr lang="en-ID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67A60C-5392-A709-8850-894CD7BA011C}"/>
              </a:ext>
            </a:extLst>
          </p:cNvPr>
          <p:cNvSpPr/>
          <p:nvPr/>
        </p:nvSpPr>
        <p:spPr>
          <a:xfrm>
            <a:off x="7541943" y="4325231"/>
            <a:ext cx="1092819" cy="521577"/>
          </a:xfrm>
          <a:prstGeom prst="rect">
            <a:avLst/>
          </a:prstGeom>
          <a:solidFill>
            <a:srgbClr val="0F4F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GDP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33046199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17EBDF-B860-4591-8776-95967A3BF4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6" y="-106009"/>
            <a:ext cx="4435341" cy="1197425"/>
          </a:xfrm>
          <a:prstGeom prst="rect">
            <a:avLst/>
          </a:prstGeom>
        </p:spPr>
      </p:pic>
      <p:sp>
        <p:nvSpPr>
          <p:cNvPr id="19" name="TextBox 15">
            <a:extLst>
              <a:ext uri="{FF2B5EF4-FFF2-40B4-BE49-F238E27FC236}">
                <a16:creationId xmlns:a16="http://schemas.microsoft.com/office/drawing/2014/main" id="{BA62CAD0-186E-4226-887D-F575C4DDE966}"/>
              </a:ext>
            </a:extLst>
          </p:cNvPr>
          <p:cNvSpPr txBox="1"/>
          <p:nvPr/>
        </p:nvSpPr>
        <p:spPr>
          <a:xfrm>
            <a:off x="6039098" y="5547995"/>
            <a:ext cx="6426428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400" b="1" i="0" u="sng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bbreviati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PP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Destinas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riwisata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ioritas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0" lang="en-ID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riority Tourism Destina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SPN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= Kawasan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rategis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ariwisata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Nasional/</a:t>
            </a:r>
            <a:r>
              <a:rPr kumimoji="0" lang="en-ID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tional Tourism Strategic Are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EK 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= Kawasan Ekonomi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husus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0" lang="en-ID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pecial Economic Zo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K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= Kawasan </a:t>
            </a:r>
            <a:r>
              <a:rPr kumimoji="0" lang="en-ID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ustri</a:t>
            </a:r>
            <a:r>
              <a:rPr kumimoji="0" lang="en-ID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kumimoji="0" lang="en-ID" sz="1200" b="0" i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ustrial Park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EC4A93E-5E89-4D9B-AAB6-D52FC270A405}"/>
              </a:ext>
            </a:extLst>
          </p:cNvPr>
          <p:cNvGrpSpPr/>
          <p:nvPr/>
        </p:nvGrpSpPr>
        <p:grpSpPr>
          <a:xfrm>
            <a:off x="573564" y="465490"/>
            <a:ext cx="11891962" cy="5374609"/>
            <a:chOff x="212447" y="590535"/>
            <a:chExt cx="11891962" cy="5374609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3FFFA9CB-BC5D-4DE0-A957-9145540644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2447" y="590535"/>
              <a:ext cx="11891962" cy="49296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8EFCF13-52C9-45E9-B3D2-18B32FA989BC}"/>
                </a:ext>
              </a:extLst>
            </p:cNvPr>
            <p:cNvGrpSpPr/>
            <p:nvPr/>
          </p:nvGrpSpPr>
          <p:grpSpPr>
            <a:xfrm>
              <a:off x="333750" y="1169093"/>
              <a:ext cx="11394619" cy="4796051"/>
              <a:chOff x="333750" y="1169093"/>
              <a:chExt cx="11394619" cy="4796051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5242C221-3392-4050-ADE8-DF9A05E66D17}"/>
                  </a:ext>
                </a:extLst>
              </p:cNvPr>
              <p:cNvSpPr/>
              <p:nvPr/>
            </p:nvSpPr>
            <p:spPr>
              <a:xfrm>
                <a:off x="4101032" y="4253952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8D1FA209-509E-4590-B0B2-F897550E0AC2}"/>
                  </a:ext>
                </a:extLst>
              </p:cNvPr>
              <p:cNvSpPr/>
              <p:nvPr/>
            </p:nvSpPr>
            <p:spPr>
              <a:xfrm>
                <a:off x="5963007" y="4468518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2</a:t>
                </a: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5C968348-6FE3-4722-A111-DDBAB7C1F99E}"/>
                  </a:ext>
                </a:extLst>
              </p:cNvPr>
              <p:cNvSpPr/>
              <p:nvPr/>
            </p:nvSpPr>
            <p:spPr>
              <a:xfrm>
                <a:off x="6641782" y="4468517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3</a:t>
                </a: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6FE2CEC-E1D9-4339-B1FC-FBC8C96FB0E3}"/>
                  </a:ext>
                </a:extLst>
              </p:cNvPr>
              <p:cNvSpPr/>
              <p:nvPr/>
            </p:nvSpPr>
            <p:spPr>
              <a:xfrm>
                <a:off x="7309295" y="3843495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4</a:t>
                </a: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F6FFAB7F-DFBB-42F5-BB18-2529AAA1417E}"/>
                  </a:ext>
                </a:extLst>
              </p:cNvPr>
              <p:cNvSpPr/>
              <p:nvPr/>
            </p:nvSpPr>
            <p:spPr>
              <a:xfrm>
                <a:off x="7552261" y="2063783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5</a:t>
                </a: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A677F257-9249-4CA3-AF41-FD634C22A1FE}"/>
                  </a:ext>
                </a:extLst>
              </p:cNvPr>
              <p:cNvSpPr/>
              <p:nvPr/>
            </p:nvSpPr>
            <p:spPr>
              <a:xfrm>
                <a:off x="8985292" y="2760941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6</a:t>
                </a: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04CC41A-5CA9-48E2-8179-9A535081E5E3}"/>
                  </a:ext>
                </a:extLst>
              </p:cNvPr>
              <p:cNvSpPr/>
              <p:nvPr/>
            </p:nvSpPr>
            <p:spPr>
              <a:xfrm>
                <a:off x="1056675" y="1880841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7</a:t>
                </a: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23FEEDBF-0237-4CAD-B831-2667AA102113}"/>
                  </a:ext>
                </a:extLst>
              </p:cNvPr>
              <p:cNvSpPr/>
              <p:nvPr/>
            </p:nvSpPr>
            <p:spPr>
              <a:xfrm>
                <a:off x="3048790" y="3071098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8</a:t>
                </a: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A25ED84A-67D7-4D2F-BE03-0E554A787A24}"/>
                  </a:ext>
                </a:extLst>
              </p:cNvPr>
              <p:cNvSpPr/>
              <p:nvPr/>
            </p:nvSpPr>
            <p:spPr>
              <a:xfrm>
                <a:off x="4738199" y="4580980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9</a:t>
                </a:r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3F6676C5-7741-4A64-9EE6-4940CA883195}"/>
                  </a:ext>
                </a:extLst>
              </p:cNvPr>
              <p:cNvGrpSpPr/>
              <p:nvPr/>
            </p:nvGrpSpPr>
            <p:grpSpPr>
              <a:xfrm>
                <a:off x="8471781" y="1913663"/>
                <a:ext cx="524125" cy="278836"/>
                <a:chOff x="7090537" y="4373000"/>
                <a:chExt cx="403516" cy="207951"/>
              </a:xfrm>
            </p:grpSpPr>
            <p:sp>
              <p:nvSpPr>
                <p:cNvPr id="210" name="Oval 209">
                  <a:extLst>
                    <a:ext uri="{FF2B5EF4-FFF2-40B4-BE49-F238E27FC236}">
                      <a16:creationId xmlns:a16="http://schemas.microsoft.com/office/drawing/2014/main" id="{219D6A82-671B-49F2-940F-04BA10D24EA3}"/>
                    </a:ext>
                  </a:extLst>
                </p:cNvPr>
                <p:cNvSpPr/>
                <p:nvPr/>
              </p:nvSpPr>
              <p:spPr>
                <a:xfrm>
                  <a:off x="7179511" y="4373000"/>
                  <a:ext cx="204777" cy="207951"/>
                </a:xfrm>
                <a:prstGeom prst="ellipse">
                  <a:avLst/>
                </a:prstGeom>
                <a:solidFill>
                  <a:schemeClr val="accent4">
                    <a:lumMod val="5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11" name="TextBox 200">
                  <a:extLst>
                    <a:ext uri="{FF2B5EF4-FFF2-40B4-BE49-F238E27FC236}">
                      <a16:creationId xmlns:a16="http://schemas.microsoft.com/office/drawing/2014/main" id="{BAE733F9-C625-4BEF-B661-0BE22B8D93B6}"/>
                    </a:ext>
                  </a:extLst>
                </p:cNvPr>
                <p:cNvSpPr txBox="1"/>
                <p:nvPr/>
              </p:nvSpPr>
              <p:spPr>
                <a:xfrm>
                  <a:off x="7090537" y="4382875"/>
                  <a:ext cx="403516" cy="183627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0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B2F4131B-52F2-4CBD-AC9C-37C0AA6CCD46}"/>
                  </a:ext>
                </a:extLst>
              </p:cNvPr>
              <p:cNvGrpSpPr/>
              <p:nvPr/>
            </p:nvGrpSpPr>
            <p:grpSpPr>
              <a:xfrm>
                <a:off x="8608977" y="3501418"/>
                <a:ext cx="524125" cy="278836"/>
                <a:chOff x="7082351" y="4373000"/>
                <a:chExt cx="403516" cy="207951"/>
              </a:xfrm>
            </p:grpSpPr>
            <p:sp>
              <p:nvSpPr>
                <p:cNvPr id="208" name="Oval 207">
                  <a:extLst>
                    <a:ext uri="{FF2B5EF4-FFF2-40B4-BE49-F238E27FC236}">
                      <a16:creationId xmlns:a16="http://schemas.microsoft.com/office/drawing/2014/main" id="{B87AA0DA-F266-43A5-BBA3-1E6A4D9E4513}"/>
                    </a:ext>
                  </a:extLst>
                </p:cNvPr>
                <p:cNvSpPr/>
                <p:nvPr/>
              </p:nvSpPr>
              <p:spPr>
                <a:xfrm>
                  <a:off x="7179511" y="4373000"/>
                  <a:ext cx="204777" cy="207951"/>
                </a:xfrm>
                <a:prstGeom prst="ellipse">
                  <a:avLst/>
                </a:prstGeom>
                <a:solidFill>
                  <a:schemeClr val="accent4">
                    <a:lumMod val="5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9" name="TextBox 198">
                  <a:extLst>
                    <a:ext uri="{FF2B5EF4-FFF2-40B4-BE49-F238E27FC236}">
                      <a16:creationId xmlns:a16="http://schemas.microsoft.com/office/drawing/2014/main" id="{E40246B4-41E8-4739-AD4E-92D82EE506B9}"/>
                    </a:ext>
                  </a:extLst>
                </p:cNvPr>
                <p:cNvSpPr txBox="1"/>
                <p:nvPr/>
              </p:nvSpPr>
              <p:spPr>
                <a:xfrm>
                  <a:off x="7082351" y="4390805"/>
                  <a:ext cx="403516" cy="18362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1</a:t>
                  </a:r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0CBF3E49-4FF1-44FC-B8D1-D1DA10432F2A}"/>
                  </a:ext>
                </a:extLst>
              </p:cNvPr>
              <p:cNvGrpSpPr/>
              <p:nvPr/>
            </p:nvGrpSpPr>
            <p:grpSpPr>
              <a:xfrm>
                <a:off x="2642844" y="4191534"/>
                <a:ext cx="524125" cy="278836"/>
                <a:chOff x="7074165" y="4373000"/>
                <a:chExt cx="403516" cy="207951"/>
              </a:xfrm>
            </p:grpSpPr>
            <p:sp>
              <p:nvSpPr>
                <p:cNvPr id="206" name="Oval 205">
                  <a:extLst>
                    <a:ext uri="{FF2B5EF4-FFF2-40B4-BE49-F238E27FC236}">
                      <a16:creationId xmlns:a16="http://schemas.microsoft.com/office/drawing/2014/main" id="{91F4B99E-D9ED-4FD3-8687-589EC5C00110}"/>
                    </a:ext>
                  </a:extLst>
                </p:cNvPr>
                <p:cNvSpPr/>
                <p:nvPr/>
              </p:nvSpPr>
              <p:spPr>
                <a:xfrm>
                  <a:off x="7179511" y="4373000"/>
                  <a:ext cx="204777" cy="207951"/>
                </a:xfrm>
                <a:prstGeom prst="ellipse">
                  <a:avLst/>
                </a:prstGeom>
                <a:solidFill>
                  <a:schemeClr val="accent4">
                    <a:lumMod val="5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7" name="TextBox 196">
                  <a:extLst>
                    <a:ext uri="{FF2B5EF4-FFF2-40B4-BE49-F238E27FC236}">
                      <a16:creationId xmlns:a16="http://schemas.microsoft.com/office/drawing/2014/main" id="{2E8FC040-D3D6-4215-90C7-184446C898FB}"/>
                    </a:ext>
                  </a:extLst>
                </p:cNvPr>
                <p:cNvSpPr txBox="1"/>
                <p:nvPr/>
              </p:nvSpPr>
              <p:spPr>
                <a:xfrm>
                  <a:off x="7074165" y="4390805"/>
                  <a:ext cx="403516" cy="183628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2</a:t>
                  </a:r>
                </a:p>
              </p:txBody>
            </p:sp>
          </p:grp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4BFC610-5FEC-4835-94A3-0257A423C1CE}"/>
                  </a:ext>
                </a:extLst>
              </p:cNvPr>
              <p:cNvSpPr txBox="1"/>
              <p:nvPr/>
            </p:nvSpPr>
            <p:spPr>
              <a:xfrm>
                <a:off x="3734858" y="4047153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Borobudur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9406623B-C473-4B43-92F9-931ED385984D}"/>
                  </a:ext>
                </a:extLst>
              </p:cNvPr>
              <p:cNvSpPr txBox="1"/>
              <p:nvPr/>
            </p:nvSpPr>
            <p:spPr>
              <a:xfrm>
                <a:off x="5974147" y="4725732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Lombok-</a:t>
                </a:r>
                <a:r>
                  <a:rPr kumimoji="0" lang="en-ID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andalika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8511AC02-4607-4D5E-972B-629537E2AA8A}"/>
                  </a:ext>
                </a:extLst>
              </p:cNvPr>
              <p:cNvSpPr txBox="1"/>
              <p:nvPr/>
            </p:nvSpPr>
            <p:spPr>
              <a:xfrm>
                <a:off x="6779138" y="4330944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Labuan Bajo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08BF512E-2D0F-4FFC-819B-1B24080483FD}"/>
                  </a:ext>
                </a:extLst>
              </p:cNvPr>
              <p:cNvSpPr txBox="1"/>
              <p:nvPr/>
            </p:nvSpPr>
            <p:spPr>
              <a:xfrm>
                <a:off x="7527599" y="3856215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</a:t>
                </a:r>
                <a:r>
                  <a:rPr kumimoji="0" lang="en-ID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Wakatobi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9152C9BB-A90D-4CA9-A6C0-108B06ADFE06}"/>
                  </a:ext>
                </a:extLst>
              </p:cNvPr>
              <p:cNvSpPr txBox="1"/>
              <p:nvPr/>
            </p:nvSpPr>
            <p:spPr>
              <a:xfrm>
                <a:off x="562015" y="2177527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Toba Lake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F0C7B461-873E-4147-B7F5-B14B78907BEC}"/>
                  </a:ext>
                </a:extLst>
              </p:cNvPr>
              <p:cNvSpPr txBox="1"/>
              <p:nvPr/>
            </p:nvSpPr>
            <p:spPr>
              <a:xfrm>
                <a:off x="2859335" y="2879956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Bangka Belitung</a:t>
                </a:r>
              </a:p>
            </p:txBody>
          </p:sp>
          <p:sp>
            <p:nvSpPr>
              <p:cNvPr id="56" name="TextBox 45">
                <a:extLst>
                  <a:ext uri="{FF2B5EF4-FFF2-40B4-BE49-F238E27FC236}">
                    <a16:creationId xmlns:a16="http://schemas.microsoft.com/office/drawing/2014/main" id="{A1CF99A1-DDFC-4A7C-8491-AA29CA9CDF56}"/>
                  </a:ext>
                </a:extLst>
              </p:cNvPr>
              <p:cNvSpPr txBox="1"/>
              <p:nvPr/>
            </p:nvSpPr>
            <p:spPr>
              <a:xfrm>
                <a:off x="4170488" y="4831758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Bromo-</a:t>
                </a:r>
                <a:r>
                  <a:rPr kumimoji="0" lang="en-ID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engger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-</a:t>
                </a:r>
                <a:r>
                  <a:rPr kumimoji="0" lang="en-ID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emeru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TextBox 46">
                <a:extLst>
                  <a:ext uri="{FF2B5EF4-FFF2-40B4-BE49-F238E27FC236}">
                    <a16:creationId xmlns:a16="http://schemas.microsoft.com/office/drawing/2014/main" id="{8E3AFEE1-1A55-4B1B-9443-3638B09B6107}"/>
                  </a:ext>
                </a:extLst>
              </p:cNvPr>
              <p:cNvSpPr txBox="1"/>
              <p:nvPr/>
            </p:nvSpPr>
            <p:spPr>
              <a:xfrm>
                <a:off x="8809428" y="1918289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</a:t>
                </a:r>
                <a:r>
                  <a:rPr kumimoji="0" lang="en-ID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Morotai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TextBox 47">
                <a:extLst>
                  <a:ext uri="{FF2B5EF4-FFF2-40B4-BE49-F238E27FC236}">
                    <a16:creationId xmlns:a16="http://schemas.microsoft.com/office/drawing/2014/main" id="{182D2D4A-98FB-4B23-A0FC-6EAE5FD49C00}"/>
                  </a:ext>
                </a:extLst>
              </p:cNvPr>
              <p:cNvSpPr txBox="1"/>
              <p:nvPr/>
            </p:nvSpPr>
            <p:spPr>
              <a:xfrm>
                <a:off x="8492189" y="3769746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KSPN Banda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TextBox 48">
                <a:extLst>
                  <a:ext uri="{FF2B5EF4-FFF2-40B4-BE49-F238E27FC236}">
                    <a16:creationId xmlns:a16="http://schemas.microsoft.com/office/drawing/2014/main" id="{6F0F0B6A-F22C-4C4C-A882-48ACA91CCABE}"/>
                  </a:ext>
                </a:extLst>
              </p:cNvPr>
              <p:cNvSpPr txBox="1"/>
              <p:nvPr/>
            </p:nvSpPr>
            <p:spPr>
              <a:xfrm>
                <a:off x="1691621" y="4229854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KEK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Tanjung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Lesung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60" name="Group 59">
                <a:extLst>
                  <a:ext uri="{FF2B5EF4-FFF2-40B4-BE49-F238E27FC236}">
                    <a16:creationId xmlns:a16="http://schemas.microsoft.com/office/drawing/2014/main" id="{344C8053-7006-41A0-9BEE-D52974F23B3F}"/>
                  </a:ext>
                </a:extLst>
              </p:cNvPr>
              <p:cNvGrpSpPr/>
              <p:nvPr/>
            </p:nvGrpSpPr>
            <p:grpSpPr>
              <a:xfrm>
                <a:off x="2231929" y="2254958"/>
                <a:ext cx="524126" cy="278836"/>
                <a:chOff x="2165157" y="2200511"/>
                <a:chExt cx="524126" cy="278836"/>
              </a:xfrm>
            </p:grpSpPr>
            <p:sp>
              <p:nvSpPr>
                <p:cNvPr id="204" name="Oval 203">
                  <a:extLst>
                    <a:ext uri="{FF2B5EF4-FFF2-40B4-BE49-F238E27FC236}">
                      <a16:creationId xmlns:a16="http://schemas.microsoft.com/office/drawing/2014/main" id="{4C920C8C-253A-4B26-AD2F-00585D8F5C50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5" name="TextBox 194">
                  <a:extLst>
                    <a:ext uri="{FF2B5EF4-FFF2-40B4-BE49-F238E27FC236}">
                      <a16:creationId xmlns:a16="http://schemas.microsoft.com/office/drawing/2014/main" id="{6BACABE4-CC38-4C9B-B117-5C30E1A234B7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3</a:t>
                  </a:r>
                </a:p>
              </p:txBody>
            </p:sp>
          </p:grp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392737F9-4A22-49C0-8EA8-3AA38049B05C}"/>
                  </a:ext>
                </a:extLst>
              </p:cNvPr>
              <p:cNvGrpSpPr/>
              <p:nvPr/>
            </p:nvGrpSpPr>
            <p:grpSpPr>
              <a:xfrm>
                <a:off x="6080163" y="3774492"/>
                <a:ext cx="524126" cy="278836"/>
                <a:chOff x="2165157" y="2200511"/>
                <a:chExt cx="524126" cy="278836"/>
              </a:xfrm>
            </p:grpSpPr>
            <p:sp>
              <p:nvSpPr>
                <p:cNvPr id="202" name="Oval 201">
                  <a:extLst>
                    <a:ext uri="{FF2B5EF4-FFF2-40B4-BE49-F238E27FC236}">
                      <a16:creationId xmlns:a16="http://schemas.microsoft.com/office/drawing/2014/main" id="{DC960003-894F-40E8-B8FA-619179468F71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3" name="TextBox 192">
                  <a:extLst>
                    <a:ext uri="{FF2B5EF4-FFF2-40B4-BE49-F238E27FC236}">
                      <a16:creationId xmlns:a16="http://schemas.microsoft.com/office/drawing/2014/main" id="{582F26F0-CCD4-4C40-847A-C782B6E1E979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4</a:t>
                  </a:r>
                </a:p>
              </p:txBody>
            </p:sp>
          </p:grpSp>
          <p:sp>
            <p:nvSpPr>
              <p:cNvPr id="62" name="TextBox 51">
                <a:extLst>
                  <a:ext uri="{FF2B5EF4-FFF2-40B4-BE49-F238E27FC236}">
                    <a16:creationId xmlns:a16="http://schemas.microsoft.com/office/drawing/2014/main" id="{1727CB4D-0B4B-4248-B48D-61A46E4F2E3C}"/>
                  </a:ext>
                </a:extLst>
              </p:cNvPr>
              <p:cNvSpPr txBox="1"/>
              <p:nvPr/>
            </p:nvSpPr>
            <p:spPr>
              <a:xfrm>
                <a:off x="5111327" y="3806717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opper Recycling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EDDCC80F-CF64-4048-AA20-2689A1EE4B3F}"/>
                  </a:ext>
                </a:extLst>
              </p:cNvPr>
              <p:cNvGrpSpPr/>
              <p:nvPr/>
            </p:nvGrpSpPr>
            <p:grpSpPr>
              <a:xfrm>
                <a:off x="2384329" y="2407358"/>
                <a:ext cx="524126" cy="278836"/>
                <a:chOff x="2165157" y="2200511"/>
                <a:chExt cx="524126" cy="278836"/>
              </a:xfrm>
            </p:grpSpPr>
            <p:sp>
              <p:nvSpPr>
                <p:cNvPr id="200" name="Oval 199">
                  <a:extLst>
                    <a:ext uri="{FF2B5EF4-FFF2-40B4-BE49-F238E27FC236}">
                      <a16:creationId xmlns:a16="http://schemas.microsoft.com/office/drawing/2014/main" id="{413C2C48-9963-47F4-B325-F8FB9CAF620C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1" name="TextBox 190">
                  <a:extLst>
                    <a:ext uri="{FF2B5EF4-FFF2-40B4-BE49-F238E27FC236}">
                      <a16:creationId xmlns:a16="http://schemas.microsoft.com/office/drawing/2014/main" id="{30E8CA88-0586-44C6-832C-17AFF413BB92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5</a:t>
                  </a:r>
                </a:p>
              </p:txBody>
            </p:sp>
          </p:grpSp>
          <p:sp>
            <p:nvSpPr>
              <p:cNvPr id="64" name="TextBox 53">
                <a:extLst>
                  <a:ext uri="{FF2B5EF4-FFF2-40B4-BE49-F238E27FC236}">
                    <a16:creationId xmlns:a16="http://schemas.microsoft.com/office/drawing/2014/main" id="{2F44A5BE-8197-47ED-AEF0-31CBFD57415E}"/>
                  </a:ext>
                </a:extLst>
              </p:cNvPr>
              <p:cNvSpPr txBox="1"/>
              <p:nvPr/>
            </p:nvSpPr>
            <p:spPr>
              <a:xfrm>
                <a:off x="2616574" y="2111299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lumina Refinery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65" name="Group 64">
                <a:extLst>
                  <a:ext uri="{FF2B5EF4-FFF2-40B4-BE49-F238E27FC236}">
                    <a16:creationId xmlns:a16="http://schemas.microsoft.com/office/drawing/2014/main" id="{712D2D23-5A98-40E2-9164-AFDB25CF2479}"/>
                  </a:ext>
                </a:extLst>
              </p:cNvPr>
              <p:cNvGrpSpPr/>
              <p:nvPr/>
            </p:nvGrpSpPr>
            <p:grpSpPr>
              <a:xfrm>
                <a:off x="4304445" y="3315217"/>
                <a:ext cx="524126" cy="278836"/>
                <a:chOff x="2165157" y="2200511"/>
                <a:chExt cx="524126" cy="278836"/>
              </a:xfrm>
            </p:grpSpPr>
            <p:sp>
              <p:nvSpPr>
                <p:cNvPr id="198" name="Oval 197">
                  <a:extLst>
                    <a:ext uri="{FF2B5EF4-FFF2-40B4-BE49-F238E27FC236}">
                      <a16:creationId xmlns:a16="http://schemas.microsoft.com/office/drawing/2014/main" id="{6660519B-F38A-44C0-B88A-AF591EF332CB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9" name="TextBox 188">
                  <a:extLst>
                    <a:ext uri="{FF2B5EF4-FFF2-40B4-BE49-F238E27FC236}">
                      <a16:creationId xmlns:a16="http://schemas.microsoft.com/office/drawing/2014/main" id="{B7845B7F-DCA5-499A-966A-9A887C614503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6</a:t>
                  </a:r>
                </a:p>
              </p:txBody>
            </p:sp>
          </p:grpSp>
          <p:sp>
            <p:nvSpPr>
              <p:cNvPr id="66" name="TextBox 55">
                <a:extLst>
                  <a:ext uri="{FF2B5EF4-FFF2-40B4-BE49-F238E27FC236}">
                    <a16:creationId xmlns:a16="http://schemas.microsoft.com/office/drawing/2014/main" id="{17BD7719-A9A4-4FA4-81A5-F046E9DC8810}"/>
                  </a:ext>
                </a:extLst>
              </p:cNvPr>
              <p:cNvSpPr txBox="1"/>
              <p:nvPr/>
            </p:nvSpPr>
            <p:spPr>
              <a:xfrm>
                <a:off x="3762188" y="3531415"/>
                <a:ext cx="107284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ponge Iron Smelter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TextBox 56">
                <a:extLst>
                  <a:ext uri="{FF2B5EF4-FFF2-40B4-BE49-F238E27FC236}">
                    <a16:creationId xmlns:a16="http://schemas.microsoft.com/office/drawing/2014/main" id="{04DA3974-20E2-4E99-BA29-B18C5120E249}"/>
                  </a:ext>
                </a:extLst>
              </p:cNvPr>
              <p:cNvSpPr txBox="1"/>
              <p:nvPr/>
            </p:nvSpPr>
            <p:spPr>
              <a:xfrm>
                <a:off x="7167380" y="1732082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Manado-</a:t>
                </a:r>
                <a:r>
                  <a:rPr kumimoji="0" lang="en-ID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Likupang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TextBox 57">
                <a:extLst>
                  <a:ext uri="{FF2B5EF4-FFF2-40B4-BE49-F238E27FC236}">
                    <a16:creationId xmlns:a16="http://schemas.microsoft.com/office/drawing/2014/main" id="{54F743ED-ECBB-495E-882F-47AF5BC1D171}"/>
                  </a:ext>
                </a:extLst>
              </p:cNvPr>
              <p:cNvSpPr txBox="1"/>
              <p:nvPr/>
            </p:nvSpPr>
            <p:spPr>
              <a:xfrm>
                <a:off x="8130730" y="2746418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</a:t>
                </a:r>
                <a:r>
                  <a:rPr kumimoji="0" lang="en-ID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P Raja Ampat</a:t>
                </a:r>
              </a:p>
            </p:txBody>
          </p:sp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62F1AD45-6653-4C2C-BB92-0A5E95939EE0}"/>
                  </a:ext>
                </a:extLst>
              </p:cNvPr>
              <p:cNvGrpSpPr/>
              <p:nvPr/>
            </p:nvGrpSpPr>
            <p:grpSpPr>
              <a:xfrm>
                <a:off x="5146421" y="3507541"/>
                <a:ext cx="524126" cy="278836"/>
                <a:chOff x="2165157" y="2200511"/>
                <a:chExt cx="524126" cy="278836"/>
              </a:xfrm>
            </p:grpSpPr>
            <p:sp>
              <p:nvSpPr>
                <p:cNvPr id="196" name="Oval 195">
                  <a:extLst>
                    <a:ext uri="{FF2B5EF4-FFF2-40B4-BE49-F238E27FC236}">
                      <a16:creationId xmlns:a16="http://schemas.microsoft.com/office/drawing/2014/main" id="{BB37AA5C-EA43-456C-9101-C1D51520E629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TextBox 186">
                  <a:extLst>
                    <a:ext uri="{FF2B5EF4-FFF2-40B4-BE49-F238E27FC236}">
                      <a16:creationId xmlns:a16="http://schemas.microsoft.com/office/drawing/2014/main" id="{C91BCA86-8B15-4B3E-BBB0-675F7D3121CD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7</a:t>
                  </a:r>
                </a:p>
              </p:txBody>
            </p:sp>
          </p:grpSp>
          <p:sp>
            <p:nvSpPr>
              <p:cNvPr id="70" name="TextBox 59">
                <a:extLst>
                  <a:ext uri="{FF2B5EF4-FFF2-40B4-BE49-F238E27FC236}">
                    <a16:creationId xmlns:a16="http://schemas.microsoft.com/office/drawing/2014/main" id="{2712C0B4-0CF9-4091-B7E7-BBDD8B333B56}"/>
                  </a:ext>
                </a:extLst>
              </p:cNvPr>
              <p:cNvSpPr txBox="1"/>
              <p:nvPr/>
            </p:nvSpPr>
            <p:spPr>
              <a:xfrm>
                <a:off x="4612826" y="3139036"/>
                <a:ext cx="95606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lab Billet Steel Smelter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6213E9D2-7620-4A9B-9C42-ABFED811F3E1}"/>
                  </a:ext>
                </a:extLst>
              </p:cNvPr>
              <p:cNvGrpSpPr/>
              <p:nvPr/>
            </p:nvGrpSpPr>
            <p:grpSpPr>
              <a:xfrm>
                <a:off x="5325851" y="3359701"/>
                <a:ext cx="524126" cy="278836"/>
                <a:chOff x="2165157" y="2200511"/>
                <a:chExt cx="524126" cy="278836"/>
              </a:xfrm>
            </p:grpSpPr>
            <p:sp>
              <p:nvSpPr>
                <p:cNvPr id="194" name="Oval 193">
                  <a:extLst>
                    <a:ext uri="{FF2B5EF4-FFF2-40B4-BE49-F238E27FC236}">
                      <a16:creationId xmlns:a16="http://schemas.microsoft.com/office/drawing/2014/main" id="{89043C84-58F2-45A3-8406-507F81511AE4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5" name="TextBox 184">
                  <a:extLst>
                    <a:ext uri="{FF2B5EF4-FFF2-40B4-BE49-F238E27FC236}">
                      <a16:creationId xmlns:a16="http://schemas.microsoft.com/office/drawing/2014/main" id="{C40CE8EF-67B1-4AD6-BF64-A7952D753765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8</a:t>
                  </a: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162BCFDB-5D7A-4149-AF9B-AF3217AE3B24}"/>
                  </a:ext>
                </a:extLst>
              </p:cNvPr>
              <p:cNvGrpSpPr/>
              <p:nvPr/>
            </p:nvGrpSpPr>
            <p:grpSpPr>
              <a:xfrm>
                <a:off x="6362575" y="2798673"/>
                <a:ext cx="524126" cy="278836"/>
                <a:chOff x="2165157" y="2200511"/>
                <a:chExt cx="524126" cy="278836"/>
              </a:xfrm>
            </p:grpSpPr>
            <p:sp>
              <p:nvSpPr>
                <p:cNvPr id="192" name="Oval 191">
                  <a:extLst>
                    <a:ext uri="{FF2B5EF4-FFF2-40B4-BE49-F238E27FC236}">
                      <a16:creationId xmlns:a16="http://schemas.microsoft.com/office/drawing/2014/main" id="{E0908F8D-A39A-4C10-B7AD-FF4283CF4936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3" name="TextBox 182">
                  <a:extLst>
                    <a:ext uri="{FF2B5EF4-FFF2-40B4-BE49-F238E27FC236}">
                      <a16:creationId xmlns:a16="http://schemas.microsoft.com/office/drawing/2014/main" id="{93E12296-63E0-4F18-9959-DF0EC82C26A8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19</a:t>
                  </a:r>
                </a:p>
              </p:txBody>
            </p:sp>
          </p:grpSp>
          <p:sp>
            <p:nvSpPr>
              <p:cNvPr id="73" name="TextBox 62">
                <a:extLst>
                  <a:ext uri="{FF2B5EF4-FFF2-40B4-BE49-F238E27FC236}">
                    <a16:creationId xmlns:a16="http://schemas.microsoft.com/office/drawing/2014/main" id="{8C4D0901-F616-4F42-BC2F-F6A6EF499270}"/>
                  </a:ext>
                </a:extLst>
              </p:cNvPr>
              <p:cNvSpPr txBox="1"/>
              <p:nvPr/>
            </p:nvSpPr>
            <p:spPr>
              <a:xfrm>
                <a:off x="6693747" y="2760315"/>
                <a:ext cx="1056795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Ferro Nickel Stainless Smelter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4" name="Group 73">
                <a:extLst>
                  <a:ext uri="{FF2B5EF4-FFF2-40B4-BE49-F238E27FC236}">
                    <a16:creationId xmlns:a16="http://schemas.microsoft.com/office/drawing/2014/main" id="{64041855-CAB8-4B06-BAA9-E54C395BBBA5}"/>
                  </a:ext>
                </a:extLst>
              </p:cNvPr>
              <p:cNvGrpSpPr/>
              <p:nvPr/>
            </p:nvGrpSpPr>
            <p:grpSpPr>
              <a:xfrm>
                <a:off x="6461520" y="3299566"/>
                <a:ext cx="524126" cy="278836"/>
                <a:chOff x="2165157" y="2200511"/>
                <a:chExt cx="524126" cy="278836"/>
              </a:xfrm>
            </p:grpSpPr>
            <p:sp>
              <p:nvSpPr>
                <p:cNvPr id="190" name="Oval 189">
                  <a:extLst>
                    <a:ext uri="{FF2B5EF4-FFF2-40B4-BE49-F238E27FC236}">
                      <a16:creationId xmlns:a16="http://schemas.microsoft.com/office/drawing/2014/main" id="{A0F25CC1-3650-41EF-8327-FA20B0B3B738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1" name="TextBox 180">
                  <a:extLst>
                    <a:ext uri="{FF2B5EF4-FFF2-40B4-BE49-F238E27FC236}">
                      <a16:creationId xmlns:a16="http://schemas.microsoft.com/office/drawing/2014/main" id="{79B20E22-1DB4-440B-B3D0-451B3013AB70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0</a:t>
                  </a:r>
                </a:p>
              </p:txBody>
            </p:sp>
          </p:grpSp>
          <p:sp>
            <p:nvSpPr>
              <p:cNvPr id="75" name="TextBox 64">
                <a:extLst>
                  <a:ext uri="{FF2B5EF4-FFF2-40B4-BE49-F238E27FC236}">
                    <a16:creationId xmlns:a16="http://schemas.microsoft.com/office/drawing/2014/main" id="{5A9CEC2A-2C79-4556-9DF0-50DAC735DA81}"/>
                  </a:ext>
                </a:extLst>
              </p:cNvPr>
              <p:cNvSpPr txBox="1"/>
              <p:nvPr/>
            </p:nvSpPr>
            <p:spPr>
              <a:xfrm>
                <a:off x="6802147" y="3272171"/>
                <a:ext cx="956066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Nickel Smelter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67569684-8520-4A5E-94F5-84FE10BAD79A}"/>
                  </a:ext>
                </a:extLst>
              </p:cNvPr>
              <p:cNvGrpSpPr/>
              <p:nvPr/>
            </p:nvGrpSpPr>
            <p:grpSpPr>
              <a:xfrm>
                <a:off x="8484509" y="2314968"/>
                <a:ext cx="524126" cy="278836"/>
                <a:chOff x="2165157" y="2200511"/>
                <a:chExt cx="524126" cy="278836"/>
              </a:xfrm>
            </p:grpSpPr>
            <p:sp>
              <p:nvSpPr>
                <p:cNvPr id="188" name="Oval 187">
                  <a:extLst>
                    <a:ext uri="{FF2B5EF4-FFF2-40B4-BE49-F238E27FC236}">
                      <a16:creationId xmlns:a16="http://schemas.microsoft.com/office/drawing/2014/main" id="{CA3A0E8C-F962-47EF-9BD1-77963DFF751B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9" name="TextBox 178">
                  <a:extLst>
                    <a:ext uri="{FF2B5EF4-FFF2-40B4-BE49-F238E27FC236}">
                      <a16:creationId xmlns:a16="http://schemas.microsoft.com/office/drawing/2014/main" id="{91929CFB-EFD9-4F68-B0D8-C36BA88C7F0A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1</a:t>
                  </a:r>
                </a:p>
              </p:txBody>
            </p:sp>
          </p:grpSp>
          <p:sp>
            <p:nvSpPr>
              <p:cNvPr id="77" name="TextBox 66">
                <a:extLst>
                  <a:ext uri="{FF2B5EF4-FFF2-40B4-BE49-F238E27FC236}">
                    <a16:creationId xmlns:a16="http://schemas.microsoft.com/office/drawing/2014/main" id="{F76F0A2F-BF1A-4E69-AA9E-F7A4D49303D5}"/>
                  </a:ext>
                </a:extLst>
              </p:cNvPr>
              <p:cNvSpPr txBox="1"/>
              <p:nvPr/>
            </p:nvSpPr>
            <p:spPr>
              <a:xfrm>
                <a:off x="8825136" y="2255674"/>
                <a:ext cx="95606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Nickel Sulfate Smelter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235C9EE5-A41C-44AE-BB47-628689D3FB0D}"/>
                  </a:ext>
                </a:extLst>
              </p:cNvPr>
              <p:cNvGrpSpPr/>
              <p:nvPr/>
            </p:nvGrpSpPr>
            <p:grpSpPr>
              <a:xfrm>
                <a:off x="1308407" y="1864204"/>
                <a:ext cx="524126" cy="278836"/>
                <a:chOff x="2165157" y="2200511"/>
                <a:chExt cx="524126" cy="278836"/>
              </a:xfrm>
            </p:grpSpPr>
            <p:sp>
              <p:nvSpPr>
                <p:cNvPr id="186" name="Oval 185">
                  <a:extLst>
                    <a:ext uri="{FF2B5EF4-FFF2-40B4-BE49-F238E27FC236}">
                      <a16:creationId xmlns:a16="http://schemas.microsoft.com/office/drawing/2014/main" id="{C37F14DB-94F1-47AB-8259-EF522A547AC0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7" name="TextBox 176">
                  <a:extLst>
                    <a:ext uri="{FF2B5EF4-FFF2-40B4-BE49-F238E27FC236}">
                      <a16:creationId xmlns:a16="http://schemas.microsoft.com/office/drawing/2014/main" id="{8F252945-59CD-44DC-B016-F154F3955D1C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2</a:t>
                  </a:r>
                </a:p>
              </p:txBody>
            </p:sp>
          </p:grpSp>
          <p:sp>
            <p:nvSpPr>
              <p:cNvPr id="79" name="TextBox 68">
                <a:extLst>
                  <a:ext uri="{FF2B5EF4-FFF2-40B4-BE49-F238E27FC236}">
                    <a16:creationId xmlns:a16="http://schemas.microsoft.com/office/drawing/2014/main" id="{16BF1E93-D6F7-4F3F-AA53-EE0352FB584F}"/>
                  </a:ext>
                </a:extLst>
              </p:cNvPr>
              <p:cNvSpPr txBox="1"/>
              <p:nvPr/>
            </p:nvSpPr>
            <p:spPr>
              <a:xfrm>
                <a:off x="1668111" y="1688023"/>
                <a:ext cx="120626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luminum Extrusion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6E27C70E-E6EF-4A52-9527-FFD56AD1318E}"/>
                  </a:ext>
                </a:extLst>
              </p:cNvPr>
              <p:cNvGrpSpPr/>
              <p:nvPr/>
            </p:nvGrpSpPr>
            <p:grpSpPr>
              <a:xfrm>
                <a:off x="2172666" y="3377724"/>
                <a:ext cx="524126" cy="278836"/>
                <a:chOff x="2165157" y="2200511"/>
                <a:chExt cx="524126" cy="278836"/>
              </a:xfrm>
            </p:grpSpPr>
            <p:sp>
              <p:nvSpPr>
                <p:cNvPr id="184" name="Oval 183">
                  <a:extLst>
                    <a:ext uri="{FF2B5EF4-FFF2-40B4-BE49-F238E27FC236}">
                      <a16:creationId xmlns:a16="http://schemas.microsoft.com/office/drawing/2014/main" id="{E2891192-C8B1-4938-80DA-F7E8A286F596}"/>
                    </a:ext>
                  </a:extLst>
                </p:cNvPr>
                <p:cNvSpPr/>
                <p:nvPr/>
              </p:nvSpPr>
              <p:spPr>
                <a:xfrm>
                  <a:off x="2301991" y="2200511"/>
                  <a:ext cx="265984" cy="278836"/>
                </a:xfrm>
                <a:prstGeom prst="ellipse">
                  <a:avLst/>
                </a:prstGeom>
                <a:solidFill>
                  <a:schemeClr val="accent4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5" name="TextBox 174">
                  <a:extLst>
                    <a:ext uri="{FF2B5EF4-FFF2-40B4-BE49-F238E27FC236}">
                      <a16:creationId xmlns:a16="http://schemas.microsoft.com/office/drawing/2014/main" id="{740C5128-4FC2-4D18-B227-CBB1428A12BF}"/>
                    </a:ext>
                  </a:extLst>
                </p:cNvPr>
                <p:cNvSpPr txBox="1"/>
                <p:nvPr/>
              </p:nvSpPr>
              <p:spPr>
                <a:xfrm>
                  <a:off x="2165157" y="2224385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4472C4">
                          <a:lumMod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3</a:t>
                  </a:r>
                </a:p>
              </p:txBody>
            </p:sp>
          </p:grpSp>
          <p:sp>
            <p:nvSpPr>
              <p:cNvPr id="81" name="TextBox 70">
                <a:extLst>
                  <a:ext uri="{FF2B5EF4-FFF2-40B4-BE49-F238E27FC236}">
                    <a16:creationId xmlns:a16="http://schemas.microsoft.com/office/drawing/2014/main" id="{B4AC5B88-5469-4F49-81B0-22046E653087}"/>
                  </a:ext>
                </a:extLst>
              </p:cNvPr>
              <p:cNvSpPr txBox="1"/>
              <p:nvPr/>
            </p:nvSpPr>
            <p:spPr>
              <a:xfrm>
                <a:off x="1159053" y="3309091"/>
                <a:ext cx="1206262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oal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Downstreaming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1B8BA916-7B67-4E78-B1B0-A5BEA33AB97E}"/>
                  </a:ext>
                </a:extLst>
              </p:cNvPr>
              <p:cNvGrpSpPr/>
              <p:nvPr/>
            </p:nvGrpSpPr>
            <p:grpSpPr>
              <a:xfrm>
                <a:off x="5738369" y="1901981"/>
                <a:ext cx="524126" cy="278836"/>
                <a:chOff x="5825863" y="1961902"/>
                <a:chExt cx="524126" cy="278836"/>
              </a:xfrm>
            </p:grpSpPr>
            <p:sp>
              <p:nvSpPr>
                <p:cNvPr id="182" name="Oval 181">
                  <a:extLst>
                    <a:ext uri="{FF2B5EF4-FFF2-40B4-BE49-F238E27FC236}">
                      <a16:creationId xmlns:a16="http://schemas.microsoft.com/office/drawing/2014/main" id="{5548903D-2861-44A3-9B07-4C30722F2052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3" name="TextBox 172">
                  <a:extLst>
                    <a:ext uri="{FF2B5EF4-FFF2-40B4-BE49-F238E27FC236}">
                      <a16:creationId xmlns:a16="http://schemas.microsoft.com/office/drawing/2014/main" id="{896CDAE9-6019-41FB-AF41-9C9D5DA4575D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4</a:t>
                  </a:r>
                </a:p>
              </p:txBody>
            </p:sp>
          </p:grpSp>
          <p:sp>
            <p:nvSpPr>
              <p:cNvPr id="83" name="TextBox 72">
                <a:extLst>
                  <a:ext uri="{FF2B5EF4-FFF2-40B4-BE49-F238E27FC236}">
                    <a16:creationId xmlns:a16="http://schemas.microsoft.com/office/drawing/2014/main" id="{059413B8-F8D0-4B99-AA0A-5A028CBDFC49}"/>
                  </a:ext>
                </a:extLst>
              </p:cNvPr>
              <p:cNvSpPr txBox="1"/>
              <p:nvPr/>
            </p:nvSpPr>
            <p:spPr>
              <a:xfrm>
                <a:off x="4706795" y="1901981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PO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4" name="Group 83">
                <a:extLst>
                  <a:ext uri="{FF2B5EF4-FFF2-40B4-BE49-F238E27FC236}">
                    <a16:creationId xmlns:a16="http://schemas.microsoft.com/office/drawing/2014/main" id="{5A3D9153-2CDC-4AB9-930C-EF0980107FEA}"/>
                  </a:ext>
                </a:extLst>
              </p:cNvPr>
              <p:cNvGrpSpPr/>
              <p:nvPr/>
            </p:nvGrpSpPr>
            <p:grpSpPr>
              <a:xfrm>
                <a:off x="6127146" y="2585063"/>
                <a:ext cx="524126" cy="278836"/>
                <a:chOff x="5825863" y="1961902"/>
                <a:chExt cx="524126" cy="278836"/>
              </a:xfrm>
            </p:grpSpPr>
            <p:sp>
              <p:nvSpPr>
                <p:cNvPr id="180" name="Oval 179">
                  <a:extLst>
                    <a:ext uri="{FF2B5EF4-FFF2-40B4-BE49-F238E27FC236}">
                      <a16:creationId xmlns:a16="http://schemas.microsoft.com/office/drawing/2014/main" id="{AA857758-F5FD-4617-8CC0-FB45D885D2F4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1" name="TextBox 170">
                  <a:extLst>
                    <a:ext uri="{FF2B5EF4-FFF2-40B4-BE49-F238E27FC236}">
                      <a16:creationId xmlns:a16="http://schemas.microsoft.com/office/drawing/2014/main" id="{3412AF31-7615-4CCD-BBDA-A95D158E9D85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9</a:t>
                  </a:r>
                </a:p>
              </p:txBody>
            </p:sp>
          </p:grpSp>
          <p:sp>
            <p:nvSpPr>
              <p:cNvPr id="85" name="TextBox 74">
                <a:extLst>
                  <a:ext uri="{FF2B5EF4-FFF2-40B4-BE49-F238E27FC236}">
                    <a16:creationId xmlns:a16="http://schemas.microsoft.com/office/drawing/2014/main" id="{C84361B6-E30A-42A2-88DE-6B8E6184DAC8}"/>
                  </a:ext>
                </a:extLst>
              </p:cNvPr>
              <p:cNvSpPr txBox="1"/>
              <p:nvPr/>
            </p:nvSpPr>
            <p:spPr>
              <a:xfrm>
                <a:off x="6064855" y="2246642"/>
                <a:ext cx="75259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ocoa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TextBox 75">
                <a:extLst>
                  <a:ext uri="{FF2B5EF4-FFF2-40B4-BE49-F238E27FC236}">
                    <a16:creationId xmlns:a16="http://schemas.microsoft.com/office/drawing/2014/main" id="{E8E5465C-B0FC-495B-B56F-AEA2B077E757}"/>
                  </a:ext>
                </a:extLst>
              </p:cNvPr>
              <p:cNvSpPr txBox="1"/>
              <p:nvPr/>
            </p:nvSpPr>
            <p:spPr>
              <a:xfrm>
                <a:off x="8356946" y="4847188"/>
                <a:ext cx="9844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Fish Canning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7" name="Group 86">
                <a:extLst>
                  <a:ext uri="{FF2B5EF4-FFF2-40B4-BE49-F238E27FC236}">
                    <a16:creationId xmlns:a16="http://schemas.microsoft.com/office/drawing/2014/main" id="{217C3F82-7F6B-4594-A5AD-00AF583DED15}"/>
                  </a:ext>
                </a:extLst>
              </p:cNvPr>
              <p:cNvGrpSpPr/>
              <p:nvPr/>
            </p:nvGrpSpPr>
            <p:grpSpPr>
              <a:xfrm>
                <a:off x="2294753" y="2950140"/>
                <a:ext cx="524126" cy="278836"/>
                <a:chOff x="5825863" y="1961902"/>
                <a:chExt cx="524126" cy="278836"/>
              </a:xfrm>
            </p:grpSpPr>
            <p:sp>
              <p:nvSpPr>
                <p:cNvPr id="178" name="Oval 177">
                  <a:extLst>
                    <a:ext uri="{FF2B5EF4-FFF2-40B4-BE49-F238E27FC236}">
                      <a16:creationId xmlns:a16="http://schemas.microsoft.com/office/drawing/2014/main" id="{E7E8CB17-69D3-4736-B5B0-33D2F5BF73B8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9" name="TextBox 168">
                  <a:extLst>
                    <a:ext uri="{FF2B5EF4-FFF2-40B4-BE49-F238E27FC236}">
                      <a16:creationId xmlns:a16="http://schemas.microsoft.com/office/drawing/2014/main" id="{C9173944-84EB-427F-A018-9E3390BD9E02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6</a:t>
                  </a:r>
                </a:p>
              </p:txBody>
            </p:sp>
          </p:grpSp>
          <p:sp>
            <p:nvSpPr>
              <p:cNvPr id="88" name="TextBox 77">
                <a:extLst>
                  <a:ext uri="{FF2B5EF4-FFF2-40B4-BE49-F238E27FC236}">
                    <a16:creationId xmlns:a16="http://schemas.microsoft.com/office/drawing/2014/main" id="{1FFB12FB-1D17-4869-8D25-BB4BF4645951}"/>
                  </a:ext>
                </a:extLst>
              </p:cNvPr>
              <p:cNvSpPr txBox="1"/>
              <p:nvPr/>
            </p:nvSpPr>
            <p:spPr>
              <a:xfrm>
                <a:off x="1808582" y="2748285"/>
                <a:ext cx="9844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PO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89" name="Group 88">
                <a:extLst>
                  <a:ext uri="{FF2B5EF4-FFF2-40B4-BE49-F238E27FC236}">
                    <a16:creationId xmlns:a16="http://schemas.microsoft.com/office/drawing/2014/main" id="{820A4CE9-D3F0-460A-B25E-173381191602}"/>
                  </a:ext>
                </a:extLst>
              </p:cNvPr>
              <p:cNvGrpSpPr/>
              <p:nvPr/>
            </p:nvGrpSpPr>
            <p:grpSpPr>
              <a:xfrm>
                <a:off x="3901043" y="3076879"/>
                <a:ext cx="524126" cy="278836"/>
                <a:chOff x="5825863" y="1961902"/>
                <a:chExt cx="524126" cy="278836"/>
              </a:xfrm>
            </p:grpSpPr>
            <p:sp>
              <p:nvSpPr>
                <p:cNvPr id="176" name="Oval 175">
                  <a:extLst>
                    <a:ext uri="{FF2B5EF4-FFF2-40B4-BE49-F238E27FC236}">
                      <a16:creationId xmlns:a16="http://schemas.microsoft.com/office/drawing/2014/main" id="{659B89BE-C2CE-4CE7-9A57-9F8B07B8095F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7" name="TextBox 166">
                  <a:extLst>
                    <a:ext uri="{FF2B5EF4-FFF2-40B4-BE49-F238E27FC236}">
                      <a16:creationId xmlns:a16="http://schemas.microsoft.com/office/drawing/2014/main" id="{E4FC831E-B3D4-4C3C-A24F-42B3848A8028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4</a:t>
                  </a:r>
                </a:p>
              </p:txBody>
            </p:sp>
          </p:grpSp>
          <p:sp>
            <p:nvSpPr>
              <p:cNvPr id="90" name="TextBox 79">
                <a:extLst>
                  <a:ext uri="{FF2B5EF4-FFF2-40B4-BE49-F238E27FC236}">
                    <a16:creationId xmlns:a16="http://schemas.microsoft.com/office/drawing/2014/main" id="{E9959B53-963B-46F4-B1E0-8F50F941D56B}"/>
                  </a:ext>
                </a:extLst>
              </p:cNvPr>
              <p:cNvSpPr txBox="1"/>
              <p:nvPr/>
            </p:nvSpPr>
            <p:spPr>
              <a:xfrm>
                <a:off x="3708340" y="2718918"/>
                <a:ext cx="9844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Oleochemical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DCCB3AF4-06CF-454C-B2E4-4C584007EBF1}"/>
                  </a:ext>
                </a:extLst>
              </p:cNvPr>
              <p:cNvGrpSpPr/>
              <p:nvPr/>
            </p:nvGrpSpPr>
            <p:grpSpPr>
              <a:xfrm>
                <a:off x="5680824" y="2551940"/>
                <a:ext cx="524126" cy="278836"/>
                <a:chOff x="5825863" y="1961902"/>
                <a:chExt cx="524126" cy="278836"/>
              </a:xfrm>
            </p:grpSpPr>
            <p:sp>
              <p:nvSpPr>
                <p:cNvPr id="174" name="Oval 173">
                  <a:extLst>
                    <a:ext uri="{FF2B5EF4-FFF2-40B4-BE49-F238E27FC236}">
                      <a16:creationId xmlns:a16="http://schemas.microsoft.com/office/drawing/2014/main" id="{DF474206-6819-4D92-8504-A0308D03568F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5" name="TextBox 164">
                  <a:extLst>
                    <a:ext uri="{FF2B5EF4-FFF2-40B4-BE49-F238E27FC236}">
                      <a16:creationId xmlns:a16="http://schemas.microsoft.com/office/drawing/2014/main" id="{3FA0FE85-09BC-4F75-B2C0-0B3A70D7135F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5</a:t>
                  </a:r>
                </a:p>
              </p:txBody>
            </p:sp>
          </p:grpSp>
          <p:sp>
            <p:nvSpPr>
              <p:cNvPr id="92" name="TextBox 81">
                <a:extLst>
                  <a:ext uri="{FF2B5EF4-FFF2-40B4-BE49-F238E27FC236}">
                    <a16:creationId xmlns:a16="http://schemas.microsoft.com/office/drawing/2014/main" id="{84C7B488-D3F3-47D5-A9DA-8772F31F67F2}"/>
                  </a:ext>
                </a:extLst>
              </p:cNvPr>
              <p:cNvSpPr txBox="1"/>
              <p:nvPr/>
            </p:nvSpPr>
            <p:spPr>
              <a:xfrm>
                <a:off x="4653632" y="2535784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PO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843FCC4C-3912-42B9-8E96-918E4F618AB7}"/>
                  </a:ext>
                </a:extLst>
              </p:cNvPr>
              <p:cNvGrpSpPr/>
              <p:nvPr/>
            </p:nvGrpSpPr>
            <p:grpSpPr>
              <a:xfrm>
                <a:off x="1513374" y="2839699"/>
                <a:ext cx="524126" cy="278836"/>
                <a:chOff x="5825863" y="1961902"/>
                <a:chExt cx="524126" cy="278836"/>
              </a:xfrm>
            </p:grpSpPr>
            <p:sp>
              <p:nvSpPr>
                <p:cNvPr id="172" name="Oval 171">
                  <a:extLst>
                    <a:ext uri="{FF2B5EF4-FFF2-40B4-BE49-F238E27FC236}">
                      <a16:creationId xmlns:a16="http://schemas.microsoft.com/office/drawing/2014/main" id="{F6C82E36-1184-4516-9EA6-671AD44BB117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3" name="TextBox 162">
                  <a:extLst>
                    <a:ext uri="{FF2B5EF4-FFF2-40B4-BE49-F238E27FC236}">
                      <a16:creationId xmlns:a16="http://schemas.microsoft.com/office/drawing/2014/main" id="{B7F4F5D3-9191-44BB-BFA7-55E61B37E5E9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8</a:t>
                  </a:r>
                </a:p>
              </p:txBody>
            </p:sp>
          </p:grpSp>
          <p:sp>
            <p:nvSpPr>
              <p:cNvPr id="94" name="TextBox 83">
                <a:extLst>
                  <a:ext uri="{FF2B5EF4-FFF2-40B4-BE49-F238E27FC236}">
                    <a16:creationId xmlns:a16="http://schemas.microsoft.com/office/drawing/2014/main" id="{4988B307-F784-46FE-8F47-93E02638BB34}"/>
                  </a:ext>
                </a:extLst>
              </p:cNvPr>
              <p:cNvSpPr txBox="1"/>
              <p:nvPr/>
            </p:nvSpPr>
            <p:spPr>
              <a:xfrm>
                <a:off x="529739" y="2838444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Gambier (textile dye)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5" name="Group 94">
                <a:extLst>
                  <a:ext uri="{FF2B5EF4-FFF2-40B4-BE49-F238E27FC236}">
                    <a16:creationId xmlns:a16="http://schemas.microsoft.com/office/drawing/2014/main" id="{2BE19D2E-30F3-4506-85BE-3AEA369D1BFF}"/>
                  </a:ext>
                </a:extLst>
              </p:cNvPr>
              <p:cNvGrpSpPr/>
              <p:nvPr/>
            </p:nvGrpSpPr>
            <p:grpSpPr>
              <a:xfrm>
                <a:off x="5974147" y="3372572"/>
                <a:ext cx="524126" cy="278836"/>
                <a:chOff x="5825863" y="1961902"/>
                <a:chExt cx="524126" cy="278836"/>
              </a:xfrm>
            </p:grpSpPr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0DDFD007-0293-4B26-BEF0-2A90B204BD06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1" name="TextBox 160">
                  <a:extLst>
                    <a:ext uri="{FF2B5EF4-FFF2-40B4-BE49-F238E27FC236}">
                      <a16:creationId xmlns:a16="http://schemas.microsoft.com/office/drawing/2014/main" id="{CD09E4D9-47B5-4B94-B942-509491E7707D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3</a:t>
                  </a:r>
                </a:p>
              </p:txBody>
            </p:sp>
          </p:grpSp>
          <p:sp>
            <p:nvSpPr>
              <p:cNvPr id="96" name="TextBox 85">
                <a:extLst>
                  <a:ext uri="{FF2B5EF4-FFF2-40B4-BE49-F238E27FC236}">
                    <a16:creationId xmlns:a16="http://schemas.microsoft.com/office/drawing/2014/main" id="{5B6FF9AE-1041-48FA-867D-3B46D8F93F05}"/>
                  </a:ext>
                </a:extLst>
              </p:cNvPr>
              <p:cNvSpPr txBox="1"/>
              <p:nvPr/>
            </p:nvSpPr>
            <p:spPr>
              <a:xfrm>
                <a:off x="5845758" y="3027114"/>
                <a:ext cx="75259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ocoa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811572E9-9CB0-4B45-8784-839319F095CC}"/>
                  </a:ext>
                </a:extLst>
              </p:cNvPr>
              <p:cNvGrpSpPr/>
              <p:nvPr/>
            </p:nvGrpSpPr>
            <p:grpSpPr>
              <a:xfrm>
                <a:off x="6970079" y="2501082"/>
                <a:ext cx="524126" cy="278836"/>
                <a:chOff x="5825863" y="1961902"/>
                <a:chExt cx="524126" cy="278836"/>
              </a:xfrm>
            </p:grpSpPr>
            <p:sp>
              <p:nvSpPr>
                <p:cNvPr id="168" name="Oval 167">
                  <a:extLst>
                    <a:ext uri="{FF2B5EF4-FFF2-40B4-BE49-F238E27FC236}">
                      <a16:creationId xmlns:a16="http://schemas.microsoft.com/office/drawing/2014/main" id="{5849EBDC-0991-4A90-B354-908FB9EC5C04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9" name="TextBox 158">
                  <a:extLst>
                    <a:ext uri="{FF2B5EF4-FFF2-40B4-BE49-F238E27FC236}">
                      <a16:creationId xmlns:a16="http://schemas.microsoft.com/office/drawing/2014/main" id="{B42541DA-BCF7-4405-B296-A7D91D69CFCF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0</a:t>
                  </a:r>
                </a:p>
              </p:txBody>
            </p:sp>
          </p:grpSp>
          <p:sp>
            <p:nvSpPr>
              <p:cNvPr id="98" name="TextBox 87">
                <a:extLst>
                  <a:ext uri="{FF2B5EF4-FFF2-40B4-BE49-F238E27FC236}">
                    <a16:creationId xmlns:a16="http://schemas.microsoft.com/office/drawing/2014/main" id="{CB345946-619A-4DC5-A9C1-2F3E4907B8C4}"/>
                  </a:ext>
                </a:extLst>
              </p:cNvPr>
              <p:cNvSpPr txBox="1"/>
              <p:nvPr/>
            </p:nvSpPr>
            <p:spPr>
              <a:xfrm>
                <a:off x="6758265" y="2314968"/>
                <a:ext cx="1012247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oconut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99" name="Group 98">
                <a:extLst>
                  <a:ext uri="{FF2B5EF4-FFF2-40B4-BE49-F238E27FC236}">
                    <a16:creationId xmlns:a16="http://schemas.microsoft.com/office/drawing/2014/main" id="{2831C0FA-0886-4236-875D-F810EC34484E}"/>
                  </a:ext>
                </a:extLst>
              </p:cNvPr>
              <p:cNvGrpSpPr/>
              <p:nvPr/>
            </p:nvGrpSpPr>
            <p:grpSpPr>
              <a:xfrm>
                <a:off x="11177488" y="3218298"/>
                <a:ext cx="524126" cy="278836"/>
                <a:chOff x="5845658" y="1961902"/>
                <a:chExt cx="524126" cy="278836"/>
              </a:xfrm>
            </p:grpSpPr>
            <p:sp>
              <p:nvSpPr>
                <p:cNvPr id="166" name="Oval 165">
                  <a:extLst>
                    <a:ext uri="{FF2B5EF4-FFF2-40B4-BE49-F238E27FC236}">
                      <a16:creationId xmlns:a16="http://schemas.microsoft.com/office/drawing/2014/main" id="{5FCCBF69-9AC8-429B-AF1D-30B7B6DC1B0E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7" name="TextBox 156">
                  <a:extLst>
                    <a:ext uri="{FF2B5EF4-FFF2-40B4-BE49-F238E27FC236}">
                      <a16:creationId xmlns:a16="http://schemas.microsoft.com/office/drawing/2014/main" id="{64140E05-F716-466D-992C-C252A11E7D10}"/>
                    </a:ext>
                  </a:extLst>
                </p:cNvPr>
                <p:cNvSpPr txBox="1"/>
                <p:nvPr/>
              </p:nvSpPr>
              <p:spPr>
                <a:xfrm>
                  <a:off x="5845658" y="1985309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1</a:t>
                  </a:r>
                </a:p>
              </p:txBody>
            </p:sp>
          </p:grpSp>
          <p:sp>
            <p:nvSpPr>
              <p:cNvPr id="100" name="TextBox 89">
                <a:extLst>
                  <a:ext uri="{FF2B5EF4-FFF2-40B4-BE49-F238E27FC236}">
                    <a16:creationId xmlns:a16="http://schemas.microsoft.com/office/drawing/2014/main" id="{D142C80B-6F9D-453F-A3BA-662ACA0F9635}"/>
                  </a:ext>
                </a:extLst>
              </p:cNvPr>
              <p:cNvSpPr txBox="1"/>
              <p:nvPr/>
            </p:nvSpPr>
            <p:spPr>
              <a:xfrm>
                <a:off x="10975773" y="3484208"/>
                <a:ext cx="752596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offee Bean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8CD40899-A874-4580-BD93-74CB5F978E85}"/>
                  </a:ext>
                </a:extLst>
              </p:cNvPr>
              <p:cNvGrpSpPr/>
              <p:nvPr/>
            </p:nvGrpSpPr>
            <p:grpSpPr>
              <a:xfrm>
                <a:off x="9436882" y="3306476"/>
                <a:ext cx="524126" cy="278836"/>
                <a:chOff x="5845658" y="1961902"/>
                <a:chExt cx="524126" cy="278836"/>
              </a:xfrm>
            </p:grpSpPr>
            <p:sp>
              <p:nvSpPr>
                <p:cNvPr id="164" name="Oval 163">
                  <a:extLst>
                    <a:ext uri="{FF2B5EF4-FFF2-40B4-BE49-F238E27FC236}">
                      <a16:creationId xmlns:a16="http://schemas.microsoft.com/office/drawing/2014/main" id="{F6736D59-5D52-4A76-A1AA-5E010CDAD109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5" name="TextBox 154">
                  <a:extLst>
                    <a:ext uri="{FF2B5EF4-FFF2-40B4-BE49-F238E27FC236}">
                      <a16:creationId xmlns:a16="http://schemas.microsoft.com/office/drawing/2014/main" id="{9A6D10DA-33D5-4925-B201-97BF4A46B412}"/>
                    </a:ext>
                  </a:extLst>
                </p:cNvPr>
                <p:cNvSpPr txBox="1"/>
                <p:nvPr/>
              </p:nvSpPr>
              <p:spPr>
                <a:xfrm>
                  <a:off x="5845658" y="1985309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2</a:t>
                  </a:r>
                </a:p>
              </p:txBody>
            </p:sp>
          </p:grpSp>
          <p:sp>
            <p:nvSpPr>
              <p:cNvPr id="102" name="TextBox 91">
                <a:extLst>
                  <a:ext uri="{FF2B5EF4-FFF2-40B4-BE49-F238E27FC236}">
                    <a16:creationId xmlns:a16="http://schemas.microsoft.com/office/drawing/2014/main" id="{F97FC9FC-12DD-486E-8C07-D449F4ABCE89}"/>
                  </a:ext>
                </a:extLst>
              </p:cNvPr>
              <p:cNvSpPr txBox="1"/>
              <p:nvPr/>
            </p:nvSpPr>
            <p:spPr>
              <a:xfrm>
                <a:off x="9189462" y="3503110"/>
                <a:ext cx="752596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Nutmeg</a:t>
                </a:r>
              </a:p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80662C26-1C3F-4D1E-B215-F06A183AD5D4}"/>
                  </a:ext>
                </a:extLst>
              </p:cNvPr>
              <p:cNvGrpSpPr/>
              <p:nvPr/>
            </p:nvGrpSpPr>
            <p:grpSpPr>
              <a:xfrm>
                <a:off x="10896647" y="3008711"/>
                <a:ext cx="524126" cy="278836"/>
                <a:chOff x="5845658" y="1961902"/>
                <a:chExt cx="524126" cy="278836"/>
              </a:xfrm>
            </p:grpSpPr>
            <p:sp>
              <p:nvSpPr>
                <p:cNvPr id="162" name="Oval 161">
                  <a:extLst>
                    <a:ext uri="{FF2B5EF4-FFF2-40B4-BE49-F238E27FC236}">
                      <a16:creationId xmlns:a16="http://schemas.microsoft.com/office/drawing/2014/main" id="{3ADDA258-4840-46E7-B8DF-A4915D0F0DAE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TextBox 152">
                  <a:extLst>
                    <a:ext uri="{FF2B5EF4-FFF2-40B4-BE49-F238E27FC236}">
                      <a16:creationId xmlns:a16="http://schemas.microsoft.com/office/drawing/2014/main" id="{2FC8E364-F8C5-4A33-90CC-6B7E8A266C07}"/>
                    </a:ext>
                  </a:extLst>
                </p:cNvPr>
                <p:cNvSpPr txBox="1"/>
                <p:nvPr/>
              </p:nvSpPr>
              <p:spPr>
                <a:xfrm>
                  <a:off x="5845658" y="1985309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5</a:t>
                  </a:r>
                </a:p>
              </p:txBody>
            </p:sp>
          </p:grpSp>
          <p:sp>
            <p:nvSpPr>
              <p:cNvPr id="104" name="TextBox 93">
                <a:extLst>
                  <a:ext uri="{FF2B5EF4-FFF2-40B4-BE49-F238E27FC236}">
                    <a16:creationId xmlns:a16="http://schemas.microsoft.com/office/drawing/2014/main" id="{C2654DBC-9D92-494A-ACE7-353F4E2056CB}"/>
                  </a:ext>
                </a:extLst>
              </p:cNvPr>
              <p:cNvSpPr txBox="1"/>
              <p:nvPr/>
            </p:nvSpPr>
            <p:spPr>
              <a:xfrm>
                <a:off x="10646692" y="2630171"/>
                <a:ext cx="962241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Food Estate - Sago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5" name="Group 104">
                <a:extLst>
                  <a:ext uri="{FF2B5EF4-FFF2-40B4-BE49-F238E27FC236}">
                    <a16:creationId xmlns:a16="http://schemas.microsoft.com/office/drawing/2014/main" id="{F61287F3-E552-4EC8-BB26-4E367BAE9A79}"/>
                  </a:ext>
                </a:extLst>
              </p:cNvPr>
              <p:cNvGrpSpPr/>
              <p:nvPr/>
            </p:nvGrpSpPr>
            <p:grpSpPr>
              <a:xfrm>
                <a:off x="9115452" y="2740266"/>
                <a:ext cx="524126" cy="278836"/>
                <a:chOff x="9060109" y="5412339"/>
                <a:chExt cx="524126" cy="278836"/>
              </a:xfrm>
            </p:grpSpPr>
            <p:sp>
              <p:nvSpPr>
                <p:cNvPr id="160" name="Oval 159">
                  <a:extLst>
                    <a:ext uri="{FF2B5EF4-FFF2-40B4-BE49-F238E27FC236}">
                      <a16:creationId xmlns:a16="http://schemas.microsoft.com/office/drawing/2014/main" id="{460EBEAF-E7DF-4BA3-985A-7C28297111B8}"/>
                    </a:ext>
                  </a:extLst>
                </p:cNvPr>
                <p:cNvSpPr/>
                <p:nvPr/>
              </p:nvSpPr>
              <p:spPr>
                <a:xfrm>
                  <a:off x="9177148" y="5412339"/>
                  <a:ext cx="265984" cy="278836"/>
                </a:xfrm>
                <a:prstGeom prst="ellipse">
                  <a:avLst/>
                </a:prstGeom>
                <a:solidFill>
                  <a:srgbClr val="F098D7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1" name="TextBox 150">
                  <a:extLst>
                    <a:ext uri="{FF2B5EF4-FFF2-40B4-BE49-F238E27FC236}">
                      <a16:creationId xmlns:a16="http://schemas.microsoft.com/office/drawing/2014/main" id="{5E2EDD1E-73A4-4035-A9CA-DC8728848E20}"/>
                    </a:ext>
                  </a:extLst>
                </p:cNvPr>
                <p:cNvSpPr txBox="1"/>
                <p:nvPr/>
              </p:nvSpPr>
              <p:spPr>
                <a:xfrm>
                  <a:off x="9060109" y="543574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6</a:t>
                  </a:r>
                </a:p>
              </p:txBody>
            </p:sp>
          </p:grpSp>
          <p:sp>
            <p:nvSpPr>
              <p:cNvPr id="106" name="TextBox 95">
                <a:extLst>
                  <a:ext uri="{FF2B5EF4-FFF2-40B4-BE49-F238E27FC236}">
                    <a16:creationId xmlns:a16="http://schemas.microsoft.com/office/drawing/2014/main" id="{FC334F42-E67D-429F-80F7-DBAA1D49314E}"/>
                  </a:ext>
                </a:extLst>
              </p:cNvPr>
              <p:cNvSpPr txBox="1"/>
              <p:nvPr/>
            </p:nvSpPr>
            <p:spPr>
              <a:xfrm>
                <a:off x="9296165" y="2551940"/>
                <a:ext cx="12062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orong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Seaport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7" name="Group 106">
                <a:extLst>
                  <a:ext uri="{FF2B5EF4-FFF2-40B4-BE49-F238E27FC236}">
                    <a16:creationId xmlns:a16="http://schemas.microsoft.com/office/drawing/2014/main" id="{F7676519-0CFC-4617-A95E-196FEEA047A2}"/>
                  </a:ext>
                </a:extLst>
              </p:cNvPr>
              <p:cNvGrpSpPr/>
              <p:nvPr/>
            </p:nvGrpSpPr>
            <p:grpSpPr>
              <a:xfrm>
                <a:off x="7708754" y="2224616"/>
                <a:ext cx="524126" cy="278836"/>
                <a:chOff x="9060109" y="5412339"/>
                <a:chExt cx="524126" cy="278836"/>
              </a:xfrm>
            </p:grpSpPr>
            <p:sp>
              <p:nvSpPr>
                <p:cNvPr id="158" name="Oval 157">
                  <a:extLst>
                    <a:ext uri="{FF2B5EF4-FFF2-40B4-BE49-F238E27FC236}">
                      <a16:creationId xmlns:a16="http://schemas.microsoft.com/office/drawing/2014/main" id="{5D8574E5-389B-4950-A6EE-0A40BB4FA46B}"/>
                    </a:ext>
                  </a:extLst>
                </p:cNvPr>
                <p:cNvSpPr/>
                <p:nvPr/>
              </p:nvSpPr>
              <p:spPr>
                <a:xfrm>
                  <a:off x="9177148" y="5412339"/>
                  <a:ext cx="265984" cy="278836"/>
                </a:xfrm>
                <a:prstGeom prst="ellipse">
                  <a:avLst/>
                </a:prstGeom>
                <a:solidFill>
                  <a:srgbClr val="F098D7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9" name="TextBox 148">
                  <a:extLst>
                    <a:ext uri="{FF2B5EF4-FFF2-40B4-BE49-F238E27FC236}">
                      <a16:creationId xmlns:a16="http://schemas.microsoft.com/office/drawing/2014/main" id="{62A8555C-9D32-4943-8CB2-C1FA91DE1D26}"/>
                    </a:ext>
                  </a:extLst>
                </p:cNvPr>
                <p:cNvSpPr txBox="1"/>
                <p:nvPr/>
              </p:nvSpPr>
              <p:spPr>
                <a:xfrm>
                  <a:off x="9060109" y="543574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7</a:t>
                  </a:r>
                </a:p>
              </p:txBody>
            </p:sp>
          </p:grpSp>
          <p:sp>
            <p:nvSpPr>
              <p:cNvPr id="108" name="TextBox 97">
                <a:extLst>
                  <a:ext uri="{FF2B5EF4-FFF2-40B4-BE49-F238E27FC236}">
                    <a16:creationId xmlns:a16="http://schemas.microsoft.com/office/drawing/2014/main" id="{47B15609-5396-4E12-B974-37A1C5BA6D64}"/>
                  </a:ext>
                </a:extLst>
              </p:cNvPr>
              <p:cNvSpPr txBox="1"/>
              <p:nvPr/>
            </p:nvSpPr>
            <p:spPr>
              <a:xfrm>
                <a:off x="7673220" y="2462873"/>
                <a:ext cx="562829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Bitung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eaport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09" name="Group 108">
                <a:extLst>
                  <a:ext uri="{FF2B5EF4-FFF2-40B4-BE49-F238E27FC236}">
                    <a16:creationId xmlns:a16="http://schemas.microsoft.com/office/drawing/2014/main" id="{F14412E4-AEEB-4EE9-91F5-3DE3AC4A0CF0}"/>
                  </a:ext>
                </a:extLst>
              </p:cNvPr>
              <p:cNvGrpSpPr/>
              <p:nvPr/>
            </p:nvGrpSpPr>
            <p:grpSpPr>
              <a:xfrm>
                <a:off x="5410571" y="4668692"/>
                <a:ext cx="524126" cy="278836"/>
                <a:chOff x="9060109" y="5412339"/>
                <a:chExt cx="524126" cy="278836"/>
              </a:xfrm>
            </p:grpSpPr>
            <p:sp>
              <p:nvSpPr>
                <p:cNvPr id="156" name="Oval 155">
                  <a:extLst>
                    <a:ext uri="{FF2B5EF4-FFF2-40B4-BE49-F238E27FC236}">
                      <a16:creationId xmlns:a16="http://schemas.microsoft.com/office/drawing/2014/main" id="{B2895A3A-56F4-4F35-978A-746682A2A50F}"/>
                    </a:ext>
                  </a:extLst>
                </p:cNvPr>
                <p:cNvSpPr/>
                <p:nvPr/>
              </p:nvSpPr>
              <p:spPr>
                <a:xfrm>
                  <a:off x="9177148" y="5412339"/>
                  <a:ext cx="265984" cy="278836"/>
                </a:xfrm>
                <a:prstGeom prst="ellipse">
                  <a:avLst/>
                </a:prstGeom>
                <a:solidFill>
                  <a:srgbClr val="F098D7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7" name="TextBox 146">
                  <a:extLst>
                    <a:ext uri="{FF2B5EF4-FFF2-40B4-BE49-F238E27FC236}">
                      <a16:creationId xmlns:a16="http://schemas.microsoft.com/office/drawing/2014/main" id="{1B6788E7-3C95-4F09-85D0-12F507AA9702}"/>
                    </a:ext>
                  </a:extLst>
                </p:cNvPr>
                <p:cNvSpPr txBox="1"/>
                <p:nvPr/>
              </p:nvSpPr>
              <p:spPr>
                <a:xfrm>
                  <a:off x="9060109" y="543574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8</a:t>
                  </a:r>
                </a:p>
              </p:txBody>
            </p:sp>
          </p:grpSp>
          <p:sp>
            <p:nvSpPr>
              <p:cNvPr id="110" name="TextBox 99">
                <a:extLst>
                  <a:ext uri="{FF2B5EF4-FFF2-40B4-BE49-F238E27FC236}">
                    <a16:creationId xmlns:a16="http://schemas.microsoft.com/office/drawing/2014/main" id="{0E0119D1-3522-4E17-BB4C-6A29A358EDB8}"/>
                  </a:ext>
                </a:extLst>
              </p:cNvPr>
              <p:cNvSpPr txBox="1"/>
              <p:nvPr/>
            </p:nvSpPr>
            <p:spPr>
              <a:xfrm>
                <a:off x="5655149" y="5132972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LNG Regasification Terminal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398A6D54-3BD4-4F28-90C7-6B8B85C2D3F5}"/>
                  </a:ext>
                </a:extLst>
              </p:cNvPr>
              <p:cNvGrpSpPr/>
              <p:nvPr/>
            </p:nvGrpSpPr>
            <p:grpSpPr>
              <a:xfrm>
                <a:off x="4476136" y="4210513"/>
                <a:ext cx="524126" cy="278836"/>
                <a:chOff x="9060109" y="5412339"/>
                <a:chExt cx="524126" cy="278836"/>
              </a:xfrm>
            </p:grpSpPr>
            <p:sp>
              <p:nvSpPr>
                <p:cNvPr id="154" name="Oval 153">
                  <a:extLst>
                    <a:ext uri="{FF2B5EF4-FFF2-40B4-BE49-F238E27FC236}">
                      <a16:creationId xmlns:a16="http://schemas.microsoft.com/office/drawing/2014/main" id="{E2E3398E-E61F-45C2-B382-46170BDB1D2B}"/>
                    </a:ext>
                  </a:extLst>
                </p:cNvPr>
                <p:cNvSpPr/>
                <p:nvPr/>
              </p:nvSpPr>
              <p:spPr>
                <a:xfrm>
                  <a:off x="9177148" y="5412339"/>
                  <a:ext cx="265984" cy="278836"/>
                </a:xfrm>
                <a:prstGeom prst="ellipse">
                  <a:avLst/>
                </a:prstGeom>
                <a:solidFill>
                  <a:srgbClr val="F098D7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5" name="TextBox 144">
                  <a:extLst>
                    <a:ext uri="{FF2B5EF4-FFF2-40B4-BE49-F238E27FC236}">
                      <a16:creationId xmlns:a16="http://schemas.microsoft.com/office/drawing/2014/main" id="{CEC8BE79-E5BC-4156-8616-255F19341FD0}"/>
                    </a:ext>
                  </a:extLst>
                </p:cNvPr>
                <p:cNvSpPr txBox="1"/>
                <p:nvPr/>
              </p:nvSpPr>
              <p:spPr>
                <a:xfrm>
                  <a:off x="9060109" y="543574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39</a:t>
                  </a:r>
                </a:p>
              </p:txBody>
            </p:sp>
          </p:grpSp>
          <p:sp>
            <p:nvSpPr>
              <p:cNvPr id="112" name="TextBox 101">
                <a:extLst>
                  <a:ext uri="{FF2B5EF4-FFF2-40B4-BE49-F238E27FC236}">
                    <a16:creationId xmlns:a16="http://schemas.microsoft.com/office/drawing/2014/main" id="{DC59B900-1146-488E-BF78-F599D6B0A015}"/>
                  </a:ext>
                </a:extLst>
              </p:cNvPr>
              <p:cNvSpPr txBox="1"/>
              <p:nvPr/>
            </p:nvSpPr>
            <p:spPr>
              <a:xfrm>
                <a:off x="4553779" y="3891781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Hazardous Wast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ocessing Facilit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3" name="Group 112">
                <a:extLst>
                  <a:ext uri="{FF2B5EF4-FFF2-40B4-BE49-F238E27FC236}">
                    <a16:creationId xmlns:a16="http://schemas.microsoft.com/office/drawing/2014/main" id="{35D85FA4-F934-487A-A004-EF9E2BF726BB}"/>
                  </a:ext>
                </a:extLst>
              </p:cNvPr>
              <p:cNvGrpSpPr/>
              <p:nvPr/>
            </p:nvGrpSpPr>
            <p:grpSpPr>
              <a:xfrm>
                <a:off x="4104617" y="4452083"/>
                <a:ext cx="524126" cy="278836"/>
                <a:chOff x="9060109" y="5412339"/>
                <a:chExt cx="524126" cy="278836"/>
              </a:xfrm>
            </p:grpSpPr>
            <p:sp>
              <p:nvSpPr>
                <p:cNvPr id="152" name="Oval 151">
                  <a:extLst>
                    <a:ext uri="{FF2B5EF4-FFF2-40B4-BE49-F238E27FC236}">
                      <a16:creationId xmlns:a16="http://schemas.microsoft.com/office/drawing/2014/main" id="{7A73941A-3D29-4119-9D6D-5F6FAC9D7E6A}"/>
                    </a:ext>
                  </a:extLst>
                </p:cNvPr>
                <p:cNvSpPr/>
                <p:nvPr/>
              </p:nvSpPr>
              <p:spPr>
                <a:xfrm>
                  <a:off x="9177148" y="5412339"/>
                  <a:ext cx="265984" cy="278836"/>
                </a:xfrm>
                <a:prstGeom prst="ellipse">
                  <a:avLst/>
                </a:prstGeom>
                <a:solidFill>
                  <a:srgbClr val="F098D7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TextBox 142">
                  <a:extLst>
                    <a:ext uri="{FF2B5EF4-FFF2-40B4-BE49-F238E27FC236}">
                      <a16:creationId xmlns:a16="http://schemas.microsoft.com/office/drawing/2014/main" id="{C6E57C7B-4A2D-47DE-B729-DC35EDE604B1}"/>
                    </a:ext>
                  </a:extLst>
                </p:cNvPr>
                <p:cNvSpPr txBox="1"/>
                <p:nvPr/>
              </p:nvSpPr>
              <p:spPr>
                <a:xfrm>
                  <a:off x="9060109" y="543574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0</a:t>
                  </a:r>
                </a:p>
              </p:txBody>
            </p:sp>
          </p:grpSp>
          <p:sp>
            <p:nvSpPr>
              <p:cNvPr id="114" name="TextBox 103">
                <a:extLst>
                  <a:ext uri="{FF2B5EF4-FFF2-40B4-BE49-F238E27FC236}">
                    <a16:creationId xmlns:a16="http://schemas.microsoft.com/office/drawing/2014/main" id="{CA2B8968-9791-43D5-A673-574B38A2C3D1}"/>
                  </a:ext>
                </a:extLst>
              </p:cNvPr>
              <p:cNvSpPr txBox="1"/>
              <p:nvPr/>
            </p:nvSpPr>
            <p:spPr>
              <a:xfrm>
                <a:off x="3414312" y="4541066"/>
                <a:ext cx="911825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irport Cargo Village</a:t>
                </a:r>
              </a:p>
            </p:txBody>
          </p: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B32BAB59-27D0-442B-BDF0-738D1A5C9564}"/>
                  </a:ext>
                </a:extLst>
              </p:cNvPr>
              <p:cNvGrpSpPr/>
              <p:nvPr/>
            </p:nvGrpSpPr>
            <p:grpSpPr>
              <a:xfrm>
                <a:off x="3030256" y="3999149"/>
                <a:ext cx="524126" cy="278836"/>
                <a:chOff x="9060109" y="5412339"/>
                <a:chExt cx="524126" cy="278836"/>
              </a:xfrm>
            </p:grpSpPr>
            <p:sp>
              <p:nvSpPr>
                <p:cNvPr id="150" name="Oval 149">
                  <a:extLst>
                    <a:ext uri="{FF2B5EF4-FFF2-40B4-BE49-F238E27FC236}">
                      <a16:creationId xmlns:a16="http://schemas.microsoft.com/office/drawing/2014/main" id="{F82580A2-7EBD-4C81-9808-BF2E0C3D0101}"/>
                    </a:ext>
                  </a:extLst>
                </p:cNvPr>
                <p:cNvSpPr/>
                <p:nvPr/>
              </p:nvSpPr>
              <p:spPr>
                <a:xfrm>
                  <a:off x="9177148" y="5412339"/>
                  <a:ext cx="265984" cy="278836"/>
                </a:xfrm>
                <a:prstGeom prst="ellipse">
                  <a:avLst/>
                </a:prstGeom>
                <a:solidFill>
                  <a:srgbClr val="F098D7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1" name="TextBox 140">
                  <a:extLst>
                    <a:ext uri="{FF2B5EF4-FFF2-40B4-BE49-F238E27FC236}">
                      <a16:creationId xmlns:a16="http://schemas.microsoft.com/office/drawing/2014/main" id="{9D7EBAF4-E69C-4BAC-93F0-1B2907344C16}"/>
                    </a:ext>
                  </a:extLst>
                </p:cNvPr>
                <p:cNvSpPr txBox="1"/>
                <p:nvPr/>
              </p:nvSpPr>
              <p:spPr>
                <a:xfrm>
                  <a:off x="9060109" y="543574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1</a:t>
                  </a:r>
                </a:p>
              </p:txBody>
            </p:sp>
          </p:grpSp>
          <p:sp>
            <p:nvSpPr>
              <p:cNvPr id="116" name="TextBox 105">
                <a:extLst>
                  <a:ext uri="{FF2B5EF4-FFF2-40B4-BE49-F238E27FC236}">
                    <a16:creationId xmlns:a16="http://schemas.microsoft.com/office/drawing/2014/main" id="{B45C3EAE-2E72-43E6-83F7-CB109F863614}"/>
                  </a:ext>
                </a:extLst>
              </p:cNvPr>
              <p:cNvSpPr txBox="1"/>
              <p:nvPr/>
            </p:nvSpPr>
            <p:spPr>
              <a:xfrm>
                <a:off x="2467904" y="4542051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EV Charging Station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7" name="Group 116">
                <a:extLst>
                  <a:ext uri="{FF2B5EF4-FFF2-40B4-BE49-F238E27FC236}">
                    <a16:creationId xmlns:a16="http://schemas.microsoft.com/office/drawing/2014/main" id="{CB5BFC07-8DFA-4F4F-8D49-DD2DEE8004C1}"/>
                  </a:ext>
                </a:extLst>
              </p:cNvPr>
              <p:cNvGrpSpPr/>
              <p:nvPr/>
            </p:nvGrpSpPr>
            <p:grpSpPr>
              <a:xfrm>
                <a:off x="333750" y="1223135"/>
                <a:ext cx="524126" cy="278836"/>
                <a:chOff x="333750" y="1223135"/>
                <a:chExt cx="524126" cy="278836"/>
              </a:xfrm>
            </p:grpSpPr>
            <p:sp>
              <p:nvSpPr>
                <p:cNvPr id="148" name="Oval 147">
                  <a:extLst>
                    <a:ext uri="{FF2B5EF4-FFF2-40B4-BE49-F238E27FC236}">
                      <a16:creationId xmlns:a16="http://schemas.microsoft.com/office/drawing/2014/main" id="{4F22AB15-E3F6-4160-A6B9-56B74B3735B9}"/>
                    </a:ext>
                  </a:extLst>
                </p:cNvPr>
                <p:cNvSpPr/>
                <p:nvPr/>
              </p:nvSpPr>
              <p:spPr>
                <a:xfrm>
                  <a:off x="461422" y="1223135"/>
                  <a:ext cx="265984" cy="278836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9" name="TextBox 138">
                  <a:extLst>
                    <a:ext uri="{FF2B5EF4-FFF2-40B4-BE49-F238E27FC236}">
                      <a16:creationId xmlns:a16="http://schemas.microsoft.com/office/drawing/2014/main" id="{CFDC45C3-3EE2-4E96-B28C-4B6C463336D6}"/>
                    </a:ext>
                  </a:extLst>
                </p:cNvPr>
                <p:cNvSpPr txBox="1"/>
                <p:nvPr/>
              </p:nvSpPr>
              <p:spPr>
                <a:xfrm>
                  <a:off x="333750" y="12252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2</a:t>
                  </a:r>
                </a:p>
              </p:txBody>
            </p:sp>
          </p:grpSp>
          <p:sp>
            <p:nvSpPr>
              <p:cNvPr id="118" name="TextBox 107">
                <a:extLst>
                  <a:ext uri="{FF2B5EF4-FFF2-40B4-BE49-F238E27FC236}">
                    <a16:creationId xmlns:a16="http://schemas.microsoft.com/office/drawing/2014/main" id="{A1CCCA0A-4035-4370-B973-DC3F710F04BF}"/>
                  </a:ext>
                </a:extLst>
              </p:cNvPr>
              <p:cNvSpPr txBox="1"/>
              <p:nvPr/>
            </p:nvSpPr>
            <p:spPr>
              <a:xfrm>
                <a:off x="694857" y="1169093"/>
                <a:ext cx="120626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KI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Ladong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Management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19" name="Group 118">
                <a:extLst>
                  <a:ext uri="{FF2B5EF4-FFF2-40B4-BE49-F238E27FC236}">
                    <a16:creationId xmlns:a16="http://schemas.microsoft.com/office/drawing/2014/main" id="{1BDCF23A-80F2-489D-8265-156ECB33911B}"/>
                  </a:ext>
                </a:extLst>
              </p:cNvPr>
              <p:cNvGrpSpPr/>
              <p:nvPr/>
            </p:nvGrpSpPr>
            <p:grpSpPr>
              <a:xfrm>
                <a:off x="2665217" y="3810243"/>
                <a:ext cx="524126" cy="278836"/>
                <a:chOff x="333750" y="1223135"/>
                <a:chExt cx="524126" cy="278836"/>
              </a:xfrm>
            </p:grpSpPr>
            <p:sp>
              <p:nvSpPr>
                <p:cNvPr id="146" name="Oval 145">
                  <a:extLst>
                    <a:ext uri="{FF2B5EF4-FFF2-40B4-BE49-F238E27FC236}">
                      <a16:creationId xmlns:a16="http://schemas.microsoft.com/office/drawing/2014/main" id="{FC33FBCB-7D56-421C-B8E7-510AA9040423}"/>
                    </a:ext>
                  </a:extLst>
                </p:cNvPr>
                <p:cNvSpPr/>
                <p:nvPr/>
              </p:nvSpPr>
              <p:spPr>
                <a:xfrm>
                  <a:off x="461422" y="1223135"/>
                  <a:ext cx="265984" cy="278836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7" name="TextBox 136">
                  <a:extLst>
                    <a:ext uri="{FF2B5EF4-FFF2-40B4-BE49-F238E27FC236}">
                      <a16:creationId xmlns:a16="http://schemas.microsoft.com/office/drawing/2014/main" id="{49BA0A53-3442-457F-8B0F-6D7CE3A79DDE}"/>
                    </a:ext>
                  </a:extLst>
                </p:cNvPr>
                <p:cNvSpPr txBox="1"/>
                <p:nvPr/>
              </p:nvSpPr>
              <p:spPr>
                <a:xfrm>
                  <a:off x="333750" y="12252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3</a:t>
                  </a:r>
                </a:p>
              </p:txBody>
            </p:sp>
          </p:grpSp>
          <p:sp>
            <p:nvSpPr>
              <p:cNvPr id="120" name="TextBox 109">
                <a:extLst>
                  <a:ext uri="{FF2B5EF4-FFF2-40B4-BE49-F238E27FC236}">
                    <a16:creationId xmlns:a16="http://schemas.microsoft.com/office/drawing/2014/main" id="{D7696FFE-B122-41EB-B425-3EBD674FDEDB}"/>
                  </a:ext>
                </a:extLst>
              </p:cNvPr>
              <p:cNvSpPr txBox="1"/>
              <p:nvPr/>
            </p:nvSpPr>
            <p:spPr>
              <a:xfrm>
                <a:off x="1679866" y="3755449"/>
                <a:ext cx="1206262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KI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esawaran</a:t>
                </a: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Management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AF50F5CE-6CC7-4220-A243-E18AEFD1873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3270033" y="4290120"/>
                <a:ext cx="4004" cy="530125"/>
              </a:xfrm>
              <a:prstGeom prst="line">
                <a:avLst/>
              </a:prstGeom>
              <a:ln>
                <a:solidFill>
                  <a:srgbClr val="F098D7"/>
                </a:solidFill>
                <a:prstDash val="dash"/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2" name="Group 121">
                <a:extLst>
                  <a:ext uri="{FF2B5EF4-FFF2-40B4-BE49-F238E27FC236}">
                    <a16:creationId xmlns:a16="http://schemas.microsoft.com/office/drawing/2014/main" id="{2707C228-1CF0-4BF7-812D-0B7786911ED7}"/>
                  </a:ext>
                </a:extLst>
              </p:cNvPr>
              <p:cNvGrpSpPr/>
              <p:nvPr/>
            </p:nvGrpSpPr>
            <p:grpSpPr>
              <a:xfrm>
                <a:off x="3142739" y="3801984"/>
                <a:ext cx="524126" cy="278836"/>
                <a:chOff x="333750" y="1223135"/>
                <a:chExt cx="524126" cy="278836"/>
              </a:xfrm>
            </p:grpSpPr>
            <p:sp>
              <p:nvSpPr>
                <p:cNvPr id="144" name="Oval 143">
                  <a:extLst>
                    <a:ext uri="{FF2B5EF4-FFF2-40B4-BE49-F238E27FC236}">
                      <a16:creationId xmlns:a16="http://schemas.microsoft.com/office/drawing/2014/main" id="{A3ED8AC3-6BC4-4CEB-A5FA-8BBAA1AC1C46}"/>
                    </a:ext>
                  </a:extLst>
                </p:cNvPr>
                <p:cNvSpPr/>
                <p:nvPr/>
              </p:nvSpPr>
              <p:spPr>
                <a:xfrm>
                  <a:off x="461422" y="1223135"/>
                  <a:ext cx="265984" cy="278836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5" name="TextBox 134">
                  <a:extLst>
                    <a:ext uri="{FF2B5EF4-FFF2-40B4-BE49-F238E27FC236}">
                      <a16:creationId xmlns:a16="http://schemas.microsoft.com/office/drawing/2014/main" id="{A5CE99DC-9085-4CE2-9B8B-2E810B5279D5}"/>
                    </a:ext>
                  </a:extLst>
                </p:cNvPr>
                <p:cNvSpPr txBox="1"/>
                <p:nvPr/>
              </p:nvSpPr>
              <p:spPr>
                <a:xfrm>
                  <a:off x="333750" y="12252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4</a:t>
                  </a:r>
                </a:p>
              </p:txBody>
            </p:sp>
          </p:grp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E251D531-9D67-457C-A22F-9852D59C90C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441451" y="4102591"/>
                <a:ext cx="0" cy="1201626"/>
              </a:xfrm>
              <a:prstGeom prst="line">
                <a:avLst/>
              </a:prstGeom>
              <a:ln>
                <a:solidFill>
                  <a:srgbClr val="F4B183"/>
                </a:solidFill>
                <a:prstDash val="dash"/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4" name="TextBox 113">
                <a:extLst>
                  <a:ext uri="{FF2B5EF4-FFF2-40B4-BE49-F238E27FC236}">
                    <a16:creationId xmlns:a16="http://schemas.microsoft.com/office/drawing/2014/main" id="{DCACA4BA-F318-4580-8797-500428B20E5F}"/>
                  </a:ext>
                </a:extLst>
              </p:cNvPr>
              <p:cNvSpPr txBox="1"/>
              <p:nvPr/>
            </p:nvSpPr>
            <p:spPr>
              <a:xfrm>
                <a:off x="2260279" y="4869462"/>
                <a:ext cx="1206263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Automotive Component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6E8F950E-6812-40A4-B099-38D21E895BA9}"/>
                  </a:ext>
                </a:extLst>
              </p:cNvPr>
              <p:cNvGrpSpPr/>
              <p:nvPr/>
            </p:nvGrpSpPr>
            <p:grpSpPr>
              <a:xfrm>
                <a:off x="3375211" y="3883138"/>
                <a:ext cx="524126" cy="278836"/>
                <a:chOff x="333750" y="1223135"/>
                <a:chExt cx="524126" cy="278836"/>
              </a:xfrm>
            </p:grpSpPr>
            <p:sp>
              <p:nvSpPr>
                <p:cNvPr id="142" name="Oval 141">
                  <a:extLst>
                    <a:ext uri="{FF2B5EF4-FFF2-40B4-BE49-F238E27FC236}">
                      <a16:creationId xmlns:a16="http://schemas.microsoft.com/office/drawing/2014/main" id="{7E6690C2-5EBC-4995-8058-C13219A64C55}"/>
                    </a:ext>
                  </a:extLst>
                </p:cNvPr>
                <p:cNvSpPr/>
                <p:nvPr/>
              </p:nvSpPr>
              <p:spPr>
                <a:xfrm>
                  <a:off x="461422" y="1223135"/>
                  <a:ext cx="265984" cy="278836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" name="TextBox 132">
                  <a:extLst>
                    <a:ext uri="{FF2B5EF4-FFF2-40B4-BE49-F238E27FC236}">
                      <a16:creationId xmlns:a16="http://schemas.microsoft.com/office/drawing/2014/main" id="{B7937382-03B7-4230-9D2F-EE8D0612E596}"/>
                    </a:ext>
                  </a:extLst>
                </p:cNvPr>
                <p:cNvSpPr txBox="1"/>
                <p:nvPr/>
              </p:nvSpPr>
              <p:spPr>
                <a:xfrm>
                  <a:off x="333750" y="12252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5</a:t>
                  </a:r>
                </a:p>
              </p:txBody>
            </p:sp>
          </p:grp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89581417-9F98-44E0-A4A2-C3C26A83AB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1567" y="4130106"/>
                <a:ext cx="0" cy="1201626"/>
              </a:xfrm>
              <a:prstGeom prst="line">
                <a:avLst/>
              </a:prstGeom>
              <a:ln>
                <a:solidFill>
                  <a:srgbClr val="F4B183"/>
                </a:solidFill>
                <a:prstDash val="dash"/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7" name="TextBox 116">
                <a:extLst>
                  <a:ext uri="{FF2B5EF4-FFF2-40B4-BE49-F238E27FC236}">
                    <a16:creationId xmlns:a16="http://schemas.microsoft.com/office/drawing/2014/main" id="{5663D476-7E0A-4072-80FE-D0AC8B173F3B}"/>
                  </a:ext>
                </a:extLst>
              </p:cNvPr>
              <p:cNvSpPr txBox="1"/>
              <p:nvPr/>
            </p:nvSpPr>
            <p:spPr>
              <a:xfrm>
                <a:off x="3587355" y="5157737"/>
                <a:ext cx="1206263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harmaceutical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FD1FB08A-7F4F-4EE3-B260-68317DF4BCD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5660602" y="4961727"/>
                <a:ext cx="9710" cy="342490"/>
              </a:xfrm>
              <a:prstGeom prst="line">
                <a:avLst/>
              </a:prstGeom>
              <a:ln>
                <a:solidFill>
                  <a:srgbClr val="F098D7"/>
                </a:solidFill>
                <a:prstDash val="dash"/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129" name="Group 128">
                <a:extLst>
                  <a:ext uri="{FF2B5EF4-FFF2-40B4-BE49-F238E27FC236}">
                    <a16:creationId xmlns:a16="http://schemas.microsoft.com/office/drawing/2014/main" id="{A47135F6-1506-42BD-BBC5-F9645B6E53B1}"/>
                  </a:ext>
                </a:extLst>
              </p:cNvPr>
              <p:cNvGrpSpPr/>
              <p:nvPr/>
            </p:nvGrpSpPr>
            <p:grpSpPr>
              <a:xfrm>
                <a:off x="4782278" y="4173247"/>
                <a:ext cx="524126" cy="278836"/>
                <a:chOff x="333750" y="1223135"/>
                <a:chExt cx="524126" cy="278836"/>
              </a:xfrm>
            </p:grpSpPr>
            <p:sp>
              <p:nvSpPr>
                <p:cNvPr id="140" name="Oval 139">
                  <a:extLst>
                    <a:ext uri="{FF2B5EF4-FFF2-40B4-BE49-F238E27FC236}">
                      <a16:creationId xmlns:a16="http://schemas.microsoft.com/office/drawing/2014/main" id="{BBBDA37F-1B14-4844-A0CB-E6A49AD1E7D5}"/>
                    </a:ext>
                  </a:extLst>
                </p:cNvPr>
                <p:cNvSpPr/>
                <p:nvPr/>
              </p:nvSpPr>
              <p:spPr>
                <a:xfrm>
                  <a:off x="461422" y="1223135"/>
                  <a:ext cx="265984" cy="278836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1" name="TextBox 130">
                  <a:extLst>
                    <a:ext uri="{FF2B5EF4-FFF2-40B4-BE49-F238E27FC236}">
                      <a16:creationId xmlns:a16="http://schemas.microsoft.com/office/drawing/2014/main" id="{49ACD1A8-4ED3-4826-91C4-74B9B37FAC6C}"/>
                    </a:ext>
                  </a:extLst>
                </p:cNvPr>
                <p:cNvSpPr txBox="1"/>
                <p:nvPr/>
              </p:nvSpPr>
              <p:spPr>
                <a:xfrm>
                  <a:off x="333750" y="12252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6</a:t>
                  </a:r>
                </a:p>
              </p:txBody>
            </p:sp>
          </p:grpSp>
          <p:cxnSp>
            <p:nvCxnSpPr>
              <p:cNvPr id="130" name="Connector: Elbow 129">
                <a:extLst>
                  <a:ext uri="{FF2B5EF4-FFF2-40B4-BE49-F238E27FC236}">
                    <a16:creationId xmlns:a16="http://schemas.microsoft.com/office/drawing/2014/main" id="{3F05FD65-1AD4-4073-AD5C-6A18F5429000}"/>
                  </a:ext>
                </a:extLst>
              </p:cNvPr>
              <p:cNvCxnSpPr/>
              <p:nvPr/>
            </p:nvCxnSpPr>
            <p:spPr>
              <a:xfrm rot="16200000" flipH="1">
                <a:off x="4556913" y="4931686"/>
                <a:ext cx="1470592" cy="232550"/>
              </a:xfrm>
              <a:prstGeom prst="bentConnector3">
                <a:avLst>
                  <a:gd name="adj1" fmla="val -611"/>
                </a:avLst>
              </a:prstGeom>
              <a:ln>
                <a:solidFill>
                  <a:srgbClr val="F4B183"/>
                </a:solidFill>
                <a:prstDash val="dash"/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1" name="TextBox 120">
                <a:extLst>
                  <a:ext uri="{FF2B5EF4-FFF2-40B4-BE49-F238E27FC236}">
                    <a16:creationId xmlns:a16="http://schemas.microsoft.com/office/drawing/2014/main" id="{E366CED5-B963-4522-AA23-CB29FB4C72EB}"/>
                  </a:ext>
                </a:extLst>
              </p:cNvPr>
              <p:cNvSpPr txBox="1"/>
              <p:nvPr/>
            </p:nvSpPr>
            <p:spPr>
              <a:xfrm>
                <a:off x="4855442" y="5457313"/>
                <a:ext cx="607243" cy="5078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Soda Ash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84A1FBCE-4797-42F1-84D9-689152F54B2E}"/>
                  </a:ext>
                </a:extLst>
              </p:cNvPr>
              <p:cNvGrpSpPr/>
              <p:nvPr/>
            </p:nvGrpSpPr>
            <p:grpSpPr>
              <a:xfrm>
                <a:off x="1914353" y="2444172"/>
                <a:ext cx="524126" cy="278836"/>
                <a:chOff x="5825863" y="1961902"/>
                <a:chExt cx="524126" cy="278836"/>
              </a:xfrm>
            </p:grpSpPr>
            <p:sp>
              <p:nvSpPr>
                <p:cNvPr id="138" name="Oval 137">
                  <a:extLst>
                    <a:ext uri="{FF2B5EF4-FFF2-40B4-BE49-F238E27FC236}">
                      <a16:creationId xmlns:a16="http://schemas.microsoft.com/office/drawing/2014/main" id="{4C4FAAFA-47AC-4D3F-8D5D-91406B2F7C78}"/>
                    </a:ext>
                  </a:extLst>
                </p:cNvPr>
                <p:cNvSpPr/>
                <p:nvPr/>
              </p:nvSpPr>
              <p:spPr>
                <a:xfrm>
                  <a:off x="5962697" y="1961902"/>
                  <a:ext cx="265984" cy="278836"/>
                </a:xfrm>
                <a:prstGeom prst="ellipse">
                  <a:avLst/>
                </a:prstGeom>
                <a:solidFill>
                  <a:srgbClr val="92D050"/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9" name="TextBox 128">
                  <a:extLst>
                    <a:ext uri="{FF2B5EF4-FFF2-40B4-BE49-F238E27FC236}">
                      <a16:creationId xmlns:a16="http://schemas.microsoft.com/office/drawing/2014/main" id="{D823B243-D1A2-4A56-8035-7C2DA4EA82FE}"/>
                    </a:ext>
                  </a:extLst>
                </p:cNvPr>
                <p:cNvSpPr txBox="1"/>
                <p:nvPr/>
              </p:nvSpPr>
              <p:spPr>
                <a:xfrm>
                  <a:off x="5825863" y="19857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27</a:t>
                  </a:r>
                </a:p>
              </p:txBody>
            </p:sp>
          </p:grpSp>
          <p:sp>
            <p:nvSpPr>
              <p:cNvPr id="133" name="TextBox 122">
                <a:extLst>
                  <a:ext uri="{FF2B5EF4-FFF2-40B4-BE49-F238E27FC236}">
                    <a16:creationId xmlns:a16="http://schemas.microsoft.com/office/drawing/2014/main" id="{25839F84-BEB1-4001-B0C6-01FE0C539926}"/>
                  </a:ext>
                </a:extLst>
              </p:cNvPr>
              <p:cNvSpPr txBox="1"/>
              <p:nvPr/>
            </p:nvSpPr>
            <p:spPr>
              <a:xfrm>
                <a:off x="1428182" y="2242317"/>
                <a:ext cx="984463" cy="2308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CPO Industry</a:t>
                </a:r>
                <a:endParaRPr kumimoji="0" lang="en-ID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pSp>
            <p:nvGrpSpPr>
              <p:cNvPr id="134" name="Group 133">
                <a:extLst>
                  <a:ext uri="{FF2B5EF4-FFF2-40B4-BE49-F238E27FC236}">
                    <a16:creationId xmlns:a16="http://schemas.microsoft.com/office/drawing/2014/main" id="{D63A2A6A-44AC-4201-8E3D-C4769167B613}"/>
                  </a:ext>
                </a:extLst>
              </p:cNvPr>
              <p:cNvGrpSpPr/>
              <p:nvPr/>
            </p:nvGrpSpPr>
            <p:grpSpPr>
              <a:xfrm>
                <a:off x="9014609" y="2913493"/>
                <a:ext cx="524126" cy="278836"/>
                <a:chOff x="333750" y="1223135"/>
                <a:chExt cx="524126" cy="278836"/>
              </a:xfrm>
            </p:grpSpPr>
            <p:sp>
              <p:nvSpPr>
                <p:cNvPr id="136" name="Oval 135">
                  <a:extLst>
                    <a:ext uri="{FF2B5EF4-FFF2-40B4-BE49-F238E27FC236}">
                      <a16:creationId xmlns:a16="http://schemas.microsoft.com/office/drawing/2014/main" id="{9738B95B-9C43-40EA-8847-87D0AF7C0569}"/>
                    </a:ext>
                  </a:extLst>
                </p:cNvPr>
                <p:cNvSpPr/>
                <p:nvPr/>
              </p:nvSpPr>
              <p:spPr>
                <a:xfrm>
                  <a:off x="461422" y="1223135"/>
                  <a:ext cx="265984" cy="278836"/>
                </a:xfrm>
                <a:prstGeom prst="ellipse">
                  <a:avLst/>
                </a:prstGeom>
                <a:solidFill>
                  <a:schemeClr val="accent2">
                    <a:lumMod val="60000"/>
                    <a:lumOff val="40000"/>
                  </a:schemeClr>
                </a:solidFill>
                <a:ln w="12700" cap="flat" cmpd="sng" algn="ctr">
                  <a:solidFill>
                    <a:schemeClr val="bg1"/>
                  </a:solidFill>
                  <a:prstDash val="soli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anchor="ctr"/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9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37" name="TextBox 126">
                  <a:extLst>
                    <a:ext uri="{FF2B5EF4-FFF2-40B4-BE49-F238E27FC236}">
                      <a16:creationId xmlns:a16="http://schemas.microsoft.com/office/drawing/2014/main" id="{C345535D-41FD-45E4-8206-E3EB81CAD978}"/>
                    </a:ext>
                  </a:extLst>
                </p:cNvPr>
                <p:cNvSpPr txBox="1"/>
                <p:nvPr/>
              </p:nvSpPr>
              <p:spPr>
                <a:xfrm>
                  <a:off x="333750" y="1225276"/>
                  <a:ext cx="52412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>
                  <a:defPPr>
                    <a:defRPr lang="id-ID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2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MS PGothic" panose="020B0600070205080204" pitchFamily="34" charset="-128"/>
                      <a:cs typeface="Arial" panose="020B0604020202020204" pitchFamily="34" charset="0"/>
                    </a:rPr>
                    <a:t>47</a:t>
                  </a:r>
                </a:p>
              </p:txBody>
            </p:sp>
          </p:grpSp>
          <p:cxnSp>
            <p:nvCxnSpPr>
              <p:cNvPr id="135" name="Straight Connector 134">
                <a:extLst>
                  <a:ext uri="{FF2B5EF4-FFF2-40B4-BE49-F238E27FC236}">
                    <a16:creationId xmlns:a16="http://schemas.microsoft.com/office/drawing/2014/main" id="{6C88D293-1B77-4C5F-8E5E-63FA38B57F74}"/>
                  </a:ext>
                </a:extLst>
              </p:cNvPr>
              <p:cNvCxnSpPr>
                <a:cxnSpLocks/>
                <a:stCxn id="136" idx="5"/>
              </p:cNvCxnSpPr>
              <p:nvPr/>
            </p:nvCxnSpPr>
            <p:spPr>
              <a:xfrm flipH="1">
                <a:off x="9355267" y="3151494"/>
                <a:ext cx="14046" cy="1912104"/>
              </a:xfrm>
              <a:prstGeom prst="line">
                <a:avLst/>
              </a:prstGeom>
              <a:ln>
                <a:solidFill>
                  <a:srgbClr val="F4B183"/>
                </a:solidFill>
                <a:prstDash val="dash"/>
                <a:headEnd type="oval" w="med" len="med"/>
                <a:tailEnd type="oval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12" name="Group 211">
            <a:extLst>
              <a:ext uri="{FF2B5EF4-FFF2-40B4-BE49-F238E27FC236}">
                <a16:creationId xmlns:a16="http://schemas.microsoft.com/office/drawing/2014/main" id="{2FA81E79-3D98-49CF-BE1B-C38CF17B7DD7}"/>
              </a:ext>
            </a:extLst>
          </p:cNvPr>
          <p:cNvGrpSpPr/>
          <p:nvPr/>
        </p:nvGrpSpPr>
        <p:grpSpPr>
          <a:xfrm>
            <a:off x="270167" y="4292636"/>
            <a:ext cx="3077198" cy="2122717"/>
            <a:chOff x="-2214678" y="4209576"/>
            <a:chExt cx="2305929" cy="2122717"/>
          </a:xfrm>
        </p:grpSpPr>
        <p:sp>
          <p:nvSpPr>
            <p:cNvPr id="213" name="TextBox 203">
              <a:extLst>
                <a:ext uri="{FF2B5EF4-FFF2-40B4-BE49-F238E27FC236}">
                  <a16:creationId xmlns:a16="http://schemas.microsoft.com/office/drawing/2014/main" id="{491726E9-5B5B-4CF4-9C88-9A7D25FF1C80}"/>
                </a:ext>
              </a:extLst>
            </p:cNvPr>
            <p:cNvSpPr txBox="1"/>
            <p:nvPr/>
          </p:nvSpPr>
          <p:spPr>
            <a:xfrm>
              <a:off x="-1846181" y="4547911"/>
              <a:ext cx="19374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Tourism</a:t>
              </a:r>
            </a:p>
          </p:txBody>
        </p:sp>
        <p:sp>
          <p:nvSpPr>
            <p:cNvPr id="214" name="TextBox 204">
              <a:extLst>
                <a:ext uri="{FF2B5EF4-FFF2-40B4-BE49-F238E27FC236}">
                  <a16:creationId xmlns:a16="http://schemas.microsoft.com/office/drawing/2014/main" id="{F31D412D-A8F6-4013-BBE6-EF7980088BAF}"/>
                </a:ext>
              </a:extLst>
            </p:cNvPr>
            <p:cNvSpPr txBox="1"/>
            <p:nvPr/>
          </p:nvSpPr>
          <p:spPr>
            <a:xfrm>
              <a:off x="-1846181" y="4778384"/>
              <a:ext cx="193743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Mineral </a:t>
              </a:r>
              <a:r>
                <a:rPr kumimoji="0" lang="en-ID" sz="140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Downstreaming</a:t>
              </a:r>
              <a:r>
                <a:rPr kumimoji="0" lang="en-ID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-Industry</a:t>
              </a:r>
            </a:p>
          </p:txBody>
        </p:sp>
        <p:sp>
          <p:nvSpPr>
            <p:cNvPr id="215" name="TextBox 205">
              <a:extLst>
                <a:ext uri="{FF2B5EF4-FFF2-40B4-BE49-F238E27FC236}">
                  <a16:creationId xmlns:a16="http://schemas.microsoft.com/office/drawing/2014/main" id="{3C1BE872-3099-4D3B-8E3A-A5E5749EFA78}"/>
                </a:ext>
              </a:extLst>
            </p:cNvPr>
            <p:cNvSpPr txBox="1"/>
            <p:nvPr/>
          </p:nvSpPr>
          <p:spPr>
            <a:xfrm>
              <a:off x="-1863505" y="5209840"/>
              <a:ext cx="1937432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400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Agricultural Product Processing Industry</a:t>
              </a:r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0FF05B77-7F05-4D1C-9DA7-7B415A46AE07}"/>
                </a:ext>
              </a:extLst>
            </p:cNvPr>
            <p:cNvGrpSpPr/>
            <p:nvPr/>
          </p:nvGrpSpPr>
          <p:grpSpPr>
            <a:xfrm>
              <a:off x="-2214678" y="4209576"/>
              <a:ext cx="2305929" cy="2122717"/>
              <a:chOff x="-2214678" y="4209576"/>
              <a:chExt cx="2305929" cy="2122717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5566F586-DF15-42C3-B469-66393C35ACD0}"/>
                  </a:ext>
                </a:extLst>
              </p:cNvPr>
              <p:cNvSpPr/>
              <p:nvPr/>
            </p:nvSpPr>
            <p:spPr>
              <a:xfrm>
                <a:off x="-2182170" y="4529274"/>
                <a:ext cx="265984" cy="278836"/>
              </a:xfrm>
              <a:prstGeom prst="ellipse">
                <a:avLst/>
              </a:prstGeom>
              <a:solidFill>
                <a:schemeClr val="accent4">
                  <a:lumMod val="5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18" name="TextBox 208">
                <a:extLst>
                  <a:ext uri="{FF2B5EF4-FFF2-40B4-BE49-F238E27FC236}">
                    <a16:creationId xmlns:a16="http://schemas.microsoft.com/office/drawing/2014/main" id="{596E9160-C262-407F-A867-67FD2C22E5C1}"/>
                  </a:ext>
                </a:extLst>
              </p:cNvPr>
              <p:cNvSpPr txBox="1"/>
              <p:nvPr/>
            </p:nvSpPr>
            <p:spPr>
              <a:xfrm>
                <a:off x="-2214678" y="4209576"/>
                <a:ext cx="1566550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D" sz="1600" b="1" i="0" u="sng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Project Sectors</a:t>
                </a:r>
              </a:p>
            </p:txBody>
          </p:sp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A7F79B7C-9BDF-497C-B060-7EE91E304097}"/>
                  </a:ext>
                </a:extLst>
              </p:cNvPr>
              <p:cNvSpPr/>
              <p:nvPr/>
            </p:nvSpPr>
            <p:spPr>
              <a:xfrm>
                <a:off x="-2184564" y="4867320"/>
                <a:ext cx="265984" cy="278836"/>
              </a:xfrm>
              <a:prstGeom prst="ellipse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0" name="Oval 219">
                <a:extLst>
                  <a:ext uri="{FF2B5EF4-FFF2-40B4-BE49-F238E27FC236}">
                    <a16:creationId xmlns:a16="http://schemas.microsoft.com/office/drawing/2014/main" id="{392CF07B-C110-476E-A2B2-7008626DCE2F}"/>
                  </a:ext>
                </a:extLst>
              </p:cNvPr>
              <p:cNvSpPr/>
              <p:nvPr/>
            </p:nvSpPr>
            <p:spPr>
              <a:xfrm>
                <a:off x="-2185915" y="5274712"/>
                <a:ext cx="265984" cy="278836"/>
              </a:xfrm>
              <a:prstGeom prst="ellipse">
                <a:avLst/>
              </a:prstGeom>
              <a:solidFill>
                <a:srgbClr val="92D050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3B730A22-D38A-41AB-85B6-DCFC53DCF19E}"/>
                  </a:ext>
                </a:extLst>
              </p:cNvPr>
              <p:cNvSpPr/>
              <p:nvPr/>
            </p:nvSpPr>
            <p:spPr>
              <a:xfrm>
                <a:off x="-2184493" y="5649885"/>
                <a:ext cx="265984" cy="278836"/>
              </a:xfrm>
              <a:prstGeom prst="ellipse">
                <a:avLst/>
              </a:prstGeom>
              <a:solidFill>
                <a:srgbClr val="F098D7"/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2" name="TextBox 212">
                <a:extLst>
                  <a:ext uri="{FF2B5EF4-FFF2-40B4-BE49-F238E27FC236}">
                    <a16:creationId xmlns:a16="http://schemas.microsoft.com/office/drawing/2014/main" id="{DCB55DCE-5818-43FA-A147-376AAB7F1D8E}"/>
                  </a:ext>
                </a:extLst>
              </p:cNvPr>
              <p:cNvSpPr txBox="1"/>
              <p:nvPr/>
            </p:nvSpPr>
            <p:spPr>
              <a:xfrm>
                <a:off x="-1846181" y="5673105"/>
                <a:ext cx="193743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D" sz="14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Infrastructure</a:t>
                </a:r>
              </a:p>
            </p:txBody>
          </p:sp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D0CF50EB-FCEB-4FDB-A11D-E2CE27CF887D}"/>
                  </a:ext>
                </a:extLst>
              </p:cNvPr>
              <p:cNvSpPr/>
              <p:nvPr/>
            </p:nvSpPr>
            <p:spPr>
              <a:xfrm>
                <a:off x="-2186100" y="6025149"/>
                <a:ext cx="265984" cy="278836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chemeClr val="bg1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anchor="ctr"/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4572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i="0" u="none" strike="noStrike" kern="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4" name="TextBox 214">
                <a:extLst>
                  <a:ext uri="{FF2B5EF4-FFF2-40B4-BE49-F238E27FC236}">
                    <a16:creationId xmlns:a16="http://schemas.microsoft.com/office/drawing/2014/main" id="{6F102091-2E6F-4C5C-BCBD-95DE754AB8C9}"/>
                  </a:ext>
                </a:extLst>
              </p:cNvPr>
              <p:cNvSpPr txBox="1"/>
              <p:nvPr/>
            </p:nvSpPr>
            <p:spPr>
              <a:xfrm>
                <a:off x="-1863505" y="6024516"/>
                <a:ext cx="1937432" cy="30777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ID" sz="140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Other Industry</a:t>
                </a:r>
              </a:p>
            </p:txBody>
          </p:sp>
        </p:grpSp>
      </p:grpSp>
      <p:sp>
        <p:nvSpPr>
          <p:cNvPr id="225" name="TextBox 224">
            <a:extLst>
              <a:ext uri="{FF2B5EF4-FFF2-40B4-BE49-F238E27FC236}">
                <a16:creationId xmlns:a16="http://schemas.microsoft.com/office/drawing/2014/main" id="{CB97B762-F46E-48C9-B477-0B4AEDD8C919}"/>
              </a:ext>
            </a:extLst>
          </p:cNvPr>
          <p:cNvSpPr txBox="1"/>
          <p:nvPr/>
        </p:nvSpPr>
        <p:spPr>
          <a:xfrm>
            <a:off x="-40146" y="6643072"/>
            <a:ext cx="75271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rce: Ministry of Investment, 2022</a:t>
            </a:r>
          </a:p>
        </p:txBody>
      </p:sp>
      <p:sp>
        <p:nvSpPr>
          <p:cNvPr id="18" name="Google Shape;86;p13">
            <a:extLst>
              <a:ext uri="{FF2B5EF4-FFF2-40B4-BE49-F238E27FC236}">
                <a16:creationId xmlns:a16="http://schemas.microsoft.com/office/drawing/2014/main" id="{9C7471AD-9927-4A5E-B2A8-071156EC420A}"/>
              </a:ext>
            </a:extLst>
          </p:cNvPr>
          <p:cNvSpPr/>
          <p:nvPr/>
        </p:nvSpPr>
        <p:spPr>
          <a:xfrm>
            <a:off x="4119523" y="442171"/>
            <a:ext cx="5544869" cy="546306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45700" rIns="91425" bIns="45700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1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47 Sustainable Investment Project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GB" sz="2000" b="1" spc="-50" dirty="0"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w</a:t>
            </a:r>
            <a:r>
              <a:rPr kumimoji="0" lang="en-GB" sz="2000" b="1" strike="noStrike" kern="1200" cap="none" spc="-5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ith</a:t>
            </a:r>
            <a:r>
              <a:rPr kumimoji="0" lang="en-GB" sz="2000" b="1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 Pre-Feasibility Study</a:t>
            </a:r>
          </a:p>
          <a:p>
            <a:pPr algn="ctr">
              <a:buClr>
                <a:srgbClr val="000000"/>
              </a:buClr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2F5597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https://regionalinvestment.bkpm.go.id/</a:t>
            </a:r>
          </a:p>
        </p:txBody>
      </p:sp>
    </p:spTree>
    <p:extLst>
      <p:ext uri="{BB962C8B-B14F-4D97-AF65-F5344CB8AC3E}">
        <p14:creationId xmlns:p14="http://schemas.microsoft.com/office/powerpoint/2010/main" val="31319363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E4D4490-5C61-4D83-B06B-C9E6E63B45D8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Google Shape;86;p13">
            <a:extLst>
              <a:ext uri="{FF2B5EF4-FFF2-40B4-BE49-F238E27FC236}">
                <a16:creationId xmlns:a16="http://schemas.microsoft.com/office/drawing/2014/main" id="{D1B49204-69B5-4FE1-B70E-C59D85CCE4EB}"/>
              </a:ext>
            </a:extLst>
          </p:cNvPr>
          <p:cNvSpPr/>
          <p:nvPr/>
        </p:nvSpPr>
        <p:spPr>
          <a:xfrm>
            <a:off x="1645893" y="132886"/>
            <a:ext cx="10546107" cy="415593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45700" rIns="91425" bIns="45700"/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000000"/>
              </a:buClr>
              <a:defRPr/>
            </a:pPr>
            <a:r>
              <a:rPr kumimoji="0" lang="en-GB" sz="2400" b="1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Example of Ready-to-off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400" b="1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Potential Investment Projects </a:t>
            </a:r>
          </a:p>
        </p:txBody>
      </p:sp>
      <p:graphicFrame>
        <p:nvGraphicFramePr>
          <p:cNvPr id="42" name="Table 6">
            <a:extLst>
              <a:ext uri="{FF2B5EF4-FFF2-40B4-BE49-F238E27FC236}">
                <a16:creationId xmlns:a16="http://schemas.microsoft.com/office/drawing/2014/main" id="{C826EF16-BD95-4A05-804A-E31BC048C2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4323757"/>
              </p:ext>
            </p:extLst>
          </p:nvPr>
        </p:nvGraphicFramePr>
        <p:xfrm>
          <a:off x="1645892" y="4595314"/>
          <a:ext cx="9991926" cy="1705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30642">
                  <a:extLst>
                    <a:ext uri="{9D8B030D-6E8A-4147-A177-3AD203B41FA5}">
                      <a16:colId xmlns:a16="http://schemas.microsoft.com/office/drawing/2014/main" val="777272881"/>
                    </a:ext>
                  </a:extLst>
                </a:gridCol>
                <a:gridCol w="2775084">
                  <a:extLst>
                    <a:ext uri="{9D8B030D-6E8A-4147-A177-3AD203B41FA5}">
                      <a16:colId xmlns:a16="http://schemas.microsoft.com/office/drawing/2014/main" val="701043020"/>
                    </a:ext>
                  </a:extLst>
                </a:gridCol>
                <a:gridCol w="3886200">
                  <a:extLst>
                    <a:ext uri="{9D8B030D-6E8A-4147-A177-3AD203B41FA5}">
                      <a16:colId xmlns:a16="http://schemas.microsoft.com/office/drawing/2014/main" val="1333972285"/>
                    </a:ext>
                  </a:extLst>
                </a:gridCol>
              </a:tblGrid>
              <a:tr h="370394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</a:t>
                      </a:r>
                    </a:p>
                  </a:txBody>
                  <a:tcPr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kern="1200" dirty="0"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harmaceutical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2F559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motive Parts</a:t>
                      </a:r>
                    </a:p>
                  </a:txBody>
                  <a:tcPr anchor="ctr">
                    <a:solidFill>
                      <a:srgbClr val="2F559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6034153"/>
                  </a:ext>
                </a:extLst>
              </a:tr>
              <a:tr h="408223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st Ja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Yogyakart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8767792"/>
                  </a:ext>
                </a:extLst>
              </a:tr>
              <a:tr h="408223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 Val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R 3.16 bill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ke System IDR 1.141,38 billion</a:t>
                      </a:r>
                    </a:p>
                    <a:p>
                      <a:r>
                        <a:rPr lang="en-US" sz="14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pension System IDR 1.140,93 bill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1618597"/>
                  </a:ext>
                </a:extLst>
              </a:tr>
              <a:tr h="408223">
                <a:tc>
                  <a:txBody>
                    <a:bodyPr/>
                    <a:lstStyle/>
                    <a:p>
                      <a:r>
                        <a:rPr lang="en-US" sz="1600" b="1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R/Payback Peri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 / 12.3 yea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5% / 7.3 years and 13.95%/ 7.6 yea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2464162"/>
                  </a:ext>
                </a:extLst>
              </a:tr>
            </a:tbl>
          </a:graphicData>
        </a:graphic>
      </p:graphicFrame>
      <p:pic>
        <p:nvPicPr>
          <p:cNvPr id="69634" name="Picture 2">
            <a:extLst>
              <a:ext uri="{FF2B5EF4-FFF2-40B4-BE49-F238E27FC236}">
                <a16:creationId xmlns:a16="http://schemas.microsoft.com/office/drawing/2014/main" id="{2D343E93-449E-41AB-890B-9D877AFEDA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2939" y="1478184"/>
            <a:ext cx="2016953" cy="2925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060B5ED-DDC1-49EF-AC45-C3CE2DF8CFF2}"/>
              </a:ext>
            </a:extLst>
          </p:cNvPr>
          <p:cNvSpPr/>
          <p:nvPr/>
        </p:nvSpPr>
        <p:spPr>
          <a:xfrm>
            <a:off x="5380710" y="2626453"/>
            <a:ext cx="1704109" cy="462551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Raw Material for Paracetamol, </a:t>
            </a:r>
            <a:r>
              <a:rPr lang="en-US" sz="900" b="1" dirty="0" err="1"/>
              <a:t>Clopirogrel</a:t>
            </a:r>
            <a:r>
              <a:rPr lang="en-US" sz="900" b="1" dirty="0"/>
              <a:t> and </a:t>
            </a:r>
            <a:r>
              <a:rPr lang="en-US" sz="900" b="1" dirty="0" err="1"/>
              <a:t>Amoxicilin</a:t>
            </a:r>
            <a:endParaRPr lang="en-UM" sz="900" b="1" dirty="0"/>
          </a:p>
        </p:txBody>
      </p:sp>
      <p:pic>
        <p:nvPicPr>
          <p:cNvPr id="69638" name="Picture 6">
            <a:extLst>
              <a:ext uri="{FF2B5EF4-FFF2-40B4-BE49-F238E27FC236}">
                <a16:creationId xmlns:a16="http://schemas.microsoft.com/office/drawing/2014/main" id="{60572733-75A6-4986-BAE9-64431EDF8A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855" y="1478184"/>
            <a:ext cx="2016953" cy="2925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E48852F8-56C2-46EB-A318-05A3187BF64B}"/>
              </a:ext>
            </a:extLst>
          </p:cNvPr>
          <p:cNvSpPr/>
          <p:nvPr/>
        </p:nvSpPr>
        <p:spPr>
          <a:xfrm>
            <a:off x="8755283" y="2664588"/>
            <a:ext cx="1834096" cy="552955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Industrial Brake System and Suspension System Components for Motor Vehicles</a:t>
            </a:r>
            <a:endParaRPr lang="en-UM" sz="9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E2B3E1-B4F0-C90A-8ECB-E2DD1C5004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666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F7AC225B-0467-2D4D-D149-558E80550397}"/>
              </a:ext>
            </a:extLst>
          </p:cNvPr>
          <p:cNvSpPr txBox="1"/>
          <p:nvPr/>
        </p:nvSpPr>
        <p:spPr>
          <a:xfrm>
            <a:off x="1646137" y="826506"/>
            <a:ext cx="88458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vestment to Build Nusantara (New Capital City)</a:t>
            </a:r>
            <a:endParaRPr kumimoji="0" lang="en-US" sz="1600" b="0" i="0" u="none" strike="noStrike" kern="1200" cap="none" spc="-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992ADC42-F31C-0815-E3E7-F31B9D0B775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4927658"/>
              </p:ext>
            </p:extLst>
          </p:nvPr>
        </p:nvGraphicFramePr>
        <p:xfrm>
          <a:off x="-1" y="2838870"/>
          <a:ext cx="4057687" cy="3740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33A717DC-557D-DA5E-AC34-46FDBA9D5733}"/>
              </a:ext>
            </a:extLst>
          </p:cNvPr>
          <p:cNvSpPr txBox="1"/>
          <p:nvPr/>
        </p:nvSpPr>
        <p:spPr>
          <a:xfrm>
            <a:off x="176981" y="2574691"/>
            <a:ext cx="316923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: USD 32.9 Billion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50A4E8-813F-77D3-157E-60ED36029A70}"/>
              </a:ext>
            </a:extLst>
          </p:cNvPr>
          <p:cNvSpPr/>
          <p:nvPr/>
        </p:nvSpPr>
        <p:spPr>
          <a:xfrm>
            <a:off x="4057687" y="2363988"/>
            <a:ext cx="4535911" cy="1511426"/>
          </a:xfrm>
          <a:prstGeom prst="rect">
            <a:avLst/>
          </a:prstGeom>
          <a:solidFill>
            <a:srgbClr val="70AD47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ic service infrastructur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ion of the State Pala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NI/POLRI strategic building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N/TNI/POLRI official residen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 Procure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open spa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itary bas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AE2677-0968-4E47-0E81-179140D50605}"/>
              </a:ext>
            </a:extLst>
          </p:cNvPr>
          <p:cNvSpPr/>
          <p:nvPr/>
        </p:nvSpPr>
        <p:spPr>
          <a:xfrm>
            <a:off x="4057687" y="4000491"/>
            <a:ext cx="2190970" cy="2371408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ildings for the executive, legislative and judici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 infrastructure development (other than those covered by APBN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al facilities, medical faciliti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ing infrastructur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6A536A-2D76-41BB-0559-C8F44FB84BB4}"/>
              </a:ext>
            </a:extLst>
          </p:cNvPr>
          <p:cNvSpPr/>
          <p:nvPr/>
        </p:nvSpPr>
        <p:spPr>
          <a:xfrm>
            <a:off x="6402628" y="4013877"/>
            <a:ext cx="2190970" cy="2358022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 residen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ies develop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ience-techno park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 to airports, ports, and toll roa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faciliti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pping mal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68620A7-3042-C270-CFDC-73A3D0D75817}"/>
              </a:ext>
            </a:extLst>
          </p:cNvPr>
          <p:cNvSpPr txBox="1"/>
          <p:nvPr/>
        </p:nvSpPr>
        <p:spPr>
          <a:xfrm>
            <a:off x="839189" y="1272833"/>
            <a:ext cx="10513621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 of USD 33 billion investment need, the government is currently planning to cover 19.2% from the state budget (APBN), while the others to be allocated to public-private partnerships (PPPs) (54.4%), and the remainder to pure private investments and state-owned enterprises (26.4%).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E532B7-DD54-9E61-3B0E-BC33FFEE51D6}"/>
              </a:ext>
            </a:extLst>
          </p:cNvPr>
          <p:cNvSpPr txBox="1"/>
          <p:nvPr/>
        </p:nvSpPr>
        <p:spPr>
          <a:xfrm>
            <a:off x="-40146" y="6643072"/>
            <a:ext cx="75271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rce: Ministry of Planning/</a:t>
            </a:r>
            <a:r>
              <a:rPr kumimoji="0" lang="en-US" sz="1200" b="0" i="0" u="none" strike="noStrike" kern="1200" cap="none" spc="-3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ppenas</a:t>
            </a: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202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C7FC76F-9933-4C94-B3D4-B3F0B4356B01}"/>
              </a:ext>
            </a:extLst>
          </p:cNvPr>
          <p:cNvSpPr/>
          <p:nvPr/>
        </p:nvSpPr>
        <p:spPr>
          <a:xfrm>
            <a:off x="176981" y="138748"/>
            <a:ext cx="2458064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1CA0D06-A8AC-4AD8-AF45-F4855067C9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628" y="-185534"/>
            <a:ext cx="4435341" cy="11974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BCE70BC-1F0C-484C-B4E8-2F287B1539F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5792" y="4883727"/>
            <a:ext cx="3132418" cy="1734097"/>
          </a:xfrm>
          <a:prstGeom prst="rect">
            <a:avLst/>
          </a:prstGeom>
        </p:spPr>
      </p:pic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F81CABE7-C5FF-4B0D-91F6-0348F656DF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5790" y="3001305"/>
            <a:ext cx="3132419" cy="176198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E2F85A7-BE94-4CE6-A7BF-37AA4986A0FF}"/>
              </a:ext>
            </a:extLst>
          </p:cNvPr>
          <p:cNvSpPr txBox="1"/>
          <p:nvPr/>
        </p:nvSpPr>
        <p:spPr>
          <a:xfrm>
            <a:off x="8706681" y="2369890"/>
            <a:ext cx="359953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minar on Investment Opportunities in IKN, June 23, 2022 supported by Japan Desk BKPM</a:t>
            </a:r>
            <a:endParaRPr lang="en-UM" sz="1200" b="1" dirty="0"/>
          </a:p>
        </p:txBody>
      </p:sp>
    </p:spTree>
    <p:extLst>
      <p:ext uri="{BB962C8B-B14F-4D97-AF65-F5344CB8AC3E}">
        <p14:creationId xmlns:p14="http://schemas.microsoft.com/office/powerpoint/2010/main" val="18396708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able 36">
            <a:extLst>
              <a:ext uri="{FF2B5EF4-FFF2-40B4-BE49-F238E27FC236}">
                <a16:creationId xmlns:a16="http://schemas.microsoft.com/office/drawing/2014/main" id="{ABA513A2-2D01-4468-2719-4D48DD63CB62}"/>
              </a:ext>
            </a:extLst>
          </p:cNvPr>
          <p:cNvGraphicFramePr>
            <a:graphicFrameLocks noGrp="1"/>
          </p:cNvGraphicFramePr>
          <p:nvPr/>
        </p:nvGraphicFramePr>
        <p:xfrm>
          <a:off x="885378" y="2752895"/>
          <a:ext cx="2562901" cy="786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ergy Developmen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ar power plant developmen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loating Photovoltaic on </a:t>
                      </a:r>
                      <a:r>
                        <a:rPr lang="en-US" sz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oi</a:t>
                      </a:r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aku</a:t>
                      </a:r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a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</a:tbl>
          </a:graphicData>
        </a:graphic>
      </p:graphicFrame>
      <p:graphicFrame>
        <p:nvGraphicFramePr>
          <p:cNvPr id="36" name="Table 36">
            <a:extLst>
              <a:ext uri="{FF2B5EF4-FFF2-40B4-BE49-F238E27FC236}">
                <a16:creationId xmlns:a16="http://schemas.microsoft.com/office/drawing/2014/main" id="{2DA35AFE-8C4C-FDE9-3613-B819BE885224}"/>
              </a:ext>
            </a:extLst>
          </p:cNvPr>
          <p:cNvGraphicFramePr>
            <a:graphicFrameLocks noGrp="1"/>
          </p:cNvGraphicFramePr>
          <p:nvPr/>
        </p:nvGraphicFramePr>
        <p:xfrm>
          <a:off x="885378" y="1477307"/>
          <a:ext cx="2562901" cy="12618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asic Infrastructu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sion of safe drinking wate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quid waste managemen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id waste managemen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445505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sion of raw water suppl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3641936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using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727263"/>
                  </a:ext>
                </a:extLst>
              </a:tr>
            </a:tbl>
          </a:graphicData>
        </a:graphic>
      </p:graphicFrame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75BF6C49-EBA2-ABD4-6531-71B93D5633C3}"/>
              </a:ext>
            </a:extLst>
          </p:cNvPr>
          <p:cNvSpPr/>
          <p:nvPr/>
        </p:nvSpPr>
        <p:spPr>
          <a:xfrm>
            <a:off x="885380" y="4627087"/>
            <a:ext cx="10381487" cy="341522"/>
          </a:xfrm>
          <a:prstGeom prst="roundRect">
            <a:avLst/>
          </a:prstGeom>
          <a:solidFill>
            <a:srgbClr val="273C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iority investment in KIPP IKN targeted for completion in 2024</a:t>
            </a:r>
          </a:p>
        </p:txBody>
      </p:sp>
      <p:sp>
        <p:nvSpPr>
          <p:cNvPr id="12" name="object 6">
            <a:extLst>
              <a:ext uri="{FF2B5EF4-FFF2-40B4-BE49-F238E27FC236}">
                <a16:creationId xmlns:a16="http://schemas.microsoft.com/office/drawing/2014/main" id="{A4B85903-FAEB-9F03-51CE-A9EAAFF7B907}"/>
              </a:ext>
            </a:extLst>
          </p:cNvPr>
          <p:cNvSpPr/>
          <p:nvPr/>
        </p:nvSpPr>
        <p:spPr>
          <a:xfrm>
            <a:off x="885381" y="5031038"/>
            <a:ext cx="1952243" cy="13014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3" name="object 7">
            <a:extLst>
              <a:ext uri="{FF2B5EF4-FFF2-40B4-BE49-F238E27FC236}">
                <a16:creationId xmlns:a16="http://schemas.microsoft.com/office/drawing/2014/main" id="{970443B8-D4B4-2045-09B7-57C29841A677}"/>
              </a:ext>
            </a:extLst>
          </p:cNvPr>
          <p:cNvSpPr/>
          <p:nvPr/>
        </p:nvSpPr>
        <p:spPr>
          <a:xfrm>
            <a:off x="2992026" y="5031038"/>
            <a:ext cx="1952243" cy="1301495"/>
          </a:xfrm>
          <a:prstGeom prst="rect">
            <a:avLst/>
          </a:prstGeom>
          <a:blipFill>
            <a:blip r:embed="rId4" cstate="print"/>
            <a:stretch>
              <a:fillRect l="-1" r="-5854"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14F5FF43-8AE4-3C64-51A7-B863A6590C21}"/>
              </a:ext>
            </a:extLst>
          </p:cNvPr>
          <p:cNvSpPr/>
          <p:nvPr/>
        </p:nvSpPr>
        <p:spPr>
          <a:xfrm>
            <a:off x="5098670" y="5031038"/>
            <a:ext cx="1952243" cy="1301495"/>
          </a:xfrm>
          <a:prstGeom prst="rect">
            <a:avLst/>
          </a:prstGeom>
          <a:blipFill>
            <a:blip r:embed="rId5" cstate="print"/>
            <a:stretch>
              <a:fillRect l="-5698" r="-1"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5" name="object 65">
            <a:extLst>
              <a:ext uri="{FF2B5EF4-FFF2-40B4-BE49-F238E27FC236}">
                <a16:creationId xmlns:a16="http://schemas.microsoft.com/office/drawing/2014/main" id="{D5FBB063-2D28-C1B3-BA45-BD93B39710B8}"/>
              </a:ext>
            </a:extLst>
          </p:cNvPr>
          <p:cNvSpPr/>
          <p:nvPr/>
        </p:nvSpPr>
        <p:spPr>
          <a:xfrm>
            <a:off x="9311959" y="5034085"/>
            <a:ext cx="1952243" cy="1298448"/>
          </a:xfrm>
          <a:prstGeom prst="rect">
            <a:avLst/>
          </a:prstGeom>
          <a:blipFill>
            <a:blip r:embed="rId6" cstate="print"/>
            <a:stretch>
              <a:fillRect t="-1" b="-5134"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6" name="object 66">
            <a:extLst>
              <a:ext uri="{FF2B5EF4-FFF2-40B4-BE49-F238E27FC236}">
                <a16:creationId xmlns:a16="http://schemas.microsoft.com/office/drawing/2014/main" id="{DE3E05E6-9618-A468-9A74-F81FE712E842}"/>
              </a:ext>
            </a:extLst>
          </p:cNvPr>
          <p:cNvSpPr/>
          <p:nvPr/>
        </p:nvSpPr>
        <p:spPr>
          <a:xfrm>
            <a:off x="7205314" y="5032561"/>
            <a:ext cx="1952243" cy="1299972"/>
          </a:xfrm>
          <a:prstGeom prst="rect">
            <a:avLst/>
          </a:prstGeom>
          <a:blipFill>
            <a:blip r:embed="rId7" cstate="print"/>
            <a:stretch>
              <a:fillRect l="-4840"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61A3E6F-9CE6-3F3D-D2CA-BC0C8CB50652}"/>
              </a:ext>
            </a:extLst>
          </p:cNvPr>
          <p:cNvSpPr/>
          <p:nvPr/>
        </p:nvSpPr>
        <p:spPr>
          <a:xfrm>
            <a:off x="885379" y="6389784"/>
            <a:ext cx="1956816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nternational Hospita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54B0FA-F4DC-B000-492B-EA00BB39358F}"/>
              </a:ext>
            </a:extLst>
          </p:cNvPr>
          <p:cNvSpPr/>
          <p:nvPr/>
        </p:nvSpPr>
        <p:spPr>
          <a:xfrm>
            <a:off x="2992024" y="6389784"/>
            <a:ext cx="1956816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ntegrated Education Fac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DFF349-E0D4-5D12-65BD-1544D3E1778A}"/>
              </a:ext>
            </a:extLst>
          </p:cNvPr>
          <p:cNvSpPr/>
          <p:nvPr/>
        </p:nvSpPr>
        <p:spPr>
          <a:xfrm>
            <a:off x="5098669" y="6389784"/>
            <a:ext cx="1956816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Office and Service Area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E54323-F7C5-8693-F25C-9733825EED47}"/>
              </a:ext>
            </a:extLst>
          </p:cNvPr>
          <p:cNvSpPr/>
          <p:nvPr/>
        </p:nvSpPr>
        <p:spPr>
          <a:xfrm>
            <a:off x="7205314" y="6389784"/>
            <a:ext cx="1956816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Mixed Used, Commercial Us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00665B4-EF41-4E71-7E5D-5D4A1BAF73F3}"/>
              </a:ext>
            </a:extLst>
          </p:cNvPr>
          <p:cNvSpPr/>
          <p:nvPr/>
        </p:nvSpPr>
        <p:spPr>
          <a:xfrm>
            <a:off x="9311959" y="6389784"/>
            <a:ext cx="1956816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Residential Facilities</a:t>
            </a:r>
          </a:p>
        </p:txBody>
      </p:sp>
      <p:sp>
        <p:nvSpPr>
          <p:cNvPr id="23" name="object 22">
            <a:extLst>
              <a:ext uri="{FF2B5EF4-FFF2-40B4-BE49-F238E27FC236}">
                <a16:creationId xmlns:a16="http://schemas.microsoft.com/office/drawing/2014/main" id="{1ED98D8E-5C24-AAB3-8302-4B40CCDDA782}"/>
              </a:ext>
            </a:extLst>
          </p:cNvPr>
          <p:cNvSpPr/>
          <p:nvPr/>
        </p:nvSpPr>
        <p:spPr>
          <a:xfrm>
            <a:off x="1015068" y="2992120"/>
            <a:ext cx="93565" cy="14654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4" name="object 23">
            <a:extLst>
              <a:ext uri="{FF2B5EF4-FFF2-40B4-BE49-F238E27FC236}">
                <a16:creationId xmlns:a16="http://schemas.microsoft.com/office/drawing/2014/main" id="{0F33F839-9DF0-D643-BF54-3F1505C645FB}"/>
              </a:ext>
            </a:extLst>
          </p:cNvPr>
          <p:cNvSpPr/>
          <p:nvPr/>
        </p:nvSpPr>
        <p:spPr>
          <a:xfrm>
            <a:off x="1024374" y="3193513"/>
            <a:ext cx="93565" cy="14654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6" name="object 25">
            <a:extLst>
              <a:ext uri="{FF2B5EF4-FFF2-40B4-BE49-F238E27FC236}">
                <a16:creationId xmlns:a16="http://schemas.microsoft.com/office/drawing/2014/main" id="{3AA5787C-4100-413B-26A6-3238FD49DFCB}"/>
              </a:ext>
            </a:extLst>
          </p:cNvPr>
          <p:cNvSpPr/>
          <p:nvPr/>
        </p:nvSpPr>
        <p:spPr>
          <a:xfrm>
            <a:off x="975174" y="1702987"/>
            <a:ext cx="173352" cy="17335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7" name="object 26">
            <a:extLst>
              <a:ext uri="{FF2B5EF4-FFF2-40B4-BE49-F238E27FC236}">
                <a16:creationId xmlns:a16="http://schemas.microsoft.com/office/drawing/2014/main" id="{A53F6129-7BAC-FAF6-8216-6E4F53C0EE02}"/>
              </a:ext>
            </a:extLst>
          </p:cNvPr>
          <p:cNvSpPr/>
          <p:nvPr/>
        </p:nvSpPr>
        <p:spPr>
          <a:xfrm>
            <a:off x="975174" y="2123543"/>
            <a:ext cx="173352" cy="17468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8" name="object 27">
            <a:extLst>
              <a:ext uri="{FF2B5EF4-FFF2-40B4-BE49-F238E27FC236}">
                <a16:creationId xmlns:a16="http://schemas.microsoft.com/office/drawing/2014/main" id="{0AE999D3-B7AD-F08D-9F0B-4405960D92E7}"/>
              </a:ext>
            </a:extLst>
          </p:cNvPr>
          <p:cNvSpPr/>
          <p:nvPr/>
        </p:nvSpPr>
        <p:spPr>
          <a:xfrm>
            <a:off x="975174" y="1922188"/>
            <a:ext cx="173352" cy="173352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29" name="object 28">
            <a:extLst>
              <a:ext uri="{FF2B5EF4-FFF2-40B4-BE49-F238E27FC236}">
                <a16:creationId xmlns:a16="http://schemas.microsoft.com/office/drawing/2014/main" id="{581A8D76-9509-524F-5C79-7C72ACFE8D3F}"/>
              </a:ext>
            </a:extLst>
          </p:cNvPr>
          <p:cNvSpPr/>
          <p:nvPr/>
        </p:nvSpPr>
        <p:spPr>
          <a:xfrm>
            <a:off x="975174" y="2326232"/>
            <a:ext cx="173352" cy="173352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0" name="object 29">
            <a:extLst>
              <a:ext uri="{FF2B5EF4-FFF2-40B4-BE49-F238E27FC236}">
                <a16:creationId xmlns:a16="http://schemas.microsoft.com/office/drawing/2014/main" id="{5AA6AF7F-9530-CB8C-1C7C-E4C659340A42}"/>
              </a:ext>
            </a:extLst>
          </p:cNvPr>
          <p:cNvSpPr/>
          <p:nvPr/>
        </p:nvSpPr>
        <p:spPr>
          <a:xfrm>
            <a:off x="975174" y="2530902"/>
            <a:ext cx="173352" cy="17335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1" name="object 32">
            <a:extLst>
              <a:ext uri="{FF2B5EF4-FFF2-40B4-BE49-F238E27FC236}">
                <a16:creationId xmlns:a16="http://schemas.microsoft.com/office/drawing/2014/main" id="{21F2B9BD-84C0-E8EF-1C07-AB7E1FC5E93C}"/>
              </a:ext>
            </a:extLst>
          </p:cNvPr>
          <p:cNvSpPr/>
          <p:nvPr/>
        </p:nvSpPr>
        <p:spPr>
          <a:xfrm>
            <a:off x="975174" y="3785016"/>
            <a:ext cx="169100" cy="15590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2" name="object 33">
            <a:extLst>
              <a:ext uri="{FF2B5EF4-FFF2-40B4-BE49-F238E27FC236}">
                <a16:creationId xmlns:a16="http://schemas.microsoft.com/office/drawing/2014/main" id="{9B75C4CF-AA1D-DBA4-AD9E-12DFA69FCC01}"/>
              </a:ext>
            </a:extLst>
          </p:cNvPr>
          <p:cNvSpPr/>
          <p:nvPr/>
        </p:nvSpPr>
        <p:spPr>
          <a:xfrm>
            <a:off x="975174" y="3998582"/>
            <a:ext cx="202680" cy="188289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3" name="object 34">
            <a:extLst>
              <a:ext uri="{FF2B5EF4-FFF2-40B4-BE49-F238E27FC236}">
                <a16:creationId xmlns:a16="http://schemas.microsoft.com/office/drawing/2014/main" id="{9C354694-EDDA-4A5A-9C80-96C53F9E8214}"/>
              </a:ext>
            </a:extLst>
          </p:cNvPr>
          <p:cNvSpPr/>
          <p:nvPr/>
        </p:nvSpPr>
        <p:spPr>
          <a:xfrm>
            <a:off x="949428" y="4379301"/>
            <a:ext cx="243456" cy="12472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9941D0D3-8F98-FD11-A217-E2BC1DABE1C4}"/>
              </a:ext>
            </a:extLst>
          </p:cNvPr>
          <p:cNvSpPr/>
          <p:nvPr/>
        </p:nvSpPr>
        <p:spPr>
          <a:xfrm>
            <a:off x="885380" y="768205"/>
            <a:ext cx="10496836" cy="341522"/>
          </a:xfrm>
          <a:prstGeom prst="roundRect">
            <a:avLst/>
          </a:prstGeom>
          <a:solidFill>
            <a:srgbClr val="273C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iority investment in KIPP IKN targeted for completion in 2024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F100C95-F2B2-D469-5F54-3BE550F06C86}"/>
              </a:ext>
            </a:extLst>
          </p:cNvPr>
          <p:cNvSpPr/>
          <p:nvPr/>
        </p:nvSpPr>
        <p:spPr>
          <a:xfrm>
            <a:off x="885378" y="1147763"/>
            <a:ext cx="2560320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The Government Core (KIPP)</a:t>
            </a:r>
          </a:p>
        </p:txBody>
      </p:sp>
      <p:graphicFrame>
        <p:nvGraphicFramePr>
          <p:cNvPr id="40" name="Table 36">
            <a:extLst>
              <a:ext uri="{FF2B5EF4-FFF2-40B4-BE49-F238E27FC236}">
                <a16:creationId xmlns:a16="http://schemas.microsoft.com/office/drawing/2014/main" id="{60DEF24E-8B60-BC32-F92A-0215CDDBDB7F}"/>
              </a:ext>
            </a:extLst>
          </p:cNvPr>
          <p:cNvGraphicFramePr>
            <a:graphicFrameLocks noGrp="1"/>
          </p:cNvGraphicFramePr>
          <p:nvPr/>
        </p:nvGraphicFramePr>
        <p:xfrm>
          <a:off x="885378" y="3552995"/>
          <a:ext cx="2562901" cy="9966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atio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T syste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lligent Transport System &amp;  Transit Syste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ban freight transpor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7283580"/>
                  </a:ext>
                </a:extLst>
              </a:tr>
            </a:tbl>
          </a:graphicData>
        </a:graphic>
      </p:graphicFrame>
      <p:graphicFrame>
        <p:nvGraphicFramePr>
          <p:cNvPr id="44" name="Table 36">
            <a:extLst>
              <a:ext uri="{FF2B5EF4-FFF2-40B4-BE49-F238E27FC236}">
                <a16:creationId xmlns:a16="http://schemas.microsoft.com/office/drawing/2014/main" id="{5FBA6B44-199B-09D8-E6AD-D94C6A081274}"/>
              </a:ext>
            </a:extLst>
          </p:cNvPr>
          <p:cNvGraphicFramePr>
            <a:graphicFrameLocks noGrp="1"/>
          </p:cNvGraphicFramePr>
          <p:nvPr/>
        </p:nvGraphicFramePr>
        <p:xfrm>
          <a:off x="3533099" y="1495130"/>
          <a:ext cx="2562901" cy="13624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nsportatio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ess Toll road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irport Express Li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riangau</a:t>
                      </a:r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en-US" sz="120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ayang</a:t>
                      </a:r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orts Developmen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4455050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Capital City Airport developmen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3641936"/>
                  </a:ext>
                </a:extLst>
              </a:tr>
            </a:tbl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87EF839B-5987-AA7E-7277-58072F8BC37A}"/>
              </a:ext>
            </a:extLst>
          </p:cNvPr>
          <p:cNvSpPr/>
          <p:nvPr/>
        </p:nvSpPr>
        <p:spPr>
          <a:xfrm>
            <a:off x="3533099" y="1147763"/>
            <a:ext cx="2560320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Regional Infrastructure</a:t>
            </a:r>
          </a:p>
        </p:txBody>
      </p:sp>
      <p:graphicFrame>
        <p:nvGraphicFramePr>
          <p:cNvPr id="46" name="Table 36">
            <a:extLst>
              <a:ext uri="{FF2B5EF4-FFF2-40B4-BE49-F238E27FC236}">
                <a16:creationId xmlns:a16="http://schemas.microsoft.com/office/drawing/2014/main" id="{998DA262-CF45-E062-CB82-0C15D3A62005}"/>
              </a:ext>
            </a:extLst>
          </p:cNvPr>
          <p:cNvGraphicFramePr>
            <a:graphicFrameLocks noGrp="1"/>
          </p:cNvGraphicFramePr>
          <p:nvPr/>
        </p:nvGraphicFramePr>
        <p:xfrm>
          <a:off x="6180820" y="1477307"/>
          <a:ext cx="2562901" cy="630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City and Digital Hub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ustry 4.0 for existing industr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City technolog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4D0D396B-EB2D-2E2C-A5C4-C488C7180029}"/>
              </a:ext>
            </a:extLst>
          </p:cNvPr>
          <p:cNvSpPr/>
          <p:nvPr/>
        </p:nvSpPr>
        <p:spPr>
          <a:xfrm>
            <a:off x="6180819" y="1147763"/>
            <a:ext cx="5201397" cy="27432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Industry and Economic Cluster</a:t>
            </a:r>
          </a:p>
        </p:txBody>
      </p:sp>
      <p:sp>
        <p:nvSpPr>
          <p:cNvPr id="48" name="object 18">
            <a:extLst>
              <a:ext uri="{FF2B5EF4-FFF2-40B4-BE49-F238E27FC236}">
                <a16:creationId xmlns:a16="http://schemas.microsoft.com/office/drawing/2014/main" id="{9AC703F9-5B3A-AFB9-6462-2EC9BDA3248E}"/>
              </a:ext>
            </a:extLst>
          </p:cNvPr>
          <p:cNvSpPr/>
          <p:nvPr/>
        </p:nvSpPr>
        <p:spPr>
          <a:xfrm>
            <a:off x="3605150" y="2151807"/>
            <a:ext cx="218115" cy="21459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49" name="object 19">
            <a:extLst>
              <a:ext uri="{FF2B5EF4-FFF2-40B4-BE49-F238E27FC236}">
                <a16:creationId xmlns:a16="http://schemas.microsoft.com/office/drawing/2014/main" id="{E3C77E6D-9C0A-009A-EB5A-F0C69DD37989}"/>
              </a:ext>
            </a:extLst>
          </p:cNvPr>
          <p:cNvSpPr/>
          <p:nvPr/>
        </p:nvSpPr>
        <p:spPr>
          <a:xfrm>
            <a:off x="3605150" y="1730437"/>
            <a:ext cx="201697" cy="152446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50" name="object 30">
            <a:extLst>
              <a:ext uri="{FF2B5EF4-FFF2-40B4-BE49-F238E27FC236}">
                <a16:creationId xmlns:a16="http://schemas.microsoft.com/office/drawing/2014/main" id="{44514744-9820-13DF-307E-49AC395D29AC}"/>
              </a:ext>
            </a:extLst>
          </p:cNvPr>
          <p:cNvSpPr/>
          <p:nvPr/>
        </p:nvSpPr>
        <p:spPr>
          <a:xfrm>
            <a:off x="3609841" y="2498541"/>
            <a:ext cx="213424" cy="213423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51" name="object 31">
            <a:extLst>
              <a:ext uri="{FF2B5EF4-FFF2-40B4-BE49-F238E27FC236}">
                <a16:creationId xmlns:a16="http://schemas.microsoft.com/office/drawing/2014/main" id="{7C384549-8A1C-B4D1-9FFD-83A3E53E24B9}"/>
              </a:ext>
            </a:extLst>
          </p:cNvPr>
          <p:cNvSpPr/>
          <p:nvPr/>
        </p:nvSpPr>
        <p:spPr>
          <a:xfrm>
            <a:off x="3655950" y="1935201"/>
            <a:ext cx="96164" cy="143559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3312F478-34B7-2454-05C7-0D9F6B3F1308}"/>
              </a:ext>
            </a:extLst>
          </p:cNvPr>
          <p:cNvSpPr txBox="1"/>
          <p:nvPr/>
        </p:nvSpPr>
        <p:spPr>
          <a:xfrm>
            <a:off x="2782383" y="7737"/>
            <a:ext cx="884586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vestment Opportunities in Nusantar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he New Capital of Indonesia</a:t>
            </a:r>
            <a:endParaRPr kumimoji="0" lang="en-US" sz="1200" i="0" u="none" strike="noStrike" kern="1200" cap="none" spc="-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5" name="Table 36">
            <a:extLst>
              <a:ext uri="{FF2B5EF4-FFF2-40B4-BE49-F238E27FC236}">
                <a16:creationId xmlns:a16="http://schemas.microsoft.com/office/drawing/2014/main" id="{81014FBD-C139-5830-AFF2-771368ABAED5}"/>
              </a:ext>
            </a:extLst>
          </p:cNvPr>
          <p:cNvGraphicFramePr>
            <a:graphicFrameLocks noGrp="1"/>
          </p:cNvGraphicFramePr>
          <p:nvPr/>
        </p:nvGraphicFramePr>
        <p:xfrm>
          <a:off x="6180820" y="2142585"/>
          <a:ext cx="2562901" cy="841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ucation in the 21</a:t>
                      </a:r>
                      <a:r>
                        <a:rPr lang="en-US" sz="1200" baseline="300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</a:t>
                      </a:r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entur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ocational High Schoo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EM Institut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ulsory education (12years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705953"/>
                  </a:ext>
                </a:extLst>
              </a:tr>
            </a:tbl>
          </a:graphicData>
        </a:graphic>
      </p:graphicFrame>
      <p:graphicFrame>
        <p:nvGraphicFramePr>
          <p:cNvPr id="56" name="Table 36">
            <a:extLst>
              <a:ext uri="{FF2B5EF4-FFF2-40B4-BE49-F238E27FC236}">
                <a16:creationId xmlns:a16="http://schemas.microsoft.com/office/drawing/2014/main" id="{73598B51-F01A-DE35-FDDD-2073F3FA3796}"/>
              </a:ext>
            </a:extLst>
          </p:cNvPr>
          <p:cNvGraphicFramePr>
            <a:graphicFrameLocks noGrp="1"/>
          </p:cNvGraphicFramePr>
          <p:nvPr/>
        </p:nvGraphicFramePr>
        <p:xfrm>
          <a:off x="6180820" y="3018175"/>
          <a:ext cx="2562901" cy="8412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stainable Agricultur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t-based protei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t extractio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rbal products and nutritio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705953"/>
                  </a:ext>
                </a:extLst>
              </a:tr>
            </a:tbl>
          </a:graphicData>
        </a:graphic>
      </p:graphicFrame>
      <p:graphicFrame>
        <p:nvGraphicFramePr>
          <p:cNvPr id="57" name="Table 36">
            <a:extLst>
              <a:ext uri="{FF2B5EF4-FFF2-40B4-BE49-F238E27FC236}">
                <a16:creationId xmlns:a16="http://schemas.microsoft.com/office/drawing/2014/main" id="{770B6126-234C-D198-3186-4740A5E9DD7C}"/>
              </a:ext>
            </a:extLst>
          </p:cNvPr>
          <p:cNvGraphicFramePr>
            <a:graphicFrameLocks noGrp="1"/>
          </p:cNvGraphicFramePr>
          <p:nvPr/>
        </p:nvGraphicFramePr>
        <p:xfrm>
          <a:off x="6180820" y="3893764"/>
          <a:ext cx="2562901" cy="630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grated pharmaceutical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pharmaceutical ingredient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osimilar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</a:tbl>
          </a:graphicData>
        </a:graphic>
      </p:graphicFrame>
      <p:graphicFrame>
        <p:nvGraphicFramePr>
          <p:cNvPr id="58" name="Table 36">
            <a:extLst>
              <a:ext uri="{FF2B5EF4-FFF2-40B4-BE49-F238E27FC236}">
                <a16:creationId xmlns:a16="http://schemas.microsoft.com/office/drawing/2014/main" id="{BDC43968-7205-10E5-8237-39767DFBA5CF}"/>
              </a:ext>
            </a:extLst>
          </p:cNvPr>
          <p:cNvGraphicFramePr>
            <a:graphicFrameLocks noGrp="1"/>
          </p:cNvGraphicFramePr>
          <p:nvPr/>
        </p:nvGraphicFramePr>
        <p:xfrm>
          <a:off x="8819316" y="1477307"/>
          <a:ext cx="2562901" cy="12070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clusive ecotourism &amp; Wellnes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tourism &amp; wellness touris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ure and wildlife touris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ban tourism/multi-purposes hotel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0516764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l tourism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8231254"/>
                  </a:ext>
                </a:extLst>
              </a:tr>
            </a:tbl>
          </a:graphicData>
        </a:graphic>
      </p:graphicFrame>
      <p:graphicFrame>
        <p:nvGraphicFramePr>
          <p:cNvPr id="59" name="Table 36">
            <a:extLst>
              <a:ext uri="{FF2B5EF4-FFF2-40B4-BE49-F238E27FC236}">
                <a16:creationId xmlns:a16="http://schemas.microsoft.com/office/drawing/2014/main" id="{013416CB-4E21-303C-8F20-B1125C6929CA}"/>
              </a:ext>
            </a:extLst>
          </p:cNvPr>
          <p:cNvGraphicFramePr>
            <a:graphicFrameLocks noGrp="1"/>
          </p:cNvGraphicFramePr>
          <p:nvPr/>
        </p:nvGraphicFramePr>
        <p:xfrm>
          <a:off x="8819316" y="2626793"/>
          <a:ext cx="2562901" cy="630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Chemical Industr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trochemical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eochemical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</a:tbl>
          </a:graphicData>
        </a:graphic>
      </p:graphicFrame>
      <p:graphicFrame>
        <p:nvGraphicFramePr>
          <p:cNvPr id="60" name="Table 36">
            <a:extLst>
              <a:ext uri="{FF2B5EF4-FFF2-40B4-BE49-F238E27FC236}">
                <a16:creationId xmlns:a16="http://schemas.microsoft.com/office/drawing/2014/main" id="{99F44E21-ADB4-037A-AF74-5D5F2F43296B}"/>
              </a:ext>
            </a:extLst>
          </p:cNvPr>
          <p:cNvGraphicFramePr>
            <a:graphicFrameLocks noGrp="1"/>
          </p:cNvGraphicFramePr>
          <p:nvPr/>
        </p:nvGraphicFramePr>
        <p:xfrm>
          <a:off x="8819316" y="3200207"/>
          <a:ext cx="2562901" cy="630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xt-gen Renewable Energ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V cell assembl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-W electric vehicle assembl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</a:tbl>
          </a:graphicData>
        </a:graphic>
      </p:graphicFrame>
      <p:graphicFrame>
        <p:nvGraphicFramePr>
          <p:cNvPr id="61" name="Table 36">
            <a:extLst>
              <a:ext uri="{FF2B5EF4-FFF2-40B4-BE49-F238E27FC236}">
                <a16:creationId xmlns:a16="http://schemas.microsoft.com/office/drawing/2014/main" id="{742C2596-48C3-D9AA-3336-29ADCC0D111A}"/>
              </a:ext>
            </a:extLst>
          </p:cNvPr>
          <p:cNvGraphicFramePr>
            <a:graphicFrameLocks noGrp="1"/>
          </p:cNvGraphicFramePr>
          <p:nvPr/>
        </p:nvGraphicFramePr>
        <p:xfrm>
          <a:off x="8824227" y="3797095"/>
          <a:ext cx="2562901" cy="786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527">
                  <a:extLst>
                    <a:ext uri="{9D8B030D-6E8A-4147-A177-3AD203B41FA5}">
                      <a16:colId xmlns:a16="http://schemas.microsoft.com/office/drawing/2014/main" val="3047103612"/>
                    </a:ext>
                  </a:extLst>
                </a:gridCol>
                <a:gridCol w="2203374">
                  <a:extLst>
                    <a:ext uri="{9D8B030D-6E8A-4147-A177-3AD203B41FA5}">
                      <a16:colId xmlns:a16="http://schemas.microsoft.com/office/drawing/2014/main" val="1912779510"/>
                    </a:ext>
                  </a:extLst>
                </a:gridCol>
              </a:tblGrid>
              <a:tr h="210312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273C9A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w-carbon energy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74656467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ofuels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9715901"/>
                  </a:ext>
                </a:extLst>
              </a:tr>
              <a:tr h="210312">
                <a:tc>
                  <a:txBody>
                    <a:bodyPr/>
                    <a:lstStyle/>
                    <a:p>
                      <a:endParaRPr lang="en-US" sz="12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ctrification, Digitalization, and mining rehabilitatio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343722"/>
                  </a:ext>
                </a:extLst>
              </a:tr>
            </a:tbl>
          </a:graphicData>
        </a:graphic>
      </p:graphicFrame>
      <p:sp>
        <p:nvSpPr>
          <p:cNvPr id="63" name="object 47">
            <a:extLst>
              <a:ext uri="{FF2B5EF4-FFF2-40B4-BE49-F238E27FC236}">
                <a16:creationId xmlns:a16="http://schemas.microsoft.com/office/drawing/2014/main" id="{4BAC4D5B-290E-4B34-BE25-6D22F667FCE3}"/>
              </a:ext>
            </a:extLst>
          </p:cNvPr>
          <p:cNvSpPr/>
          <p:nvPr/>
        </p:nvSpPr>
        <p:spPr>
          <a:xfrm>
            <a:off x="8944916" y="2484953"/>
            <a:ext cx="120126" cy="120126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5" name="object 49">
            <a:extLst>
              <a:ext uri="{FF2B5EF4-FFF2-40B4-BE49-F238E27FC236}">
                <a16:creationId xmlns:a16="http://schemas.microsoft.com/office/drawing/2014/main" id="{957D20BD-1703-1DF2-FC2E-D4CC991394BE}"/>
              </a:ext>
            </a:extLst>
          </p:cNvPr>
          <p:cNvSpPr/>
          <p:nvPr/>
        </p:nvSpPr>
        <p:spPr>
          <a:xfrm>
            <a:off x="8919099" y="2135012"/>
            <a:ext cx="164709" cy="165976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6" name="object 50">
            <a:extLst>
              <a:ext uri="{FF2B5EF4-FFF2-40B4-BE49-F238E27FC236}">
                <a16:creationId xmlns:a16="http://schemas.microsoft.com/office/drawing/2014/main" id="{5FAAC264-4BC1-0A42-6262-266D1D4F22AE}"/>
              </a:ext>
            </a:extLst>
          </p:cNvPr>
          <p:cNvSpPr/>
          <p:nvPr/>
        </p:nvSpPr>
        <p:spPr>
          <a:xfrm>
            <a:off x="8923139" y="1928807"/>
            <a:ext cx="169777" cy="164709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7" name="object 51">
            <a:extLst>
              <a:ext uri="{FF2B5EF4-FFF2-40B4-BE49-F238E27FC236}">
                <a16:creationId xmlns:a16="http://schemas.microsoft.com/office/drawing/2014/main" id="{64D98969-98B5-F44F-45CC-E356B12F9CBA}"/>
              </a:ext>
            </a:extLst>
          </p:cNvPr>
          <p:cNvSpPr/>
          <p:nvPr/>
        </p:nvSpPr>
        <p:spPr>
          <a:xfrm>
            <a:off x="8951014" y="1706847"/>
            <a:ext cx="114028" cy="164709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8" name="object 52">
            <a:extLst>
              <a:ext uri="{FF2B5EF4-FFF2-40B4-BE49-F238E27FC236}">
                <a16:creationId xmlns:a16="http://schemas.microsoft.com/office/drawing/2014/main" id="{7E2C701E-94DE-7981-6706-B5971C13AEDF}"/>
              </a:ext>
            </a:extLst>
          </p:cNvPr>
          <p:cNvSpPr/>
          <p:nvPr/>
        </p:nvSpPr>
        <p:spPr>
          <a:xfrm>
            <a:off x="8919098" y="2865394"/>
            <a:ext cx="164709" cy="16470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69" name="object 53">
            <a:extLst>
              <a:ext uri="{FF2B5EF4-FFF2-40B4-BE49-F238E27FC236}">
                <a16:creationId xmlns:a16="http://schemas.microsoft.com/office/drawing/2014/main" id="{F2ABD4D9-4529-5181-5603-BBA1884FDB4F}"/>
              </a:ext>
            </a:extLst>
          </p:cNvPr>
          <p:cNvSpPr/>
          <p:nvPr/>
        </p:nvSpPr>
        <p:spPr>
          <a:xfrm>
            <a:off x="8914444" y="3041880"/>
            <a:ext cx="164709" cy="164709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71" name="object 55">
            <a:extLst>
              <a:ext uri="{FF2B5EF4-FFF2-40B4-BE49-F238E27FC236}">
                <a16:creationId xmlns:a16="http://schemas.microsoft.com/office/drawing/2014/main" id="{34680015-8325-74D2-F782-4501C02A3B8C}"/>
              </a:ext>
            </a:extLst>
          </p:cNvPr>
          <p:cNvSpPr/>
          <p:nvPr/>
        </p:nvSpPr>
        <p:spPr>
          <a:xfrm>
            <a:off x="8929840" y="3458007"/>
            <a:ext cx="150276" cy="152408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72" name="object 56">
            <a:extLst>
              <a:ext uri="{FF2B5EF4-FFF2-40B4-BE49-F238E27FC236}">
                <a16:creationId xmlns:a16="http://schemas.microsoft.com/office/drawing/2014/main" id="{5AAFC2E0-FBCC-5D02-E5C9-FDFF1FC71828}"/>
              </a:ext>
            </a:extLst>
          </p:cNvPr>
          <p:cNvSpPr/>
          <p:nvPr/>
        </p:nvSpPr>
        <p:spPr>
          <a:xfrm>
            <a:off x="8910656" y="3630643"/>
            <a:ext cx="188645" cy="153473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73" name="object 57">
            <a:extLst>
              <a:ext uri="{FF2B5EF4-FFF2-40B4-BE49-F238E27FC236}">
                <a16:creationId xmlns:a16="http://schemas.microsoft.com/office/drawing/2014/main" id="{8E9E1EA9-ACE9-3626-5B3C-C5C99732998F}"/>
              </a:ext>
            </a:extLst>
          </p:cNvPr>
          <p:cNvSpPr/>
          <p:nvPr/>
        </p:nvSpPr>
        <p:spPr>
          <a:xfrm>
            <a:off x="8947254" y="4053714"/>
            <a:ext cx="99088" cy="109166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74" name="object 58">
            <a:extLst>
              <a:ext uri="{FF2B5EF4-FFF2-40B4-BE49-F238E27FC236}">
                <a16:creationId xmlns:a16="http://schemas.microsoft.com/office/drawing/2014/main" id="{659CB6A7-C4FC-E0E1-F6ED-56FA2A1E9D8A}"/>
              </a:ext>
            </a:extLst>
          </p:cNvPr>
          <p:cNvSpPr/>
          <p:nvPr/>
        </p:nvSpPr>
        <p:spPr>
          <a:xfrm>
            <a:off x="8903562" y="4238047"/>
            <a:ext cx="161480" cy="12743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77" name="object 36">
            <a:extLst>
              <a:ext uri="{FF2B5EF4-FFF2-40B4-BE49-F238E27FC236}">
                <a16:creationId xmlns:a16="http://schemas.microsoft.com/office/drawing/2014/main" id="{7D922F56-68B3-6362-8A05-BF97552E621D}"/>
              </a:ext>
            </a:extLst>
          </p:cNvPr>
          <p:cNvSpPr/>
          <p:nvPr/>
        </p:nvSpPr>
        <p:spPr>
          <a:xfrm>
            <a:off x="6300106" y="1912597"/>
            <a:ext cx="184549" cy="184550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grpSp>
        <p:nvGrpSpPr>
          <p:cNvPr id="78" name="object 37">
            <a:extLst>
              <a:ext uri="{FF2B5EF4-FFF2-40B4-BE49-F238E27FC236}">
                <a16:creationId xmlns:a16="http://schemas.microsoft.com/office/drawing/2014/main" id="{4F8F4798-DC8B-538D-78AA-71EAB1857441}"/>
              </a:ext>
            </a:extLst>
          </p:cNvPr>
          <p:cNvGrpSpPr/>
          <p:nvPr/>
        </p:nvGrpSpPr>
        <p:grpSpPr>
          <a:xfrm>
            <a:off x="6295207" y="2392008"/>
            <a:ext cx="188098" cy="526440"/>
            <a:chOff x="5419344" y="2538983"/>
            <a:chExt cx="242315" cy="678180"/>
          </a:xfrm>
        </p:grpSpPr>
        <p:sp>
          <p:nvSpPr>
            <p:cNvPr id="79" name="object 38">
              <a:extLst>
                <a:ext uri="{FF2B5EF4-FFF2-40B4-BE49-F238E27FC236}">
                  <a16:creationId xmlns:a16="http://schemas.microsoft.com/office/drawing/2014/main" id="{B884A3B3-B7E0-CB4A-DEBE-F01CA6B946E4}"/>
                </a:ext>
              </a:extLst>
            </p:cNvPr>
            <p:cNvSpPr/>
            <p:nvPr/>
          </p:nvSpPr>
          <p:spPr>
            <a:xfrm>
              <a:off x="5440680" y="2801111"/>
              <a:ext cx="198120" cy="198120"/>
            </a:xfrm>
            <a:prstGeom prst="rect">
              <a:avLst/>
            </a:prstGeom>
            <a:blipFill>
              <a:blip r:embed="rId30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80" name="object 39">
              <a:extLst>
                <a:ext uri="{FF2B5EF4-FFF2-40B4-BE49-F238E27FC236}">
                  <a16:creationId xmlns:a16="http://schemas.microsoft.com/office/drawing/2014/main" id="{4DFA7244-DEDC-5BE3-7116-DB4656FBFD1F}"/>
                </a:ext>
              </a:extLst>
            </p:cNvPr>
            <p:cNvSpPr/>
            <p:nvPr/>
          </p:nvSpPr>
          <p:spPr>
            <a:xfrm>
              <a:off x="5420868" y="2538983"/>
              <a:ext cx="237743" cy="237743"/>
            </a:xfrm>
            <a:prstGeom prst="rect">
              <a:avLst/>
            </a:prstGeom>
            <a:blipFill>
              <a:blip r:embed="rId31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81" name="object 40">
              <a:extLst>
                <a:ext uri="{FF2B5EF4-FFF2-40B4-BE49-F238E27FC236}">
                  <a16:creationId xmlns:a16="http://schemas.microsoft.com/office/drawing/2014/main" id="{5250376E-740F-67EA-502D-5956CB0C0FF6}"/>
                </a:ext>
              </a:extLst>
            </p:cNvPr>
            <p:cNvSpPr/>
            <p:nvPr/>
          </p:nvSpPr>
          <p:spPr>
            <a:xfrm>
              <a:off x="5419344" y="3019043"/>
              <a:ext cx="242315" cy="198120"/>
            </a:xfrm>
            <a:prstGeom prst="rect">
              <a:avLst/>
            </a:prstGeom>
            <a:blipFill>
              <a:blip r:embed="rId32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</p:grpSp>
      <p:grpSp>
        <p:nvGrpSpPr>
          <p:cNvPr id="82" name="object 41">
            <a:extLst>
              <a:ext uri="{FF2B5EF4-FFF2-40B4-BE49-F238E27FC236}">
                <a16:creationId xmlns:a16="http://schemas.microsoft.com/office/drawing/2014/main" id="{53FC2FF0-898A-5712-B9B4-8F03ADADFE53}"/>
              </a:ext>
            </a:extLst>
          </p:cNvPr>
          <p:cNvGrpSpPr/>
          <p:nvPr/>
        </p:nvGrpSpPr>
        <p:grpSpPr>
          <a:xfrm>
            <a:off x="6295494" y="3273693"/>
            <a:ext cx="184549" cy="531171"/>
            <a:chOff x="5420867" y="3649979"/>
            <a:chExt cx="237743" cy="684275"/>
          </a:xfrm>
        </p:grpSpPr>
        <p:sp>
          <p:nvSpPr>
            <p:cNvPr id="83" name="object 42">
              <a:extLst>
                <a:ext uri="{FF2B5EF4-FFF2-40B4-BE49-F238E27FC236}">
                  <a16:creationId xmlns:a16="http://schemas.microsoft.com/office/drawing/2014/main" id="{A2A434E3-92BB-4290-CEAD-C871363AEA54}"/>
                </a:ext>
              </a:extLst>
            </p:cNvPr>
            <p:cNvSpPr/>
            <p:nvPr/>
          </p:nvSpPr>
          <p:spPr>
            <a:xfrm>
              <a:off x="5440679" y="3649979"/>
              <a:ext cx="198120" cy="199644"/>
            </a:xfrm>
            <a:prstGeom prst="rect">
              <a:avLst/>
            </a:prstGeom>
            <a:blipFill>
              <a:blip r:embed="rId33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84" name="object 43">
              <a:extLst>
                <a:ext uri="{FF2B5EF4-FFF2-40B4-BE49-F238E27FC236}">
                  <a16:creationId xmlns:a16="http://schemas.microsoft.com/office/drawing/2014/main" id="{60B7DA57-84B9-6B30-4E14-DDCE1AC4DC60}"/>
                </a:ext>
              </a:extLst>
            </p:cNvPr>
            <p:cNvSpPr/>
            <p:nvPr/>
          </p:nvSpPr>
          <p:spPr>
            <a:xfrm>
              <a:off x="5420867" y="3872483"/>
              <a:ext cx="237743" cy="239267"/>
            </a:xfrm>
            <a:prstGeom prst="rect">
              <a:avLst/>
            </a:prstGeom>
            <a:blipFill>
              <a:blip r:embed="rId34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  <p:sp>
          <p:nvSpPr>
            <p:cNvPr id="85" name="object 44">
              <a:extLst>
                <a:ext uri="{FF2B5EF4-FFF2-40B4-BE49-F238E27FC236}">
                  <a16:creationId xmlns:a16="http://schemas.microsoft.com/office/drawing/2014/main" id="{89227740-5BF6-A0A6-4B0E-BDCB5466E75B}"/>
                </a:ext>
              </a:extLst>
            </p:cNvPr>
            <p:cNvSpPr/>
            <p:nvPr/>
          </p:nvSpPr>
          <p:spPr>
            <a:xfrm>
              <a:off x="5440679" y="4136135"/>
              <a:ext cx="198120" cy="198119"/>
            </a:xfrm>
            <a:prstGeom prst="rect">
              <a:avLst/>
            </a:prstGeom>
            <a:blipFill>
              <a:blip r:embed="rId35" cstate="print"/>
              <a:stretch>
                <a:fillRect/>
              </a:stretch>
            </a:blipFill>
          </p:spPr>
          <p:txBody>
            <a:bodyPr wrap="square" lIns="0" tIns="0" rIns="0" bIns="0" rtlCol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/>
            </a:p>
          </p:txBody>
        </p:sp>
      </p:grpSp>
      <p:sp>
        <p:nvSpPr>
          <p:cNvPr id="86" name="object 45">
            <a:extLst>
              <a:ext uri="{FF2B5EF4-FFF2-40B4-BE49-F238E27FC236}">
                <a16:creationId xmlns:a16="http://schemas.microsoft.com/office/drawing/2014/main" id="{174A4F85-FEF2-D47B-CC25-5D701C9D120E}"/>
              </a:ext>
            </a:extLst>
          </p:cNvPr>
          <p:cNvSpPr/>
          <p:nvPr/>
        </p:nvSpPr>
        <p:spPr>
          <a:xfrm>
            <a:off x="6292544" y="4113928"/>
            <a:ext cx="153791" cy="153790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87" name="object 46">
            <a:extLst>
              <a:ext uri="{FF2B5EF4-FFF2-40B4-BE49-F238E27FC236}">
                <a16:creationId xmlns:a16="http://schemas.microsoft.com/office/drawing/2014/main" id="{397A076A-8B4C-5FAC-1911-8AB80938CBDB}"/>
              </a:ext>
            </a:extLst>
          </p:cNvPr>
          <p:cNvSpPr/>
          <p:nvPr/>
        </p:nvSpPr>
        <p:spPr>
          <a:xfrm>
            <a:off x="6322703" y="4343449"/>
            <a:ext cx="141961" cy="153791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88" name="object 35">
            <a:extLst>
              <a:ext uri="{FF2B5EF4-FFF2-40B4-BE49-F238E27FC236}">
                <a16:creationId xmlns:a16="http://schemas.microsoft.com/office/drawing/2014/main" id="{5025281C-2444-5344-6788-C269591C2697}"/>
              </a:ext>
            </a:extLst>
          </p:cNvPr>
          <p:cNvSpPr/>
          <p:nvPr/>
        </p:nvSpPr>
        <p:spPr>
          <a:xfrm>
            <a:off x="6292544" y="1705149"/>
            <a:ext cx="184549" cy="196352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BD4AAB7-87E1-0A51-8C5B-515CAA3F18F7}"/>
              </a:ext>
            </a:extLst>
          </p:cNvPr>
          <p:cNvSpPr txBox="1"/>
          <p:nvPr/>
        </p:nvSpPr>
        <p:spPr>
          <a:xfrm>
            <a:off x="-40146" y="6643072"/>
            <a:ext cx="75271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rce: Ministry of Planning/</a:t>
            </a:r>
            <a:r>
              <a:rPr kumimoji="0" lang="en-US" sz="1200" b="0" i="0" u="none" strike="noStrike" kern="1200" cap="none" spc="-3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ppenas</a:t>
            </a: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202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47D1ED-C824-4CC2-AC35-A715C54EADE8}"/>
              </a:ext>
            </a:extLst>
          </p:cNvPr>
          <p:cNvSpPr/>
          <p:nvPr/>
        </p:nvSpPr>
        <p:spPr>
          <a:xfrm>
            <a:off x="226142" y="137652"/>
            <a:ext cx="2477729" cy="5141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AE7169EC-4A22-4D3B-A41D-4345DFFB1024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629" y="-185084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7954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7B16EC58-50BE-C1CD-2F73-F37BC4FC21CC}"/>
              </a:ext>
            </a:extLst>
          </p:cNvPr>
          <p:cNvSpPr txBox="1"/>
          <p:nvPr/>
        </p:nvSpPr>
        <p:spPr>
          <a:xfrm>
            <a:off x="2070566" y="454893"/>
            <a:ext cx="88458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vestment Opportunities in Nusantara </a:t>
            </a:r>
            <a:r>
              <a:rPr kumimoji="0" lang="en-US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sic Infrastructure</a:t>
            </a:r>
            <a:endParaRPr kumimoji="0" lang="en-US" sz="1200" i="0" u="none" strike="noStrike" kern="1200" cap="none" spc="-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8" name="Table 6">
            <a:extLst>
              <a:ext uri="{FF2B5EF4-FFF2-40B4-BE49-F238E27FC236}">
                <a16:creationId xmlns:a16="http://schemas.microsoft.com/office/drawing/2014/main" id="{EC10F216-E1AE-A192-2406-C3A803217210}"/>
              </a:ext>
            </a:extLst>
          </p:cNvPr>
          <p:cNvGraphicFramePr>
            <a:graphicFrameLocks noGrp="1"/>
          </p:cNvGraphicFramePr>
          <p:nvPr/>
        </p:nvGraphicFramePr>
        <p:xfrm>
          <a:off x="91823" y="916558"/>
          <a:ext cx="12008355" cy="466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732">
                  <a:extLst>
                    <a:ext uri="{9D8B030D-6E8A-4147-A177-3AD203B41FA5}">
                      <a16:colId xmlns:a16="http://schemas.microsoft.com/office/drawing/2014/main" val="1443812918"/>
                    </a:ext>
                  </a:extLst>
                </a:gridCol>
                <a:gridCol w="1310153">
                  <a:extLst>
                    <a:ext uri="{9D8B030D-6E8A-4147-A177-3AD203B41FA5}">
                      <a16:colId xmlns:a16="http://schemas.microsoft.com/office/drawing/2014/main" val="1791569993"/>
                    </a:ext>
                  </a:extLst>
                </a:gridCol>
                <a:gridCol w="977030">
                  <a:extLst>
                    <a:ext uri="{9D8B030D-6E8A-4147-A177-3AD203B41FA5}">
                      <a16:colId xmlns:a16="http://schemas.microsoft.com/office/drawing/2014/main" val="1987927976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079761911"/>
                    </a:ext>
                  </a:extLst>
                </a:gridCol>
                <a:gridCol w="5303520">
                  <a:extLst>
                    <a:ext uri="{9D8B030D-6E8A-4147-A177-3AD203B41FA5}">
                      <a16:colId xmlns:a16="http://schemas.microsoft.com/office/drawing/2014/main" val="15989393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.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-sector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al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ential Participation from Investor/Interested Party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487976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rinking Water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ppl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santar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ving Water Usage (L/day)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ternative Water Resources (besides ground water and Regional Water Company) (%)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rving all households with 100% access to drinking water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ter Supply Monitored by IC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cal assistance in planning, design, development and management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technology for drinking water system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and Development Partnership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ential collaboration for tertiary distribution pipe investment clusters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on construction for region, building, or house connection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to provide junction and other utility in region or residential connection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to collaborate for rain-water harvesting construction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laboration in water recycle construction and usage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to provide water supply system outside the core zone. Capacity needs up to 5000 liter per second.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0024005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stewater Managemen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santar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omestic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Wastewater Service Managemen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T-monitored domestic wastewater piping network 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T-monitored Settlement-Scale Domestic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stewater Treatment, in accordance with the effluent quality standard for domestic wastewater treatmen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 sewerage coverag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tralized monitoring &amp; control for wastewater treatment plant (WWTP) &amp; sewer network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ed water reus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ources oriented wastewater managemen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cal assistance in planning, design, development and managemen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technology for wastewater managemen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and Development Partn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for Service Operator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 and Design Build Operate (DBO) for:</a:t>
                      </a:r>
                    </a:p>
                    <a:p>
                      <a:pPr marL="4000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WTP and sewer network*)</a:t>
                      </a:r>
                    </a:p>
                    <a:p>
                      <a:pPr marL="4000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udge treatment plant*)</a:t>
                      </a:r>
                    </a:p>
                    <a:p>
                      <a:pPr marL="4000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ycled water treatment plant</a:t>
                      </a:r>
                    </a:p>
                    <a:p>
                      <a:pPr marL="4000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XUS integrated wastewater-solid waste resource recovery facility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in recycled water usage for industrial and commercial purpose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*) note: in a different area from the area built with the government budget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119529296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A6A9896-9217-9067-C7F0-B3877831E13F}"/>
              </a:ext>
            </a:extLst>
          </p:cNvPr>
          <p:cNvSpPr txBox="1"/>
          <p:nvPr/>
        </p:nvSpPr>
        <p:spPr>
          <a:xfrm>
            <a:off x="-40146" y="6643072"/>
            <a:ext cx="75271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rce: Ministry of Planning/</a:t>
            </a:r>
            <a:r>
              <a:rPr kumimoji="0" lang="en-US" sz="1200" b="0" i="0" u="none" strike="noStrike" kern="1200" cap="none" spc="-3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ppenas</a:t>
            </a: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202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0EFA3D2-E136-4846-841D-7AF7474C749F}"/>
              </a:ext>
            </a:extLst>
          </p:cNvPr>
          <p:cNvSpPr/>
          <p:nvPr/>
        </p:nvSpPr>
        <p:spPr>
          <a:xfrm>
            <a:off x="255639" y="88490"/>
            <a:ext cx="2526890" cy="5014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59F9833-26FD-4315-A1F1-83E041EA72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7629" y="-229097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3482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DE843523-A229-500B-3322-34EBCD5C2C2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756" t="23253" r="19266"/>
          <a:stretch/>
        </p:blipFill>
        <p:spPr>
          <a:xfrm>
            <a:off x="7471406" y="3902552"/>
            <a:ext cx="1136926" cy="1136926"/>
          </a:xfrm>
          <a:custGeom>
            <a:avLst/>
            <a:gdLst>
              <a:gd name="connsiteX0" fmla="*/ 568463 w 1136926"/>
              <a:gd name="connsiteY0" fmla="*/ 0 h 1136926"/>
              <a:gd name="connsiteX1" fmla="*/ 1136926 w 1136926"/>
              <a:gd name="connsiteY1" fmla="*/ 568463 h 1136926"/>
              <a:gd name="connsiteX2" fmla="*/ 568463 w 1136926"/>
              <a:gd name="connsiteY2" fmla="*/ 1136926 h 1136926"/>
              <a:gd name="connsiteX3" fmla="*/ 0 w 1136926"/>
              <a:gd name="connsiteY3" fmla="*/ 568463 h 1136926"/>
              <a:gd name="connsiteX4" fmla="*/ 568463 w 1136926"/>
              <a:gd name="connsiteY4" fmla="*/ 0 h 113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6926" h="1136926">
                <a:moveTo>
                  <a:pt x="568463" y="0"/>
                </a:moveTo>
                <a:cubicBezTo>
                  <a:pt x="882416" y="0"/>
                  <a:pt x="1136926" y="254510"/>
                  <a:pt x="1136926" y="568463"/>
                </a:cubicBezTo>
                <a:cubicBezTo>
                  <a:pt x="1136926" y="882416"/>
                  <a:pt x="882416" y="1136926"/>
                  <a:pt x="568463" y="1136926"/>
                </a:cubicBezTo>
                <a:cubicBezTo>
                  <a:pt x="254510" y="1136926"/>
                  <a:pt x="0" y="882416"/>
                  <a:pt x="0" y="568463"/>
                </a:cubicBezTo>
                <a:cubicBezTo>
                  <a:pt x="0" y="254510"/>
                  <a:pt x="254510" y="0"/>
                  <a:pt x="568463" y="0"/>
                </a:cubicBezTo>
                <a:close/>
              </a:path>
            </a:pathLst>
          </a:custGeom>
        </p:spPr>
      </p:pic>
      <p:sp>
        <p:nvSpPr>
          <p:cNvPr id="53" name="Google Shape;373;p20">
            <a:extLst>
              <a:ext uri="{FF2B5EF4-FFF2-40B4-BE49-F238E27FC236}">
                <a16:creationId xmlns:a16="http://schemas.microsoft.com/office/drawing/2014/main" id="{369A301C-5E48-7539-3A99-E1F8E7AE3FE0}"/>
              </a:ext>
            </a:extLst>
          </p:cNvPr>
          <p:cNvSpPr/>
          <p:nvPr/>
        </p:nvSpPr>
        <p:spPr>
          <a:xfrm>
            <a:off x="1667431" y="961512"/>
            <a:ext cx="9309079" cy="5549260"/>
          </a:xfrm>
          <a:custGeom>
            <a:avLst/>
            <a:gdLst/>
            <a:ahLst/>
            <a:cxnLst/>
            <a:rect l="l" t="t" r="r" b="b"/>
            <a:pathLst>
              <a:path w="184393" h="109919" extrusionOk="0">
                <a:moveTo>
                  <a:pt x="132708" y="3691"/>
                </a:moveTo>
                <a:cubicBezTo>
                  <a:pt x="132770" y="3856"/>
                  <a:pt x="132911" y="3902"/>
                  <a:pt x="133073" y="3902"/>
                </a:cubicBezTo>
                <a:cubicBezTo>
                  <a:pt x="133190" y="3902"/>
                  <a:pt x="133319" y="3878"/>
                  <a:pt x="133434" y="3858"/>
                </a:cubicBezTo>
                <a:lnTo>
                  <a:pt x="133374" y="3691"/>
                </a:lnTo>
                <a:close/>
                <a:moveTo>
                  <a:pt x="119587" y="3370"/>
                </a:moveTo>
                <a:cubicBezTo>
                  <a:pt x="119313" y="3370"/>
                  <a:pt x="118575" y="3715"/>
                  <a:pt x="118575" y="4013"/>
                </a:cubicBezTo>
                <a:cubicBezTo>
                  <a:pt x="118575" y="4239"/>
                  <a:pt x="118658" y="4346"/>
                  <a:pt x="118885" y="4346"/>
                </a:cubicBezTo>
                <a:cubicBezTo>
                  <a:pt x="119004" y="4346"/>
                  <a:pt x="119718" y="4167"/>
                  <a:pt x="119837" y="4060"/>
                </a:cubicBezTo>
                <a:lnTo>
                  <a:pt x="119587" y="3370"/>
                </a:lnTo>
                <a:close/>
                <a:moveTo>
                  <a:pt x="116337" y="2881"/>
                </a:moveTo>
                <a:cubicBezTo>
                  <a:pt x="116182" y="2881"/>
                  <a:pt x="116051" y="3060"/>
                  <a:pt x="116039" y="3251"/>
                </a:cubicBezTo>
                <a:cubicBezTo>
                  <a:pt x="115503" y="3251"/>
                  <a:pt x="115491" y="3691"/>
                  <a:pt x="114944" y="3691"/>
                </a:cubicBezTo>
                <a:lnTo>
                  <a:pt x="114944" y="3977"/>
                </a:lnTo>
                <a:cubicBezTo>
                  <a:pt x="115011" y="3928"/>
                  <a:pt x="115043" y="3909"/>
                  <a:pt x="115067" y="3909"/>
                </a:cubicBezTo>
                <a:cubicBezTo>
                  <a:pt x="115107" y="3909"/>
                  <a:pt x="115127" y="3961"/>
                  <a:pt x="115253" y="4013"/>
                </a:cubicBezTo>
                <a:lnTo>
                  <a:pt x="114491" y="4013"/>
                </a:lnTo>
                <a:cubicBezTo>
                  <a:pt x="114408" y="4108"/>
                  <a:pt x="114372" y="4144"/>
                  <a:pt x="114265" y="4263"/>
                </a:cubicBezTo>
                <a:cubicBezTo>
                  <a:pt x="114301" y="4275"/>
                  <a:pt x="115039" y="4667"/>
                  <a:pt x="115170" y="4667"/>
                </a:cubicBezTo>
                <a:cubicBezTo>
                  <a:pt x="115384" y="4667"/>
                  <a:pt x="115670" y="4405"/>
                  <a:pt x="115884" y="4405"/>
                </a:cubicBezTo>
                <a:cubicBezTo>
                  <a:pt x="115969" y="4405"/>
                  <a:pt x="116055" y="4414"/>
                  <a:pt x="116135" y="4414"/>
                </a:cubicBezTo>
                <a:cubicBezTo>
                  <a:pt x="116246" y="4414"/>
                  <a:pt x="116349" y="4398"/>
                  <a:pt x="116432" y="4322"/>
                </a:cubicBezTo>
                <a:cubicBezTo>
                  <a:pt x="116039" y="4132"/>
                  <a:pt x="115908" y="4084"/>
                  <a:pt x="115396" y="4001"/>
                </a:cubicBezTo>
                <a:cubicBezTo>
                  <a:pt x="115587" y="3774"/>
                  <a:pt x="115944" y="3643"/>
                  <a:pt x="116229" y="3429"/>
                </a:cubicBezTo>
                <a:cubicBezTo>
                  <a:pt x="116229" y="3322"/>
                  <a:pt x="116325" y="3215"/>
                  <a:pt x="116396" y="3143"/>
                </a:cubicBezTo>
                <a:cubicBezTo>
                  <a:pt x="116396" y="3084"/>
                  <a:pt x="116384" y="2881"/>
                  <a:pt x="116337" y="2881"/>
                </a:cubicBezTo>
                <a:close/>
                <a:moveTo>
                  <a:pt x="117253" y="4013"/>
                </a:moveTo>
                <a:cubicBezTo>
                  <a:pt x="117253" y="4060"/>
                  <a:pt x="117230" y="4132"/>
                  <a:pt x="117253" y="4298"/>
                </a:cubicBezTo>
                <a:cubicBezTo>
                  <a:pt x="117027" y="4382"/>
                  <a:pt x="116884" y="4560"/>
                  <a:pt x="116884" y="4882"/>
                </a:cubicBezTo>
                <a:cubicBezTo>
                  <a:pt x="116884" y="4930"/>
                  <a:pt x="117066" y="4949"/>
                  <a:pt x="117276" y="4949"/>
                </a:cubicBezTo>
                <a:cubicBezTo>
                  <a:pt x="117530" y="4949"/>
                  <a:pt x="117826" y="4921"/>
                  <a:pt x="117884" y="4882"/>
                </a:cubicBezTo>
                <a:lnTo>
                  <a:pt x="117789" y="4620"/>
                </a:lnTo>
                <a:cubicBezTo>
                  <a:pt x="117870" y="4620"/>
                  <a:pt x="117954" y="4642"/>
                  <a:pt x="118031" y="4642"/>
                </a:cubicBezTo>
                <a:cubicBezTo>
                  <a:pt x="118112" y="4642"/>
                  <a:pt x="118186" y="4617"/>
                  <a:pt x="118242" y="4513"/>
                </a:cubicBezTo>
                <a:cubicBezTo>
                  <a:pt x="118242" y="4429"/>
                  <a:pt x="118265" y="4382"/>
                  <a:pt x="118242" y="4191"/>
                </a:cubicBezTo>
                <a:cubicBezTo>
                  <a:pt x="118176" y="4211"/>
                  <a:pt x="118083" y="4219"/>
                  <a:pt x="117989" y="4219"/>
                </a:cubicBezTo>
                <a:cubicBezTo>
                  <a:pt x="117861" y="4219"/>
                  <a:pt x="117732" y="4205"/>
                  <a:pt x="117670" y="4191"/>
                </a:cubicBezTo>
                <a:cubicBezTo>
                  <a:pt x="117706" y="4191"/>
                  <a:pt x="117813" y="4132"/>
                  <a:pt x="117849" y="4013"/>
                </a:cubicBezTo>
                <a:close/>
                <a:moveTo>
                  <a:pt x="112169" y="4882"/>
                </a:moveTo>
                <a:cubicBezTo>
                  <a:pt x="112134" y="4929"/>
                  <a:pt x="112086" y="4953"/>
                  <a:pt x="112050" y="4977"/>
                </a:cubicBezTo>
                <a:lnTo>
                  <a:pt x="112050" y="5060"/>
                </a:lnTo>
                <a:lnTo>
                  <a:pt x="112169" y="4882"/>
                </a:lnTo>
                <a:close/>
                <a:moveTo>
                  <a:pt x="115979" y="4846"/>
                </a:moveTo>
                <a:cubicBezTo>
                  <a:pt x="115801" y="4846"/>
                  <a:pt x="115075" y="4977"/>
                  <a:pt x="115075" y="5275"/>
                </a:cubicBezTo>
                <a:cubicBezTo>
                  <a:pt x="115075" y="5358"/>
                  <a:pt x="115170" y="5429"/>
                  <a:pt x="115253" y="5429"/>
                </a:cubicBezTo>
                <a:cubicBezTo>
                  <a:pt x="115420" y="5429"/>
                  <a:pt x="115491" y="5429"/>
                  <a:pt x="115527" y="5215"/>
                </a:cubicBezTo>
                <a:cubicBezTo>
                  <a:pt x="115634" y="5215"/>
                  <a:pt x="115777" y="5429"/>
                  <a:pt x="115884" y="5429"/>
                </a:cubicBezTo>
                <a:cubicBezTo>
                  <a:pt x="116146" y="5429"/>
                  <a:pt x="116122" y="5108"/>
                  <a:pt x="116491" y="5108"/>
                </a:cubicBezTo>
                <a:cubicBezTo>
                  <a:pt x="116396" y="4953"/>
                  <a:pt x="116218" y="4846"/>
                  <a:pt x="115979" y="4846"/>
                </a:cubicBezTo>
                <a:close/>
                <a:moveTo>
                  <a:pt x="110455" y="4239"/>
                </a:moveTo>
                <a:cubicBezTo>
                  <a:pt x="110074" y="4239"/>
                  <a:pt x="109217" y="4298"/>
                  <a:pt x="109062" y="4644"/>
                </a:cubicBezTo>
                <a:cubicBezTo>
                  <a:pt x="109205" y="4667"/>
                  <a:pt x="109312" y="4727"/>
                  <a:pt x="109455" y="4727"/>
                </a:cubicBezTo>
                <a:cubicBezTo>
                  <a:pt x="109729" y="4727"/>
                  <a:pt x="110074" y="4453"/>
                  <a:pt x="110276" y="4453"/>
                </a:cubicBezTo>
                <a:cubicBezTo>
                  <a:pt x="110431" y="4453"/>
                  <a:pt x="110526" y="4584"/>
                  <a:pt x="110693" y="4644"/>
                </a:cubicBezTo>
                <a:cubicBezTo>
                  <a:pt x="110598" y="4727"/>
                  <a:pt x="110503" y="4775"/>
                  <a:pt x="110419" y="4846"/>
                </a:cubicBezTo>
                <a:cubicBezTo>
                  <a:pt x="110491" y="4858"/>
                  <a:pt x="110574" y="4882"/>
                  <a:pt x="110741" y="4882"/>
                </a:cubicBezTo>
                <a:cubicBezTo>
                  <a:pt x="110598" y="4929"/>
                  <a:pt x="110503" y="4977"/>
                  <a:pt x="110360" y="5060"/>
                </a:cubicBezTo>
                <a:cubicBezTo>
                  <a:pt x="110419" y="5251"/>
                  <a:pt x="110598" y="5322"/>
                  <a:pt x="110872" y="5322"/>
                </a:cubicBezTo>
                <a:lnTo>
                  <a:pt x="110848" y="5322"/>
                </a:lnTo>
                <a:cubicBezTo>
                  <a:pt x="110907" y="5406"/>
                  <a:pt x="110955" y="5513"/>
                  <a:pt x="111050" y="5537"/>
                </a:cubicBezTo>
                <a:cubicBezTo>
                  <a:pt x="111055" y="5537"/>
                  <a:pt x="111060" y="5538"/>
                  <a:pt x="111065" y="5538"/>
                </a:cubicBezTo>
                <a:cubicBezTo>
                  <a:pt x="111219" y="5538"/>
                  <a:pt x="111257" y="5164"/>
                  <a:pt x="111407" y="5060"/>
                </a:cubicBezTo>
                <a:cubicBezTo>
                  <a:pt x="111492" y="5004"/>
                  <a:pt x="111566" y="4988"/>
                  <a:pt x="111635" y="4988"/>
                </a:cubicBezTo>
                <a:cubicBezTo>
                  <a:pt x="111721" y="4988"/>
                  <a:pt x="111800" y="5012"/>
                  <a:pt x="111886" y="5012"/>
                </a:cubicBezTo>
                <a:cubicBezTo>
                  <a:pt x="111938" y="5012"/>
                  <a:pt x="111991" y="5003"/>
                  <a:pt x="112050" y="4977"/>
                </a:cubicBezTo>
                <a:lnTo>
                  <a:pt x="112050" y="4846"/>
                </a:lnTo>
                <a:cubicBezTo>
                  <a:pt x="112074" y="4852"/>
                  <a:pt x="112104" y="4855"/>
                  <a:pt x="112135" y="4855"/>
                </a:cubicBezTo>
                <a:cubicBezTo>
                  <a:pt x="112166" y="4855"/>
                  <a:pt x="112199" y="4852"/>
                  <a:pt x="112229" y="4846"/>
                </a:cubicBezTo>
                <a:cubicBezTo>
                  <a:pt x="112443" y="4644"/>
                  <a:pt x="112681" y="4846"/>
                  <a:pt x="112717" y="4453"/>
                </a:cubicBezTo>
                <a:cubicBezTo>
                  <a:pt x="112610" y="4405"/>
                  <a:pt x="112396" y="4239"/>
                  <a:pt x="112169" y="4239"/>
                </a:cubicBezTo>
                <a:cubicBezTo>
                  <a:pt x="111907" y="4239"/>
                  <a:pt x="111777" y="4513"/>
                  <a:pt x="111503" y="4513"/>
                </a:cubicBezTo>
                <a:cubicBezTo>
                  <a:pt x="111157" y="4513"/>
                  <a:pt x="110907" y="4239"/>
                  <a:pt x="110455" y="4239"/>
                </a:cubicBezTo>
                <a:close/>
                <a:moveTo>
                  <a:pt x="133648" y="5215"/>
                </a:moveTo>
                <a:cubicBezTo>
                  <a:pt x="133541" y="5215"/>
                  <a:pt x="133160" y="5215"/>
                  <a:pt x="133160" y="5429"/>
                </a:cubicBezTo>
                <a:cubicBezTo>
                  <a:pt x="133160" y="5620"/>
                  <a:pt x="133410" y="5977"/>
                  <a:pt x="133517" y="5977"/>
                </a:cubicBezTo>
                <a:cubicBezTo>
                  <a:pt x="133744" y="5977"/>
                  <a:pt x="134339" y="5929"/>
                  <a:pt x="134375" y="5537"/>
                </a:cubicBezTo>
                <a:cubicBezTo>
                  <a:pt x="134244" y="5489"/>
                  <a:pt x="133744" y="5215"/>
                  <a:pt x="133648" y="5215"/>
                </a:cubicBezTo>
                <a:close/>
                <a:moveTo>
                  <a:pt x="35213" y="5705"/>
                </a:moveTo>
                <a:cubicBezTo>
                  <a:pt x="35132" y="5705"/>
                  <a:pt x="35049" y="5707"/>
                  <a:pt x="34969" y="5715"/>
                </a:cubicBezTo>
                <a:cubicBezTo>
                  <a:pt x="34969" y="5977"/>
                  <a:pt x="35195" y="6013"/>
                  <a:pt x="35303" y="6144"/>
                </a:cubicBezTo>
                <a:lnTo>
                  <a:pt x="35612" y="6144"/>
                </a:lnTo>
                <a:lnTo>
                  <a:pt x="35612" y="5715"/>
                </a:lnTo>
                <a:cubicBezTo>
                  <a:pt x="35525" y="5715"/>
                  <a:pt x="35374" y="5705"/>
                  <a:pt x="35213" y="5705"/>
                </a:cubicBezTo>
                <a:close/>
                <a:moveTo>
                  <a:pt x="98096" y="4775"/>
                </a:moveTo>
                <a:cubicBezTo>
                  <a:pt x="98001" y="4870"/>
                  <a:pt x="97858" y="5275"/>
                  <a:pt x="97644" y="5275"/>
                </a:cubicBezTo>
                <a:cubicBezTo>
                  <a:pt x="97549" y="5275"/>
                  <a:pt x="97025" y="4977"/>
                  <a:pt x="96918" y="4846"/>
                </a:cubicBezTo>
                <a:lnTo>
                  <a:pt x="96406" y="4846"/>
                </a:lnTo>
                <a:lnTo>
                  <a:pt x="96501" y="5060"/>
                </a:lnTo>
                <a:lnTo>
                  <a:pt x="96191" y="5060"/>
                </a:lnTo>
                <a:lnTo>
                  <a:pt x="96191" y="5167"/>
                </a:lnTo>
                <a:cubicBezTo>
                  <a:pt x="96155" y="5192"/>
                  <a:pt x="96114" y="5202"/>
                  <a:pt x="96072" y="5202"/>
                </a:cubicBezTo>
                <a:cubicBezTo>
                  <a:pt x="95991" y="5202"/>
                  <a:pt x="95905" y="5163"/>
                  <a:pt x="95834" y="5108"/>
                </a:cubicBezTo>
                <a:lnTo>
                  <a:pt x="95560" y="5108"/>
                </a:lnTo>
                <a:cubicBezTo>
                  <a:pt x="95572" y="5322"/>
                  <a:pt x="95679" y="5489"/>
                  <a:pt x="95834" y="5620"/>
                </a:cubicBezTo>
                <a:cubicBezTo>
                  <a:pt x="95811" y="5864"/>
                  <a:pt x="95887" y="5927"/>
                  <a:pt x="96007" y="5927"/>
                </a:cubicBezTo>
                <a:cubicBezTo>
                  <a:pt x="96133" y="5927"/>
                  <a:pt x="96307" y="5858"/>
                  <a:pt x="96465" y="5858"/>
                </a:cubicBezTo>
                <a:cubicBezTo>
                  <a:pt x="96501" y="5858"/>
                  <a:pt x="97239" y="5929"/>
                  <a:pt x="97310" y="5929"/>
                </a:cubicBezTo>
                <a:cubicBezTo>
                  <a:pt x="97227" y="5977"/>
                  <a:pt x="97025" y="5977"/>
                  <a:pt x="96858" y="6037"/>
                </a:cubicBezTo>
                <a:cubicBezTo>
                  <a:pt x="96822" y="6037"/>
                  <a:pt x="96620" y="6037"/>
                  <a:pt x="96501" y="6060"/>
                </a:cubicBezTo>
                <a:cubicBezTo>
                  <a:pt x="96513" y="6227"/>
                  <a:pt x="96572" y="6346"/>
                  <a:pt x="96739" y="6406"/>
                </a:cubicBezTo>
                <a:lnTo>
                  <a:pt x="97763" y="6406"/>
                </a:lnTo>
                <a:cubicBezTo>
                  <a:pt x="97894" y="6668"/>
                  <a:pt x="98072" y="6799"/>
                  <a:pt x="98406" y="6799"/>
                </a:cubicBezTo>
                <a:cubicBezTo>
                  <a:pt x="98930" y="6799"/>
                  <a:pt x="99835" y="6037"/>
                  <a:pt x="100263" y="5691"/>
                </a:cubicBezTo>
                <a:cubicBezTo>
                  <a:pt x="100156" y="5429"/>
                  <a:pt x="99811" y="5108"/>
                  <a:pt x="99454" y="5108"/>
                </a:cubicBezTo>
                <a:lnTo>
                  <a:pt x="98858" y="5108"/>
                </a:lnTo>
                <a:cubicBezTo>
                  <a:pt x="98584" y="5108"/>
                  <a:pt x="98477" y="5322"/>
                  <a:pt x="98311" y="5322"/>
                </a:cubicBezTo>
                <a:cubicBezTo>
                  <a:pt x="98275" y="5167"/>
                  <a:pt x="98311" y="5060"/>
                  <a:pt x="98311" y="4775"/>
                </a:cubicBezTo>
                <a:close/>
                <a:moveTo>
                  <a:pt x="135458" y="3584"/>
                </a:moveTo>
                <a:cubicBezTo>
                  <a:pt x="134589" y="3584"/>
                  <a:pt x="134327" y="4608"/>
                  <a:pt x="133553" y="4858"/>
                </a:cubicBezTo>
                <a:cubicBezTo>
                  <a:pt x="134029" y="5144"/>
                  <a:pt x="134375" y="5322"/>
                  <a:pt x="134887" y="5322"/>
                </a:cubicBezTo>
                <a:cubicBezTo>
                  <a:pt x="134994" y="5322"/>
                  <a:pt x="135458" y="5358"/>
                  <a:pt x="135637" y="5358"/>
                </a:cubicBezTo>
                <a:cubicBezTo>
                  <a:pt x="135065" y="5584"/>
                  <a:pt x="134887" y="5822"/>
                  <a:pt x="134279" y="6060"/>
                </a:cubicBezTo>
                <a:cubicBezTo>
                  <a:pt x="134553" y="6227"/>
                  <a:pt x="135029" y="6834"/>
                  <a:pt x="135244" y="6834"/>
                </a:cubicBezTo>
                <a:cubicBezTo>
                  <a:pt x="135899" y="6834"/>
                  <a:pt x="136482" y="7227"/>
                  <a:pt x="137280" y="7227"/>
                </a:cubicBezTo>
                <a:cubicBezTo>
                  <a:pt x="137434" y="7227"/>
                  <a:pt x="137637" y="7096"/>
                  <a:pt x="137637" y="6906"/>
                </a:cubicBezTo>
                <a:cubicBezTo>
                  <a:pt x="137637" y="6751"/>
                  <a:pt x="137494" y="6691"/>
                  <a:pt x="137363" y="6644"/>
                </a:cubicBezTo>
                <a:cubicBezTo>
                  <a:pt x="137470" y="6596"/>
                  <a:pt x="137732" y="6584"/>
                  <a:pt x="137732" y="6358"/>
                </a:cubicBezTo>
                <a:cubicBezTo>
                  <a:pt x="137732" y="6144"/>
                  <a:pt x="137696" y="6096"/>
                  <a:pt x="137875" y="5929"/>
                </a:cubicBezTo>
                <a:cubicBezTo>
                  <a:pt x="137637" y="5644"/>
                  <a:pt x="137637" y="5501"/>
                  <a:pt x="137280" y="5501"/>
                </a:cubicBezTo>
                <a:lnTo>
                  <a:pt x="136911" y="5501"/>
                </a:lnTo>
                <a:cubicBezTo>
                  <a:pt x="136696" y="5501"/>
                  <a:pt x="136589" y="5275"/>
                  <a:pt x="136363" y="5275"/>
                </a:cubicBezTo>
                <a:cubicBezTo>
                  <a:pt x="136268" y="5275"/>
                  <a:pt x="136215" y="5248"/>
                  <a:pt x="136134" y="5248"/>
                </a:cubicBezTo>
                <a:cubicBezTo>
                  <a:pt x="136093" y="5248"/>
                  <a:pt x="136045" y="5255"/>
                  <a:pt x="135982" y="5275"/>
                </a:cubicBezTo>
                <a:cubicBezTo>
                  <a:pt x="136137" y="5191"/>
                  <a:pt x="136327" y="5013"/>
                  <a:pt x="136327" y="4882"/>
                </a:cubicBezTo>
                <a:cubicBezTo>
                  <a:pt x="136327" y="4775"/>
                  <a:pt x="136351" y="4715"/>
                  <a:pt x="136327" y="4453"/>
                </a:cubicBezTo>
                <a:lnTo>
                  <a:pt x="136327" y="4453"/>
                </a:lnTo>
                <a:cubicBezTo>
                  <a:pt x="136365" y="4466"/>
                  <a:pt x="136373" y="4481"/>
                  <a:pt x="136400" y="4481"/>
                </a:cubicBezTo>
                <a:cubicBezTo>
                  <a:pt x="136424" y="4481"/>
                  <a:pt x="136463" y="4469"/>
                  <a:pt x="136553" y="4429"/>
                </a:cubicBezTo>
                <a:cubicBezTo>
                  <a:pt x="136256" y="4167"/>
                  <a:pt x="135970" y="3584"/>
                  <a:pt x="135458" y="3584"/>
                </a:cubicBezTo>
                <a:close/>
                <a:moveTo>
                  <a:pt x="91845" y="7061"/>
                </a:moveTo>
                <a:cubicBezTo>
                  <a:pt x="91834" y="7061"/>
                  <a:pt x="91822" y="7072"/>
                  <a:pt x="91810" y="7084"/>
                </a:cubicBezTo>
                <a:cubicBezTo>
                  <a:pt x="91810" y="7084"/>
                  <a:pt x="91810" y="7084"/>
                  <a:pt x="91810" y="7084"/>
                </a:cubicBezTo>
                <a:lnTo>
                  <a:pt x="91810" y="7084"/>
                </a:lnTo>
                <a:lnTo>
                  <a:pt x="91810" y="7084"/>
                </a:lnTo>
                <a:lnTo>
                  <a:pt x="91810" y="7084"/>
                </a:lnTo>
                <a:cubicBezTo>
                  <a:pt x="91536" y="7287"/>
                  <a:pt x="92060" y="7882"/>
                  <a:pt x="92405" y="7989"/>
                </a:cubicBezTo>
                <a:cubicBezTo>
                  <a:pt x="92286" y="7525"/>
                  <a:pt x="92036" y="7430"/>
                  <a:pt x="91810" y="7084"/>
                </a:cubicBezTo>
                <a:lnTo>
                  <a:pt x="91810" y="7084"/>
                </a:lnTo>
                <a:lnTo>
                  <a:pt x="91845" y="7120"/>
                </a:lnTo>
                <a:lnTo>
                  <a:pt x="91845" y="7061"/>
                </a:lnTo>
                <a:close/>
                <a:moveTo>
                  <a:pt x="28957" y="7442"/>
                </a:moveTo>
                <a:cubicBezTo>
                  <a:pt x="28718" y="7442"/>
                  <a:pt x="27635" y="7930"/>
                  <a:pt x="27635" y="8204"/>
                </a:cubicBezTo>
                <a:cubicBezTo>
                  <a:pt x="27778" y="8180"/>
                  <a:pt x="27849" y="8037"/>
                  <a:pt x="27992" y="8037"/>
                </a:cubicBezTo>
                <a:cubicBezTo>
                  <a:pt x="28183" y="8037"/>
                  <a:pt x="28230" y="8204"/>
                  <a:pt x="28457" y="8204"/>
                </a:cubicBezTo>
                <a:lnTo>
                  <a:pt x="29230" y="8204"/>
                </a:lnTo>
                <a:cubicBezTo>
                  <a:pt x="29445" y="8204"/>
                  <a:pt x="29576" y="8073"/>
                  <a:pt x="29719" y="7989"/>
                </a:cubicBezTo>
                <a:cubicBezTo>
                  <a:pt x="29647" y="7703"/>
                  <a:pt x="29338" y="7442"/>
                  <a:pt x="28957" y="7442"/>
                </a:cubicBezTo>
                <a:close/>
                <a:moveTo>
                  <a:pt x="141852" y="7882"/>
                </a:moveTo>
                <a:lnTo>
                  <a:pt x="141852" y="7882"/>
                </a:lnTo>
                <a:cubicBezTo>
                  <a:pt x="141802" y="7909"/>
                  <a:pt x="141762" y="7916"/>
                  <a:pt x="141717" y="7916"/>
                </a:cubicBezTo>
                <a:cubicBezTo>
                  <a:pt x="141669" y="7916"/>
                  <a:pt x="141616" y="7908"/>
                  <a:pt x="141539" y="7908"/>
                </a:cubicBezTo>
                <a:cubicBezTo>
                  <a:pt x="141469" y="7908"/>
                  <a:pt x="141380" y="7915"/>
                  <a:pt x="141256" y="7942"/>
                </a:cubicBezTo>
                <a:cubicBezTo>
                  <a:pt x="141316" y="8061"/>
                  <a:pt x="141399" y="8204"/>
                  <a:pt x="141625" y="8204"/>
                </a:cubicBezTo>
                <a:cubicBezTo>
                  <a:pt x="141745" y="8204"/>
                  <a:pt x="141840" y="8037"/>
                  <a:pt x="141852" y="7882"/>
                </a:cubicBezTo>
                <a:close/>
                <a:moveTo>
                  <a:pt x="37779" y="3774"/>
                </a:moveTo>
                <a:cubicBezTo>
                  <a:pt x="37803" y="4084"/>
                  <a:pt x="38113" y="4108"/>
                  <a:pt x="38327" y="4239"/>
                </a:cubicBezTo>
                <a:lnTo>
                  <a:pt x="38017" y="4239"/>
                </a:lnTo>
                <a:cubicBezTo>
                  <a:pt x="37942" y="4216"/>
                  <a:pt x="37876" y="4206"/>
                  <a:pt x="37817" y="4206"/>
                </a:cubicBezTo>
                <a:cubicBezTo>
                  <a:pt x="37624" y="4206"/>
                  <a:pt x="37500" y="4311"/>
                  <a:pt x="37327" y="4429"/>
                </a:cubicBezTo>
                <a:cubicBezTo>
                  <a:pt x="37327" y="4453"/>
                  <a:pt x="37493" y="4775"/>
                  <a:pt x="37565" y="4775"/>
                </a:cubicBezTo>
                <a:cubicBezTo>
                  <a:pt x="37636" y="4775"/>
                  <a:pt x="37761" y="4716"/>
                  <a:pt x="37889" y="4716"/>
                </a:cubicBezTo>
                <a:cubicBezTo>
                  <a:pt x="37952" y="4716"/>
                  <a:pt x="38017" y="4731"/>
                  <a:pt x="38077" y="4775"/>
                </a:cubicBezTo>
                <a:cubicBezTo>
                  <a:pt x="38017" y="4846"/>
                  <a:pt x="37982" y="4989"/>
                  <a:pt x="37874" y="4989"/>
                </a:cubicBezTo>
                <a:cubicBezTo>
                  <a:pt x="37732" y="4989"/>
                  <a:pt x="37636" y="4846"/>
                  <a:pt x="37386" y="4846"/>
                </a:cubicBezTo>
                <a:cubicBezTo>
                  <a:pt x="37358" y="4846"/>
                  <a:pt x="37328" y="4845"/>
                  <a:pt x="37297" y="4845"/>
                </a:cubicBezTo>
                <a:cubicBezTo>
                  <a:pt x="37143" y="4845"/>
                  <a:pt x="36970" y="4862"/>
                  <a:pt x="36970" y="5060"/>
                </a:cubicBezTo>
                <a:cubicBezTo>
                  <a:pt x="36970" y="5298"/>
                  <a:pt x="37529" y="5453"/>
                  <a:pt x="37767" y="5537"/>
                </a:cubicBezTo>
                <a:cubicBezTo>
                  <a:pt x="37767" y="5537"/>
                  <a:pt x="37672" y="5715"/>
                  <a:pt x="37601" y="5715"/>
                </a:cubicBezTo>
                <a:cubicBezTo>
                  <a:pt x="37446" y="5715"/>
                  <a:pt x="37148" y="5584"/>
                  <a:pt x="37065" y="5489"/>
                </a:cubicBezTo>
                <a:lnTo>
                  <a:pt x="36791" y="5489"/>
                </a:lnTo>
                <a:cubicBezTo>
                  <a:pt x="36839" y="6120"/>
                  <a:pt x="37220" y="6191"/>
                  <a:pt x="37839" y="6191"/>
                </a:cubicBezTo>
                <a:cubicBezTo>
                  <a:pt x="37732" y="6358"/>
                  <a:pt x="37601" y="6382"/>
                  <a:pt x="37422" y="6465"/>
                </a:cubicBezTo>
                <a:cubicBezTo>
                  <a:pt x="37422" y="6596"/>
                  <a:pt x="37446" y="6691"/>
                  <a:pt x="37565" y="6691"/>
                </a:cubicBezTo>
                <a:cubicBezTo>
                  <a:pt x="37708" y="6691"/>
                  <a:pt x="37767" y="6596"/>
                  <a:pt x="37946" y="6513"/>
                </a:cubicBezTo>
                <a:cubicBezTo>
                  <a:pt x="38005" y="6644"/>
                  <a:pt x="38017" y="6799"/>
                  <a:pt x="38196" y="6799"/>
                </a:cubicBezTo>
                <a:cubicBezTo>
                  <a:pt x="38422" y="6799"/>
                  <a:pt x="38470" y="6620"/>
                  <a:pt x="38744" y="6620"/>
                </a:cubicBezTo>
                <a:cubicBezTo>
                  <a:pt x="39017" y="6620"/>
                  <a:pt x="39220" y="6703"/>
                  <a:pt x="39482" y="6799"/>
                </a:cubicBezTo>
                <a:cubicBezTo>
                  <a:pt x="39232" y="6858"/>
                  <a:pt x="38113" y="6822"/>
                  <a:pt x="38113" y="7227"/>
                </a:cubicBezTo>
                <a:cubicBezTo>
                  <a:pt x="38113" y="7561"/>
                  <a:pt x="38613" y="7775"/>
                  <a:pt x="38922" y="7775"/>
                </a:cubicBezTo>
                <a:cubicBezTo>
                  <a:pt x="38875" y="7834"/>
                  <a:pt x="38815" y="7906"/>
                  <a:pt x="38696" y="7930"/>
                </a:cubicBezTo>
                <a:cubicBezTo>
                  <a:pt x="38732" y="8227"/>
                  <a:pt x="39125" y="8311"/>
                  <a:pt x="39410" y="8311"/>
                </a:cubicBezTo>
                <a:cubicBezTo>
                  <a:pt x="39684" y="8311"/>
                  <a:pt x="39851" y="8204"/>
                  <a:pt x="39851" y="7811"/>
                </a:cubicBezTo>
                <a:cubicBezTo>
                  <a:pt x="40011" y="7936"/>
                  <a:pt x="40314" y="8205"/>
                  <a:pt x="40485" y="8205"/>
                </a:cubicBezTo>
                <a:cubicBezTo>
                  <a:pt x="40492" y="8205"/>
                  <a:pt x="40499" y="8204"/>
                  <a:pt x="40506" y="8204"/>
                </a:cubicBezTo>
                <a:lnTo>
                  <a:pt x="40506" y="7930"/>
                </a:lnTo>
                <a:lnTo>
                  <a:pt x="40827" y="7930"/>
                </a:lnTo>
                <a:cubicBezTo>
                  <a:pt x="40780" y="7751"/>
                  <a:pt x="40696" y="7703"/>
                  <a:pt x="40589" y="7489"/>
                </a:cubicBezTo>
                <a:cubicBezTo>
                  <a:pt x="40684" y="7382"/>
                  <a:pt x="40720" y="7275"/>
                  <a:pt x="40815" y="7168"/>
                </a:cubicBezTo>
                <a:cubicBezTo>
                  <a:pt x="40863" y="7406"/>
                  <a:pt x="40863" y="7596"/>
                  <a:pt x="41101" y="7596"/>
                </a:cubicBezTo>
                <a:cubicBezTo>
                  <a:pt x="41339" y="7596"/>
                  <a:pt x="41589" y="6953"/>
                  <a:pt x="41946" y="6906"/>
                </a:cubicBezTo>
                <a:cubicBezTo>
                  <a:pt x="42101" y="6882"/>
                  <a:pt x="42292" y="6930"/>
                  <a:pt x="42363" y="6799"/>
                </a:cubicBezTo>
                <a:cubicBezTo>
                  <a:pt x="42423" y="6703"/>
                  <a:pt x="42387" y="6620"/>
                  <a:pt x="42387" y="6465"/>
                </a:cubicBezTo>
                <a:cubicBezTo>
                  <a:pt x="42149" y="6453"/>
                  <a:pt x="41684" y="6191"/>
                  <a:pt x="41494" y="6191"/>
                </a:cubicBezTo>
                <a:cubicBezTo>
                  <a:pt x="41470" y="6191"/>
                  <a:pt x="41346" y="6276"/>
                  <a:pt x="41265" y="6276"/>
                </a:cubicBezTo>
                <a:cubicBezTo>
                  <a:pt x="41225" y="6276"/>
                  <a:pt x="41196" y="6255"/>
                  <a:pt x="41196" y="6191"/>
                </a:cubicBezTo>
                <a:cubicBezTo>
                  <a:pt x="41196" y="6060"/>
                  <a:pt x="41315" y="6013"/>
                  <a:pt x="41315" y="5858"/>
                </a:cubicBezTo>
                <a:cubicBezTo>
                  <a:pt x="41315" y="5715"/>
                  <a:pt x="41101" y="5691"/>
                  <a:pt x="41101" y="5537"/>
                </a:cubicBezTo>
                <a:cubicBezTo>
                  <a:pt x="41101" y="5275"/>
                  <a:pt x="41113" y="5167"/>
                  <a:pt x="40863" y="5167"/>
                </a:cubicBezTo>
                <a:lnTo>
                  <a:pt x="40684" y="5167"/>
                </a:lnTo>
                <a:lnTo>
                  <a:pt x="40780" y="5322"/>
                </a:lnTo>
                <a:lnTo>
                  <a:pt x="40780" y="5596"/>
                </a:lnTo>
                <a:lnTo>
                  <a:pt x="40553" y="5596"/>
                </a:lnTo>
                <a:cubicBezTo>
                  <a:pt x="40399" y="5406"/>
                  <a:pt x="40506" y="5120"/>
                  <a:pt x="40232" y="4989"/>
                </a:cubicBezTo>
                <a:cubicBezTo>
                  <a:pt x="40168" y="4961"/>
                  <a:pt x="40109" y="4951"/>
                  <a:pt x="40052" y="4951"/>
                </a:cubicBezTo>
                <a:cubicBezTo>
                  <a:pt x="39929" y="4951"/>
                  <a:pt x="39820" y="4997"/>
                  <a:pt x="39698" y="4997"/>
                </a:cubicBezTo>
                <a:cubicBezTo>
                  <a:pt x="39638" y="4997"/>
                  <a:pt x="39575" y="4986"/>
                  <a:pt x="39506" y="4953"/>
                </a:cubicBezTo>
                <a:cubicBezTo>
                  <a:pt x="39220" y="4822"/>
                  <a:pt x="39291" y="4191"/>
                  <a:pt x="38922" y="4013"/>
                </a:cubicBezTo>
                <a:cubicBezTo>
                  <a:pt x="38601" y="3858"/>
                  <a:pt x="38243" y="3822"/>
                  <a:pt x="37779" y="3774"/>
                </a:cubicBezTo>
                <a:close/>
                <a:moveTo>
                  <a:pt x="139173" y="6251"/>
                </a:moveTo>
                <a:cubicBezTo>
                  <a:pt x="138447" y="6251"/>
                  <a:pt x="138292" y="7061"/>
                  <a:pt x="137875" y="7561"/>
                </a:cubicBezTo>
                <a:cubicBezTo>
                  <a:pt x="137768" y="7692"/>
                  <a:pt x="137542" y="7692"/>
                  <a:pt x="137542" y="8037"/>
                </a:cubicBezTo>
                <a:cubicBezTo>
                  <a:pt x="137542" y="8251"/>
                  <a:pt x="137601" y="8358"/>
                  <a:pt x="137815" y="8358"/>
                </a:cubicBezTo>
                <a:lnTo>
                  <a:pt x="138780" y="8037"/>
                </a:lnTo>
                <a:cubicBezTo>
                  <a:pt x="138780" y="8037"/>
                  <a:pt x="139339" y="7930"/>
                  <a:pt x="139411" y="7930"/>
                </a:cubicBezTo>
                <a:cubicBezTo>
                  <a:pt x="139468" y="7940"/>
                  <a:pt x="139544" y="7946"/>
                  <a:pt x="139631" y="7946"/>
                </a:cubicBezTo>
                <a:cubicBezTo>
                  <a:pt x="140038" y="7946"/>
                  <a:pt x="140685" y="7814"/>
                  <a:pt x="140685" y="7382"/>
                </a:cubicBezTo>
                <a:cubicBezTo>
                  <a:pt x="140685" y="7072"/>
                  <a:pt x="139935" y="6513"/>
                  <a:pt x="139685" y="6513"/>
                </a:cubicBezTo>
                <a:cubicBezTo>
                  <a:pt x="139554" y="6513"/>
                  <a:pt x="139482" y="6691"/>
                  <a:pt x="139351" y="6727"/>
                </a:cubicBezTo>
                <a:cubicBezTo>
                  <a:pt x="139506" y="6560"/>
                  <a:pt x="139411" y="6560"/>
                  <a:pt x="139411" y="6251"/>
                </a:cubicBezTo>
                <a:close/>
                <a:moveTo>
                  <a:pt x="36029" y="7168"/>
                </a:moveTo>
                <a:cubicBezTo>
                  <a:pt x="35850" y="7192"/>
                  <a:pt x="35612" y="7275"/>
                  <a:pt x="35612" y="7489"/>
                </a:cubicBezTo>
                <a:cubicBezTo>
                  <a:pt x="35612" y="7930"/>
                  <a:pt x="35993" y="8061"/>
                  <a:pt x="36208" y="8311"/>
                </a:cubicBezTo>
                <a:cubicBezTo>
                  <a:pt x="36148" y="8335"/>
                  <a:pt x="36029" y="8430"/>
                  <a:pt x="36029" y="8537"/>
                </a:cubicBezTo>
                <a:cubicBezTo>
                  <a:pt x="36029" y="8654"/>
                  <a:pt x="36155" y="8700"/>
                  <a:pt x="36350" y="8700"/>
                </a:cubicBezTo>
                <a:cubicBezTo>
                  <a:pt x="36592" y="8700"/>
                  <a:pt x="36942" y="8629"/>
                  <a:pt x="37291" y="8537"/>
                </a:cubicBezTo>
                <a:cubicBezTo>
                  <a:pt x="37243" y="8299"/>
                  <a:pt x="37291" y="8144"/>
                  <a:pt x="37291" y="7989"/>
                </a:cubicBezTo>
                <a:cubicBezTo>
                  <a:pt x="37291" y="7537"/>
                  <a:pt x="36660" y="8013"/>
                  <a:pt x="36660" y="7489"/>
                </a:cubicBezTo>
                <a:cubicBezTo>
                  <a:pt x="36458" y="7489"/>
                  <a:pt x="36077" y="7334"/>
                  <a:pt x="36029" y="7168"/>
                </a:cubicBezTo>
                <a:close/>
                <a:moveTo>
                  <a:pt x="32350" y="6620"/>
                </a:moveTo>
                <a:cubicBezTo>
                  <a:pt x="32136" y="6620"/>
                  <a:pt x="31981" y="6751"/>
                  <a:pt x="31766" y="6799"/>
                </a:cubicBezTo>
                <a:cubicBezTo>
                  <a:pt x="31766" y="7061"/>
                  <a:pt x="31826" y="7120"/>
                  <a:pt x="32076" y="7120"/>
                </a:cubicBezTo>
                <a:cubicBezTo>
                  <a:pt x="32052" y="7203"/>
                  <a:pt x="32005" y="7299"/>
                  <a:pt x="31945" y="7334"/>
                </a:cubicBezTo>
                <a:cubicBezTo>
                  <a:pt x="31993" y="7378"/>
                  <a:pt x="32035" y="7393"/>
                  <a:pt x="32085" y="7393"/>
                </a:cubicBezTo>
                <a:cubicBezTo>
                  <a:pt x="32186" y="7393"/>
                  <a:pt x="32318" y="7334"/>
                  <a:pt x="32588" y="7334"/>
                </a:cubicBezTo>
                <a:cubicBezTo>
                  <a:pt x="32552" y="7406"/>
                  <a:pt x="32552" y="7537"/>
                  <a:pt x="32588" y="7596"/>
                </a:cubicBezTo>
                <a:cubicBezTo>
                  <a:pt x="32362" y="7692"/>
                  <a:pt x="32207" y="7668"/>
                  <a:pt x="32040" y="7858"/>
                </a:cubicBezTo>
                <a:cubicBezTo>
                  <a:pt x="32175" y="8022"/>
                  <a:pt x="32248" y="8038"/>
                  <a:pt x="32403" y="8038"/>
                </a:cubicBezTo>
                <a:cubicBezTo>
                  <a:pt x="32440" y="8038"/>
                  <a:pt x="32481" y="8037"/>
                  <a:pt x="32528" y="8037"/>
                </a:cubicBezTo>
                <a:cubicBezTo>
                  <a:pt x="32673" y="8037"/>
                  <a:pt x="32808" y="8007"/>
                  <a:pt x="32916" y="8007"/>
                </a:cubicBezTo>
                <a:cubicBezTo>
                  <a:pt x="33011" y="8007"/>
                  <a:pt x="33085" y="8031"/>
                  <a:pt x="33124" y="8120"/>
                </a:cubicBezTo>
                <a:cubicBezTo>
                  <a:pt x="33175" y="8113"/>
                  <a:pt x="33223" y="8110"/>
                  <a:pt x="33269" y="8110"/>
                </a:cubicBezTo>
                <a:cubicBezTo>
                  <a:pt x="33519" y="8110"/>
                  <a:pt x="33699" y="8204"/>
                  <a:pt x="33981" y="8204"/>
                </a:cubicBezTo>
                <a:cubicBezTo>
                  <a:pt x="34398" y="8204"/>
                  <a:pt x="34362" y="8751"/>
                  <a:pt x="34791" y="8751"/>
                </a:cubicBezTo>
                <a:cubicBezTo>
                  <a:pt x="34934" y="8751"/>
                  <a:pt x="35124" y="8692"/>
                  <a:pt x="35124" y="8465"/>
                </a:cubicBezTo>
                <a:cubicBezTo>
                  <a:pt x="35124" y="8227"/>
                  <a:pt x="34755" y="8061"/>
                  <a:pt x="34612" y="7882"/>
                </a:cubicBezTo>
                <a:cubicBezTo>
                  <a:pt x="34648" y="7823"/>
                  <a:pt x="34719" y="7727"/>
                  <a:pt x="34755" y="7668"/>
                </a:cubicBezTo>
                <a:cubicBezTo>
                  <a:pt x="34672" y="7561"/>
                  <a:pt x="34469" y="7168"/>
                  <a:pt x="34219" y="7168"/>
                </a:cubicBezTo>
                <a:cubicBezTo>
                  <a:pt x="34100" y="7168"/>
                  <a:pt x="34052" y="7334"/>
                  <a:pt x="33945" y="7334"/>
                </a:cubicBezTo>
                <a:cubicBezTo>
                  <a:pt x="33743" y="7334"/>
                  <a:pt x="33767" y="6834"/>
                  <a:pt x="33398" y="6834"/>
                </a:cubicBezTo>
                <a:cubicBezTo>
                  <a:pt x="33255" y="6834"/>
                  <a:pt x="33183" y="7013"/>
                  <a:pt x="33040" y="7013"/>
                </a:cubicBezTo>
                <a:cubicBezTo>
                  <a:pt x="32814" y="7013"/>
                  <a:pt x="32731" y="6620"/>
                  <a:pt x="32350" y="6620"/>
                </a:cubicBezTo>
                <a:close/>
                <a:moveTo>
                  <a:pt x="33576" y="8465"/>
                </a:moveTo>
                <a:cubicBezTo>
                  <a:pt x="33505" y="8465"/>
                  <a:pt x="33088" y="8799"/>
                  <a:pt x="33421" y="8799"/>
                </a:cubicBezTo>
                <a:cubicBezTo>
                  <a:pt x="33683" y="8799"/>
                  <a:pt x="33910" y="8799"/>
                  <a:pt x="33993" y="8644"/>
                </a:cubicBezTo>
                <a:cubicBezTo>
                  <a:pt x="33838" y="8573"/>
                  <a:pt x="33779" y="8465"/>
                  <a:pt x="33576" y="8465"/>
                </a:cubicBezTo>
                <a:close/>
                <a:moveTo>
                  <a:pt x="26954" y="8444"/>
                </a:moveTo>
                <a:cubicBezTo>
                  <a:pt x="26879" y="8444"/>
                  <a:pt x="26825" y="8505"/>
                  <a:pt x="26825" y="8680"/>
                </a:cubicBezTo>
                <a:cubicBezTo>
                  <a:pt x="26825" y="8799"/>
                  <a:pt x="27016" y="9013"/>
                  <a:pt x="27183" y="9013"/>
                </a:cubicBezTo>
                <a:cubicBezTo>
                  <a:pt x="27314" y="9013"/>
                  <a:pt x="27361" y="8882"/>
                  <a:pt x="27433" y="8751"/>
                </a:cubicBezTo>
                <a:cubicBezTo>
                  <a:pt x="27360" y="8703"/>
                  <a:pt x="27110" y="8444"/>
                  <a:pt x="26954" y="8444"/>
                </a:cubicBezTo>
                <a:close/>
                <a:moveTo>
                  <a:pt x="37874" y="8799"/>
                </a:moveTo>
                <a:cubicBezTo>
                  <a:pt x="37529" y="8799"/>
                  <a:pt x="36874" y="8835"/>
                  <a:pt x="36696" y="9049"/>
                </a:cubicBezTo>
                <a:cubicBezTo>
                  <a:pt x="36696" y="9049"/>
                  <a:pt x="37743" y="9287"/>
                  <a:pt x="37839" y="9287"/>
                </a:cubicBezTo>
                <a:cubicBezTo>
                  <a:pt x="38005" y="9287"/>
                  <a:pt x="38113" y="9180"/>
                  <a:pt x="38113" y="9073"/>
                </a:cubicBezTo>
                <a:lnTo>
                  <a:pt x="38113" y="8799"/>
                </a:lnTo>
                <a:cubicBezTo>
                  <a:pt x="38053" y="8811"/>
                  <a:pt x="38029" y="8815"/>
                  <a:pt x="38016" y="8815"/>
                </a:cubicBezTo>
                <a:cubicBezTo>
                  <a:pt x="37991" y="8815"/>
                  <a:pt x="38009" y="8799"/>
                  <a:pt x="37874" y="8799"/>
                </a:cubicBezTo>
                <a:close/>
                <a:moveTo>
                  <a:pt x="29171" y="8311"/>
                </a:moveTo>
                <a:cubicBezTo>
                  <a:pt x="28802" y="8311"/>
                  <a:pt x="27695" y="8358"/>
                  <a:pt x="27695" y="8858"/>
                </a:cubicBezTo>
                <a:cubicBezTo>
                  <a:pt x="27695" y="9049"/>
                  <a:pt x="28004" y="9442"/>
                  <a:pt x="28266" y="9442"/>
                </a:cubicBezTo>
                <a:cubicBezTo>
                  <a:pt x="28671" y="9442"/>
                  <a:pt x="29266" y="9251"/>
                  <a:pt x="29230" y="8799"/>
                </a:cubicBezTo>
                <a:lnTo>
                  <a:pt x="28718" y="8799"/>
                </a:lnTo>
                <a:cubicBezTo>
                  <a:pt x="28992" y="8799"/>
                  <a:pt x="29302" y="8727"/>
                  <a:pt x="29504" y="8537"/>
                </a:cubicBezTo>
                <a:cubicBezTo>
                  <a:pt x="29445" y="8442"/>
                  <a:pt x="29373" y="8311"/>
                  <a:pt x="29171" y="8311"/>
                </a:cubicBezTo>
                <a:close/>
                <a:moveTo>
                  <a:pt x="31528" y="8799"/>
                </a:moveTo>
                <a:cubicBezTo>
                  <a:pt x="31528" y="9073"/>
                  <a:pt x="31969" y="9656"/>
                  <a:pt x="32171" y="9656"/>
                </a:cubicBezTo>
                <a:cubicBezTo>
                  <a:pt x="32290" y="9656"/>
                  <a:pt x="32398" y="9549"/>
                  <a:pt x="32421" y="9406"/>
                </a:cubicBezTo>
                <a:cubicBezTo>
                  <a:pt x="32040" y="9251"/>
                  <a:pt x="32005" y="8799"/>
                  <a:pt x="31528" y="8799"/>
                </a:cubicBezTo>
                <a:close/>
                <a:moveTo>
                  <a:pt x="135696" y="9335"/>
                </a:moveTo>
                <a:cubicBezTo>
                  <a:pt x="135625" y="9406"/>
                  <a:pt x="135529" y="9489"/>
                  <a:pt x="135422" y="9549"/>
                </a:cubicBezTo>
                <a:cubicBezTo>
                  <a:pt x="135446" y="9656"/>
                  <a:pt x="135518" y="9775"/>
                  <a:pt x="135601" y="9775"/>
                </a:cubicBezTo>
                <a:cubicBezTo>
                  <a:pt x="135827" y="9775"/>
                  <a:pt x="135934" y="9644"/>
                  <a:pt x="135970" y="9335"/>
                </a:cubicBezTo>
                <a:close/>
                <a:moveTo>
                  <a:pt x="26909" y="9989"/>
                </a:moveTo>
                <a:cubicBezTo>
                  <a:pt x="26909" y="10180"/>
                  <a:pt x="27052" y="10275"/>
                  <a:pt x="27147" y="10275"/>
                </a:cubicBezTo>
                <a:lnTo>
                  <a:pt x="27540" y="10275"/>
                </a:lnTo>
                <a:lnTo>
                  <a:pt x="27540" y="9989"/>
                </a:lnTo>
                <a:close/>
                <a:moveTo>
                  <a:pt x="94739" y="5501"/>
                </a:moveTo>
                <a:cubicBezTo>
                  <a:pt x="94512" y="5501"/>
                  <a:pt x="94381" y="5501"/>
                  <a:pt x="94381" y="5822"/>
                </a:cubicBezTo>
                <a:cubicBezTo>
                  <a:pt x="94381" y="6227"/>
                  <a:pt x="94489" y="6430"/>
                  <a:pt x="94596" y="6775"/>
                </a:cubicBezTo>
                <a:cubicBezTo>
                  <a:pt x="94143" y="6572"/>
                  <a:pt x="94274" y="5822"/>
                  <a:pt x="93774" y="5822"/>
                </a:cubicBezTo>
                <a:cubicBezTo>
                  <a:pt x="93619" y="5822"/>
                  <a:pt x="93477" y="5989"/>
                  <a:pt x="93477" y="6191"/>
                </a:cubicBezTo>
                <a:cubicBezTo>
                  <a:pt x="93477" y="6276"/>
                  <a:pt x="93497" y="6352"/>
                  <a:pt x="93530" y="6403"/>
                </a:cubicBezTo>
                <a:lnTo>
                  <a:pt x="93530" y="6403"/>
                </a:lnTo>
                <a:cubicBezTo>
                  <a:pt x="93416" y="6317"/>
                  <a:pt x="93266" y="6292"/>
                  <a:pt x="93108" y="6144"/>
                </a:cubicBezTo>
                <a:cubicBezTo>
                  <a:pt x="93167" y="6037"/>
                  <a:pt x="93238" y="5977"/>
                  <a:pt x="93334" y="5846"/>
                </a:cubicBezTo>
                <a:cubicBezTo>
                  <a:pt x="92917" y="5751"/>
                  <a:pt x="92715" y="5751"/>
                  <a:pt x="92417" y="5751"/>
                </a:cubicBezTo>
                <a:cubicBezTo>
                  <a:pt x="92238" y="5751"/>
                  <a:pt x="91857" y="6168"/>
                  <a:pt x="91786" y="6275"/>
                </a:cubicBezTo>
                <a:cubicBezTo>
                  <a:pt x="91917" y="6430"/>
                  <a:pt x="92107" y="6799"/>
                  <a:pt x="92238" y="6799"/>
                </a:cubicBezTo>
                <a:cubicBezTo>
                  <a:pt x="92298" y="6799"/>
                  <a:pt x="92334" y="6858"/>
                  <a:pt x="92381" y="6882"/>
                </a:cubicBezTo>
                <a:cubicBezTo>
                  <a:pt x="92310" y="7227"/>
                  <a:pt x="92584" y="7406"/>
                  <a:pt x="92893" y="7596"/>
                </a:cubicBezTo>
                <a:cubicBezTo>
                  <a:pt x="92834" y="7596"/>
                  <a:pt x="92798" y="7620"/>
                  <a:pt x="92750" y="7644"/>
                </a:cubicBezTo>
                <a:cubicBezTo>
                  <a:pt x="92834" y="7858"/>
                  <a:pt x="93036" y="7989"/>
                  <a:pt x="93322" y="7989"/>
                </a:cubicBezTo>
                <a:cubicBezTo>
                  <a:pt x="93703" y="7989"/>
                  <a:pt x="93703" y="7513"/>
                  <a:pt x="93870" y="7406"/>
                </a:cubicBezTo>
                <a:lnTo>
                  <a:pt x="94012" y="7406"/>
                </a:lnTo>
                <a:cubicBezTo>
                  <a:pt x="94096" y="7465"/>
                  <a:pt x="94251" y="7596"/>
                  <a:pt x="94286" y="7596"/>
                </a:cubicBezTo>
                <a:lnTo>
                  <a:pt x="94762" y="7596"/>
                </a:lnTo>
                <a:cubicBezTo>
                  <a:pt x="94560" y="7799"/>
                  <a:pt x="94072" y="8061"/>
                  <a:pt x="93834" y="8144"/>
                </a:cubicBezTo>
                <a:cubicBezTo>
                  <a:pt x="93739" y="8168"/>
                  <a:pt x="93334" y="8168"/>
                  <a:pt x="93334" y="8358"/>
                </a:cubicBezTo>
                <a:cubicBezTo>
                  <a:pt x="93334" y="8633"/>
                  <a:pt x="93461" y="8698"/>
                  <a:pt x="93613" y="8698"/>
                </a:cubicBezTo>
                <a:cubicBezTo>
                  <a:pt x="93752" y="8698"/>
                  <a:pt x="93910" y="8644"/>
                  <a:pt x="94012" y="8644"/>
                </a:cubicBezTo>
                <a:cubicBezTo>
                  <a:pt x="94143" y="8644"/>
                  <a:pt x="94727" y="8668"/>
                  <a:pt x="94834" y="8751"/>
                </a:cubicBezTo>
                <a:cubicBezTo>
                  <a:pt x="94608" y="8811"/>
                  <a:pt x="94417" y="8751"/>
                  <a:pt x="94239" y="8930"/>
                </a:cubicBezTo>
                <a:cubicBezTo>
                  <a:pt x="94239" y="8930"/>
                  <a:pt x="94004" y="8890"/>
                  <a:pt x="93776" y="8890"/>
                </a:cubicBezTo>
                <a:cubicBezTo>
                  <a:pt x="93701" y="8890"/>
                  <a:pt x="93625" y="8894"/>
                  <a:pt x="93560" y="8906"/>
                </a:cubicBezTo>
                <a:cubicBezTo>
                  <a:pt x="93560" y="9644"/>
                  <a:pt x="94548" y="9918"/>
                  <a:pt x="94977" y="10275"/>
                </a:cubicBezTo>
                <a:cubicBezTo>
                  <a:pt x="95227" y="9966"/>
                  <a:pt x="95191" y="9358"/>
                  <a:pt x="95501" y="9073"/>
                </a:cubicBezTo>
                <a:cubicBezTo>
                  <a:pt x="95596" y="8989"/>
                  <a:pt x="95739" y="9037"/>
                  <a:pt x="95775" y="8906"/>
                </a:cubicBezTo>
                <a:cubicBezTo>
                  <a:pt x="95953" y="8335"/>
                  <a:pt x="96156" y="7382"/>
                  <a:pt x="96775" y="7382"/>
                </a:cubicBezTo>
                <a:cubicBezTo>
                  <a:pt x="96775" y="7382"/>
                  <a:pt x="96918" y="7668"/>
                  <a:pt x="97203" y="7703"/>
                </a:cubicBezTo>
                <a:cubicBezTo>
                  <a:pt x="97120" y="7703"/>
                  <a:pt x="97048" y="7727"/>
                  <a:pt x="96953" y="7751"/>
                </a:cubicBezTo>
                <a:cubicBezTo>
                  <a:pt x="97025" y="7930"/>
                  <a:pt x="97191" y="8311"/>
                  <a:pt x="97310" y="8358"/>
                </a:cubicBezTo>
                <a:cubicBezTo>
                  <a:pt x="97275" y="8680"/>
                  <a:pt x="97084" y="8573"/>
                  <a:pt x="97048" y="8966"/>
                </a:cubicBezTo>
                <a:cubicBezTo>
                  <a:pt x="97275" y="8989"/>
                  <a:pt x="97656" y="8966"/>
                  <a:pt x="97870" y="9013"/>
                </a:cubicBezTo>
                <a:cubicBezTo>
                  <a:pt x="97822" y="9120"/>
                  <a:pt x="97822" y="9227"/>
                  <a:pt x="97858" y="9406"/>
                </a:cubicBezTo>
                <a:cubicBezTo>
                  <a:pt x="98311" y="9227"/>
                  <a:pt x="98513" y="8858"/>
                  <a:pt x="99001" y="8668"/>
                </a:cubicBezTo>
                <a:cubicBezTo>
                  <a:pt x="98834" y="8382"/>
                  <a:pt x="98311" y="8549"/>
                  <a:pt x="98311" y="7882"/>
                </a:cubicBezTo>
                <a:lnTo>
                  <a:pt x="97727" y="7882"/>
                </a:lnTo>
                <a:cubicBezTo>
                  <a:pt x="97787" y="7799"/>
                  <a:pt x="97763" y="7668"/>
                  <a:pt x="97727" y="7561"/>
                </a:cubicBezTo>
                <a:cubicBezTo>
                  <a:pt x="97655" y="7568"/>
                  <a:pt x="97604" y="7579"/>
                  <a:pt x="97544" y="7579"/>
                </a:cubicBezTo>
                <a:cubicBezTo>
                  <a:pt x="97505" y="7579"/>
                  <a:pt x="97462" y="7575"/>
                  <a:pt x="97406" y="7561"/>
                </a:cubicBezTo>
                <a:cubicBezTo>
                  <a:pt x="97465" y="7561"/>
                  <a:pt x="97537" y="7561"/>
                  <a:pt x="97584" y="7537"/>
                </a:cubicBezTo>
                <a:cubicBezTo>
                  <a:pt x="97406" y="7275"/>
                  <a:pt x="96441" y="6620"/>
                  <a:pt x="96132" y="6620"/>
                </a:cubicBezTo>
                <a:cubicBezTo>
                  <a:pt x="96084" y="6620"/>
                  <a:pt x="96013" y="6596"/>
                  <a:pt x="95953" y="6596"/>
                </a:cubicBezTo>
                <a:cubicBezTo>
                  <a:pt x="95989" y="6430"/>
                  <a:pt x="96025" y="6084"/>
                  <a:pt x="95739" y="6084"/>
                </a:cubicBezTo>
                <a:cubicBezTo>
                  <a:pt x="95596" y="6084"/>
                  <a:pt x="95560" y="6275"/>
                  <a:pt x="95417" y="6358"/>
                </a:cubicBezTo>
                <a:cubicBezTo>
                  <a:pt x="95417" y="6215"/>
                  <a:pt x="95465" y="6084"/>
                  <a:pt x="95465" y="5929"/>
                </a:cubicBezTo>
                <a:cubicBezTo>
                  <a:pt x="95465" y="5715"/>
                  <a:pt x="94977" y="5501"/>
                  <a:pt x="94739" y="5501"/>
                </a:cubicBezTo>
                <a:close/>
                <a:moveTo>
                  <a:pt x="48471" y="929"/>
                </a:moveTo>
                <a:cubicBezTo>
                  <a:pt x="48221" y="929"/>
                  <a:pt x="48149" y="1298"/>
                  <a:pt x="47899" y="1298"/>
                </a:cubicBezTo>
                <a:cubicBezTo>
                  <a:pt x="47626" y="1298"/>
                  <a:pt x="47530" y="1048"/>
                  <a:pt x="47209" y="1048"/>
                </a:cubicBezTo>
                <a:cubicBezTo>
                  <a:pt x="47114" y="1048"/>
                  <a:pt x="47030" y="1107"/>
                  <a:pt x="46995" y="1191"/>
                </a:cubicBezTo>
                <a:lnTo>
                  <a:pt x="44911" y="1191"/>
                </a:lnTo>
                <a:cubicBezTo>
                  <a:pt x="44720" y="1191"/>
                  <a:pt x="44578" y="1262"/>
                  <a:pt x="44494" y="1477"/>
                </a:cubicBezTo>
                <a:cubicBezTo>
                  <a:pt x="44403" y="1568"/>
                  <a:pt x="44373" y="1596"/>
                  <a:pt x="44353" y="1596"/>
                </a:cubicBezTo>
                <a:cubicBezTo>
                  <a:pt x="44321" y="1596"/>
                  <a:pt x="44316" y="1524"/>
                  <a:pt x="44125" y="1524"/>
                </a:cubicBezTo>
                <a:cubicBezTo>
                  <a:pt x="43601" y="1524"/>
                  <a:pt x="43387" y="1977"/>
                  <a:pt x="43220" y="2500"/>
                </a:cubicBezTo>
                <a:cubicBezTo>
                  <a:pt x="43054" y="2429"/>
                  <a:pt x="42351" y="2024"/>
                  <a:pt x="42006" y="2024"/>
                </a:cubicBezTo>
                <a:cubicBezTo>
                  <a:pt x="41625" y="2024"/>
                  <a:pt x="41863" y="2500"/>
                  <a:pt x="41280" y="2500"/>
                </a:cubicBezTo>
                <a:cubicBezTo>
                  <a:pt x="41280" y="2584"/>
                  <a:pt x="41208" y="2667"/>
                  <a:pt x="41137" y="2667"/>
                </a:cubicBezTo>
                <a:lnTo>
                  <a:pt x="40744" y="2667"/>
                </a:lnTo>
                <a:cubicBezTo>
                  <a:pt x="40208" y="2667"/>
                  <a:pt x="39029" y="2929"/>
                  <a:pt x="38922" y="3477"/>
                </a:cubicBezTo>
                <a:lnTo>
                  <a:pt x="39327" y="3477"/>
                </a:lnTo>
                <a:cubicBezTo>
                  <a:pt x="39375" y="3429"/>
                  <a:pt x="39482" y="3370"/>
                  <a:pt x="39601" y="3322"/>
                </a:cubicBezTo>
                <a:lnTo>
                  <a:pt x="40137" y="3322"/>
                </a:lnTo>
                <a:cubicBezTo>
                  <a:pt x="39922" y="3405"/>
                  <a:pt x="39815" y="3477"/>
                  <a:pt x="39637" y="3691"/>
                </a:cubicBezTo>
                <a:cubicBezTo>
                  <a:pt x="39672" y="3715"/>
                  <a:pt x="39875" y="3858"/>
                  <a:pt x="39958" y="3858"/>
                </a:cubicBezTo>
                <a:cubicBezTo>
                  <a:pt x="40303" y="3858"/>
                  <a:pt x="40327" y="3477"/>
                  <a:pt x="40684" y="3477"/>
                </a:cubicBezTo>
                <a:cubicBezTo>
                  <a:pt x="40827" y="3477"/>
                  <a:pt x="40887" y="3477"/>
                  <a:pt x="41041" y="3524"/>
                </a:cubicBezTo>
                <a:cubicBezTo>
                  <a:pt x="40577" y="3691"/>
                  <a:pt x="40125" y="3632"/>
                  <a:pt x="39922" y="4191"/>
                </a:cubicBezTo>
                <a:cubicBezTo>
                  <a:pt x="39970" y="4183"/>
                  <a:pt x="40043" y="4181"/>
                  <a:pt x="40131" y="4181"/>
                </a:cubicBezTo>
                <a:cubicBezTo>
                  <a:pt x="40309" y="4181"/>
                  <a:pt x="40549" y="4191"/>
                  <a:pt x="40780" y="4191"/>
                </a:cubicBezTo>
                <a:cubicBezTo>
                  <a:pt x="40541" y="4215"/>
                  <a:pt x="40410" y="4322"/>
                  <a:pt x="40279" y="4429"/>
                </a:cubicBezTo>
                <a:cubicBezTo>
                  <a:pt x="40410" y="4620"/>
                  <a:pt x="40922" y="4882"/>
                  <a:pt x="41280" y="4882"/>
                </a:cubicBezTo>
                <a:cubicBezTo>
                  <a:pt x="41446" y="4882"/>
                  <a:pt x="41553" y="4775"/>
                  <a:pt x="41684" y="4667"/>
                </a:cubicBezTo>
                <a:lnTo>
                  <a:pt x="41911" y="4667"/>
                </a:lnTo>
                <a:cubicBezTo>
                  <a:pt x="41803" y="4953"/>
                  <a:pt x="42280" y="5108"/>
                  <a:pt x="42637" y="5108"/>
                </a:cubicBezTo>
                <a:cubicBezTo>
                  <a:pt x="42792" y="5108"/>
                  <a:pt x="42863" y="4882"/>
                  <a:pt x="43006" y="4882"/>
                </a:cubicBezTo>
                <a:cubicBezTo>
                  <a:pt x="43185" y="4882"/>
                  <a:pt x="43292" y="5060"/>
                  <a:pt x="43637" y="5060"/>
                </a:cubicBezTo>
                <a:cubicBezTo>
                  <a:pt x="44220" y="5060"/>
                  <a:pt x="44637" y="4906"/>
                  <a:pt x="44994" y="4560"/>
                </a:cubicBezTo>
                <a:lnTo>
                  <a:pt x="45268" y="4560"/>
                </a:lnTo>
                <a:cubicBezTo>
                  <a:pt x="45054" y="4882"/>
                  <a:pt x="44744" y="4989"/>
                  <a:pt x="44399" y="5167"/>
                </a:cubicBezTo>
                <a:lnTo>
                  <a:pt x="43494" y="5167"/>
                </a:lnTo>
                <a:cubicBezTo>
                  <a:pt x="43458" y="5227"/>
                  <a:pt x="43363" y="5298"/>
                  <a:pt x="43363" y="5382"/>
                </a:cubicBezTo>
                <a:cubicBezTo>
                  <a:pt x="43363" y="5513"/>
                  <a:pt x="43947" y="5953"/>
                  <a:pt x="44042" y="6060"/>
                </a:cubicBezTo>
                <a:cubicBezTo>
                  <a:pt x="44019" y="6063"/>
                  <a:pt x="43997" y="6064"/>
                  <a:pt x="43975" y="6064"/>
                </a:cubicBezTo>
                <a:cubicBezTo>
                  <a:pt x="43514" y="6064"/>
                  <a:pt x="43343" y="5481"/>
                  <a:pt x="42911" y="5322"/>
                </a:cubicBezTo>
                <a:cubicBezTo>
                  <a:pt x="42754" y="5265"/>
                  <a:pt x="42587" y="5248"/>
                  <a:pt x="42433" y="5248"/>
                </a:cubicBezTo>
                <a:cubicBezTo>
                  <a:pt x="42236" y="5248"/>
                  <a:pt x="42060" y="5275"/>
                  <a:pt x="41946" y="5275"/>
                </a:cubicBezTo>
                <a:cubicBezTo>
                  <a:pt x="41891" y="5275"/>
                  <a:pt x="41830" y="5253"/>
                  <a:pt x="41771" y="5253"/>
                </a:cubicBezTo>
                <a:cubicBezTo>
                  <a:pt x="41741" y="5253"/>
                  <a:pt x="41712" y="5259"/>
                  <a:pt x="41684" y="5275"/>
                </a:cubicBezTo>
                <a:cubicBezTo>
                  <a:pt x="41720" y="5453"/>
                  <a:pt x="41756" y="5537"/>
                  <a:pt x="41946" y="5537"/>
                </a:cubicBezTo>
                <a:cubicBezTo>
                  <a:pt x="41893" y="5537"/>
                  <a:pt x="41832" y="5532"/>
                  <a:pt x="41772" y="5532"/>
                </a:cubicBezTo>
                <a:cubicBezTo>
                  <a:pt x="41629" y="5532"/>
                  <a:pt x="41494" y="5556"/>
                  <a:pt x="41494" y="5715"/>
                </a:cubicBezTo>
                <a:cubicBezTo>
                  <a:pt x="41494" y="6096"/>
                  <a:pt x="42732" y="6096"/>
                  <a:pt x="42732" y="6799"/>
                </a:cubicBezTo>
                <a:cubicBezTo>
                  <a:pt x="42732" y="7406"/>
                  <a:pt x="42184" y="7203"/>
                  <a:pt x="41732" y="7382"/>
                </a:cubicBezTo>
                <a:cubicBezTo>
                  <a:pt x="41458" y="7489"/>
                  <a:pt x="41339" y="7727"/>
                  <a:pt x="41196" y="8096"/>
                </a:cubicBezTo>
                <a:lnTo>
                  <a:pt x="41196" y="8358"/>
                </a:lnTo>
                <a:lnTo>
                  <a:pt x="41458" y="8358"/>
                </a:lnTo>
                <a:cubicBezTo>
                  <a:pt x="41542" y="8275"/>
                  <a:pt x="41542" y="8275"/>
                  <a:pt x="41649" y="8204"/>
                </a:cubicBezTo>
                <a:lnTo>
                  <a:pt x="41911" y="8204"/>
                </a:lnTo>
                <a:cubicBezTo>
                  <a:pt x="41911" y="8727"/>
                  <a:pt x="42482" y="8989"/>
                  <a:pt x="42732" y="9287"/>
                </a:cubicBezTo>
                <a:lnTo>
                  <a:pt x="42411" y="9287"/>
                </a:lnTo>
                <a:cubicBezTo>
                  <a:pt x="42065" y="9049"/>
                  <a:pt x="41863" y="8680"/>
                  <a:pt x="41280" y="8680"/>
                </a:cubicBezTo>
                <a:cubicBezTo>
                  <a:pt x="41217" y="8680"/>
                  <a:pt x="41143" y="8670"/>
                  <a:pt x="41073" y="8670"/>
                </a:cubicBezTo>
                <a:cubicBezTo>
                  <a:pt x="40943" y="8670"/>
                  <a:pt x="40827" y="8705"/>
                  <a:pt x="40827" y="8906"/>
                </a:cubicBezTo>
                <a:cubicBezTo>
                  <a:pt x="40827" y="9287"/>
                  <a:pt x="41208" y="9358"/>
                  <a:pt x="41422" y="9549"/>
                </a:cubicBezTo>
                <a:cubicBezTo>
                  <a:pt x="41041" y="9882"/>
                  <a:pt x="40101" y="9549"/>
                  <a:pt x="40101" y="10418"/>
                </a:cubicBezTo>
                <a:cubicBezTo>
                  <a:pt x="40101" y="10490"/>
                  <a:pt x="40160" y="10597"/>
                  <a:pt x="40279" y="10597"/>
                </a:cubicBezTo>
                <a:cubicBezTo>
                  <a:pt x="40375" y="10597"/>
                  <a:pt x="40446" y="10490"/>
                  <a:pt x="40506" y="10382"/>
                </a:cubicBezTo>
                <a:cubicBezTo>
                  <a:pt x="41137" y="10621"/>
                  <a:pt x="41625" y="10811"/>
                  <a:pt x="42220" y="10811"/>
                </a:cubicBezTo>
                <a:cubicBezTo>
                  <a:pt x="42494" y="10811"/>
                  <a:pt x="42601" y="10597"/>
                  <a:pt x="42768" y="10597"/>
                </a:cubicBezTo>
                <a:lnTo>
                  <a:pt x="44125" y="10597"/>
                </a:lnTo>
                <a:cubicBezTo>
                  <a:pt x="44494" y="10597"/>
                  <a:pt x="44304" y="10918"/>
                  <a:pt x="44720" y="10918"/>
                </a:cubicBezTo>
                <a:cubicBezTo>
                  <a:pt x="45137" y="10918"/>
                  <a:pt x="46173" y="10525"/>
                  <a:pt x="46173" y="10156"/>
                </a:cubicBezTo>
                <a:cubicBezTo>
                  <a:pt x="46173" y="10004"/>
                  <a:pt x="46036" y="9989"/>
                  <a:pt x="45951" y="9989"/>
                </a:cubicBezTo>
                <a:cubicBezTo>
                  <a:pt x="45929" y="9989"/>
                  <a:pt x="45911" y="9989"/>
                  <a:pt x="45899" y="9989"/>
                </a:cubicBezTo>
                <a:lnTo>
                  <a:pt x="45447" y="9989"/>
                </a:lnTo>
                <a:cubicBezTo>
                  <a:pt x="45447" y="9251"/>
                  <a:pt x="46209" y="9656"/>
                  <a:pt x="46209" y="8966"/>
                </a:cubicBezTo>
                <a:cubicBezTo>
                  <a:pt x="46209" y="8835"/>
                  <a:pt x="46125" y="8799"/>
                  <a:pt x="46078" y="8644"/>
                </a:cubicBezTo>
                <a:lnTo>
                  <a:pt x="46995" y="8644"/>
                </a:lnTo>
                <a:cubicBezTo>
                  <a:pt x="47292" y="8382"/>
                  <a:pt x="47423" y="7858"/>
                  <a:pt x="47804" y="7644"/>
                </a:cubicBezTo>
                <a:cubicBezTo>
                  <a:pt x="47697" y="7334"/>
                  <a:pt x="47495" y="7251"/>
                  <a:pt x="47280" y="7120"/>
                </a:cubicBezTo>
                <a:lnTo>
                  <a:pt x="47280" y="7120"/>
                </a:lnTo>
                <a:cubicBezTo>
                  <a:pt x="47379" y="7134"/>
                  <a:pt x="47467" y="7146"/>
                  <a:pt x="47541" y="7146"/>
                </a:cubicBezTo>
                <a:cubicBezTo>
                  <a:pt x="47728" y="7146"/>
                  <a:pt x="47830" y="7067"/>
                  <a:pt x="47804" y="6727"/>
                </a:cubicBezTo>
                <a:lnTo>
                  <a:pt x="47292" y="6727"/>
                </a:lnTo>
                <a:cubicBezTo>
                  <a:pt x="47590" y="6453"/>
                  <a:pt x="48042" y="6406"/>
                  <a:pt x="48435" y="6251"/>
                </a:cubicBezTo>
                <a:cubicBezTo>
                  <a:pt x="48490" y="6231"/>
                  <a:pt x="48548" y="6224"/>
                  <a:pt x="48608" y="6224"/>
                </a:cubicBezTo>
                <a:cubicBezTo>
                  <a:pt x="48772" y="6224"/>
                  <a:pt x="48949" y="6279"/>
                  <a:pt x="49109" y="6279"/>
                </a:cubicBezTo>
                <a:cubicBezTo>
                  <a:pt x="49207" y="6279"/>
                  <a:pt x="49298" y="6258"/>
                  <a:pt x="49376" y="6191"/>
                </a:cubicBezTo>
                <a:cubicBezTo>
                  <a:pt x="49924" y="5715"/>
                  <a:pt x="50340" y="4846"/>
                  <a:pt x="51067" y="4560"/>
                </a:cubicBezTo>
                <a:cubicBezTo>
                  <a:pt x="51721" y="4298"/>
                  <a:pt x="52733" y="4001"/>
                  <a:pt x="53150" y="3501"/>
                </a:cubicBezTo>
                <a:cubicBezTo>
                  <a:pt x="53119" y="3499"/>
                  <a:pt x="53086" y="3498"/>
                  <a:pt x="53052" y="3498"/>
                </a:cubicBezTo>
                <a:cubicBezTo>
                  <a:pt x="52795" y="3498"/>
                  <a:pt x="52479" y="3540"/>
                  <a:pt x="52222" y="3540"/>
                </a:cubicBezTo>
                <a:cubicBezTo>
                  <a:pt x="52026" y="3540"/>
                  <a:pt x="51865" y="3516"/>
                  <a:pt x="51793" y="3429"/>
                </a:cubicBezTo>
                <a:cubicBezTo>
                  <a:pt x="52757" y="2870"/>
                  <a:pt x="53638" y="3251"/>
                  <a:pt x="54365" y="2608"/>
                </a:cubicBezTo>
                <a:cubicBezTo>
                  <a:pt x="54496" y="2500"/>
                  <a:pt x="54817" y="2560"/>
                  <a:pt x="54817" y="2286"/>
                </a:cubicBezTo>
                <a:cubicBezTo>
                  <a:pt x="54817" y="1893"/>
                  <a:pt x="53853" y="2000"/>
                  <a:pt x="53638" y="1738"/>
                </a:cubicBezTo>
                <a:cubicBezTo>
                  <a:pt x="53531" y="1608"/>
                  <a:pt x="53531" y="1429"/>
                  <a:pt x="53329" y="1369"/>
                </a:cubicBezTo>
                <a:cubicBezTo>
                  <a:pt x="53210" y="1322"/>
                  <a:pt x="53138" y="1286"/>
                  <a:pt x="53007" y="1191"/>
                </a:cubicBezTo>
                <a:lnTo>
                  <a:pt x="51665" y="1653"/>
                </a:lnTo>
                <a:lnTo>
                  <a:pt x="51665" y="1653"/>
                </a:lnTo>
                <a:cubicBezTo>
                  <a:pt x="51740" y="1617"/>
                  <a:pt x="51796" y="1561"/>
                  <a:pt x="51888" y="1453"/>
                </a:cubicBezTo>
                <a:cubicBezTo>
                  <a:pt x="51599" y="1117"/>
                  <a:pt x="50581" y="1081"/>
                  <a:pt x="49947" y="1081"/>
                </a:cubicBezTo>
                <a:cubicBezTo>
                  <a:pt x="49770" y="1081"/>
                  <a:pt x="49624" y="1084"/>
                  <a:pt x="49531" y="1084"/>
                </a:cubicBezTo>
                <a:lnTo>
                  <a:pt x="49019" y="1084"/>
                </a:lnTo>
                <a:cubicBezTo>
                  <a:pt x="48852" y="1084"/>
                  <a:pt x="48745" y="929"/>
                  <a:pt x="48471" y="929"/>
                </a:cubicBezTo>
                <a:close/>
                <a:moveTo>
                  <a:pt x="26813" y="11180"/>
                </a:moveTo>
                <a:lnTo>
                  <a:pt x="26813" y="11180"/>
                </a:lnTo>
                <a:cubicBezTo>
                  <a:pt x="26897" y="11192"/>
                  <a:pt x="26992" y="11204"/>
                  <a:pt x="27087" y="11228"/>
                </a:cubicBezTo>
                <a:cubicBezTo>
                  <a:pt x="27028" y="11216"/>
                  <a:pt x="26921" y="11204"/>
                  <a:pt x="26813" y="11180"/>
                </a:cubicBezTo>
                <a:close/>
                <a:moveTo>
                  <a:pt x="26096" y="9194"/>
                </a:moveTo>
                <a:cubicBezTo>
                  <a:pt x="25777" y="9194"/>
                  <a:pt x="25337" y="9335"/>
                  <a:pt x="25337" y="9335"/>
                </a:cubicBezTo>
                <a:cubicBezTo>
                  <a:pt x="25170" y="9311"/>
                  <a:pt x="25147" y="9299"/>
                  <a:pt x="25004" y="9299"/>
                </a:cubicBezTo>
                <a:cubicBezTo>
                  <a:pt x="24504" y="9299"/>
                  <a:pt x="24408" y="9859"/>
                  <a:pt x="24063" y="10097"/>
                </a:cubicBezTo>
                <a:cubicBezTo>
                  <a:pt x="23754" y="10311"/>
                  <a:pt x="23492" y="10359"/>
                  <a:pt x="23194" y="10525"/>
                </a:cubicBezTo>
                <a:cubicBezTo>
                  <a:pt x="23123" y="10573"/>
                  <a:pt x="22801" y="10882"/>
                  <a:pt x="22801" y="10918"/>
                </a:cubicBezTo>
                <a:cubicBezTo>
                  <a:pt x="22801" y="10990"/>
                  <a:pt x="22944" y="11097"/>
                  <a:pt x="22980" y="11252"/>
                </a:cubicBezTo>
                <a:cubicBezTo>
                  <a:pt x="23123" y="11228"/>
                  <a:pt x="23182" y="11073"/>
                  <a:pt x="23289" y="11073"/>
                </a:cubicBezTo>
                <a:cubicBezTo>
                  <a:pt x="23408" y="11073"/>
                  <a:pt x="23496" y="11131"/>
                  <a:pt x="23604" y="11131"/>
                </a:cubicBezTo>
                <a:cubicBezTo>
                  <a:pt x="23658" y="11131"/>
                  <a:pt x="23718" y="11117"/>
                  <a:pt x="23789" y="11073"/>
                </a:cubicBezTo>
                <a:cubicBezTo>
                  <a:pt x="23825" y="11156"/>
                  <a:pt x="23956" y="11394"/>
                  <a:pt x="24099" y="11394"/>
                </a:cubicBezTo>
                <a:cubicBezTo>
                  <a:pt x="24301" y="11394"/>
                  <a:pt x="24444" y="11156"/>
                  <a:pt x="24480" y="10918"/>
                </a:cubicBezTo>
                <a:cubicBezTo>
                  <a:pt x="24499" y="10921"/>
                  <a:pt x="24518" y="10923"/>
                  <a:pt x="24537" y="10923"/>
                </a:cubicBezTo>
                <a:cubicBezTo>
                  <a:pt x="24823" y="10923"/>
                  <a:pt x="25065" y="10597"/>
                  <a:pt x="25099" y="10251"/>
                </a:cubicBezTo>
                <a:cubicBezTo>
                  <a:pt x="25266" y="10359"/>
                  <a:pt x="25242" y="10859"/>
                  <a:pt x="25551" y="10859"/>
                </a:cubicBezTo>
                <a:lnTo>
                  <a:pt x="26325" y="10156"/>
                </a:lnTo>
                <a:cubicBezTo>
                  <a:pt x="26325" y="9989"/>
                  <a:pt x="26206" y="9942"/>
                  <a:pt x="26182" y="9728"/>
                </a:cubicBezTo>
                <a:cubicBezTo>
                  <a:pt x="26313" y="9680"/>
                  <a:pt x="26421" y="9537"/>
                  <a:pt x="26421" y="9382"/>
                </a:cubicBezTo>
                <a:cubicBezTo>
                  <a:pt x="26421" y="9240"/>
                  <a:pt x="26278" y="9194"/>
                  <a:pt x="26096" y="9194"/>
                </a:cubicBezTo>
                <a:close/>
                <a:moveTo>
                  <a:pt x="156270" y="10966"/>
                </a:moveTo>
                <a:cubicBezTo>
                  <a:pt x="156187" y="11073"/>
                  <a:pt x="156115" y="11156"/>
                  <a:pt x="156115" y="11287"/>
                </a:cubicBezTo>
                <a:cubicBezTo>
                  <a:pt x="156115" y="11418"/>
                  <a:pt x="156175" y="11466"/>
                  <a:pt x="156270" y="11466"/>
                </a:cubicBezTo>
                <a:cubicBezTo>
                  <a:pt x="156401" y="11466"/>
                  <a:pt x="156425" y="11311"/>
                  <a:pt x="156437" y="11180"/>
                </a:cubicBezTo>
                <a:cubicBezTo>
                  <a:pt x="156449" y="11168"/>
                  <a:pt x="156449" y="11156"/>
                  <a:pt x="156449" y="11144"/>
                </a:cubicBezTo>
                <a:lnTo>
                  <a:pt x="156413" y="11144"/>
                </a:lnTo>
                <a:lnTo>
                  <a:pt x="156270" y="10966"/>
                </a:lnTo>
                <a:close/>
                <a:moveTo>
                  <a:pt x="25420" y="11071"/>
                </a:moveTo>
                <a:cubicBezTo>
                  <a:pt x="25201" y="11071"/>
                  <a:pt x="24611" y="11248"/>
                  <a:pt x="24611" y="11573"/>
                </a:cubicBezTo>
                <a:cubicBezTo>
                  <a:pt x="24611" y="11728"/>
                  <a:pt x="24778" y="11835"/>
                  <a:pt x="24920" y="11835"/>
                </a:cubicBezTo>
                <a:cubicBezTo>
                  <a:pt x="25147" y="11835"/>
                  <a:pt x="25420" y="11383"/>
                  <a:pt x="25456" y="11073"/>
                </a:cubicBezTo>
                <a:cubicBezTo>
                  <a:pt x="25446" y="11072"/>
                  <a:pt x="25433" y="11071"/>
                  <a:pt x="25420" y="11071"/>
                </a:cubicBezTo>
                <a:close/>
                <a:moveTo>
                  <a:pt x="161914" y="11287"/>
                </a:moveTo>
                <a:lnTo>
                  <a:pt x="162104" y="11466"/>
                </a:lnTo>
                <a:cubicBezTo>
                  <a:pt x="162104" y="12002"/>
                  <a:pt x="162950" y="12264"/>
                  <a:pt x="163426" y="12264"/>
                </a:cubicBezTo>
                <a:cubicBezTo>
                  <a:pt x="163712" y="12264"/>
                  <a:pt x="164235" y="12180"/>
                  <a:pt x="164235" y="11942"/>
                </a:cubicBezTo>
                <a:cubicBezTo>
                  <a:pt x="164235" y="11835"/>
                  <a:pt x="164164" y="11728"/>
                  <a:pt x="164057" y="11728"/>
                </a:cubicBezTo>
                <a:cubicBezTo>
                  <a:pt x="163985" y="11728"/>
                  <a:pt x="162080" y="11442"/>
                  <a:pt x="161914" y="11287"/>
                </a:cubicBezTo>
                <a:close/>
                <a:moveTo>
                  <a:pt x="32588" y="11728"/>
                </a:moveTo>
                <a:cubicBezTo>
                  <a:pt x="32326" y="11835"/>
                  <a:pt x="32147" y="11942"/>
                  <a:pt x="32076" y="12311"/>
                </a:cubicBezTo>
                <a:cubicBezTo>
                  <a:pt x="32105" y="12306"/>
                  <a:pt x="32129" y="12305"/>
                  <a:pt x="32151" y="12305"/>
                </a:cubicBezTo>
                <a:cubicBezTo>
                  <a:pt x="32239" y="12305"/>
                  <a:pt x="32290" y="12335"/>
                  <a:pt x="32433" y="12335"/>
                </a:cubicBezTo>
                <a:cubicBezTo>
                  <a:pt x="32552" y="12335"/>
                  <a:pt x="32707" y="12311"/>
                  <a:pt x="32707" y="12049"/>
                </a:cubicBezTo>
                <a:cubicBezTo>
                  <a:pt x="32707" y="11894"/>
                  <a:pt x="32624" y="11835"/>
                  <a:pt x="32588" y="11728"/>
                </a:cubicBezTo>
                <a:close/>
                <a:moveTo>
                  <a:pt x="157901" y="10490"/>
                </a:moveTo>
                <a:cubicBezTo>
                  <a:pt x="157520" y="10490"/>
                  <a:pt x="157080" y="10859"/>
                  <a:pt x="157080" y="11359"/>
                </a:cubicBezTo>
                <a:cubicBezTo>
                  <a:pt x="157080" y="11883"/>
                  <a:pt x="157520" y="12335"/>
                  <a:pt x="157985" y="12335"/>
                </a:cubicBezTo>
                <a:cubicBezTo>
                  <a:pt x="158163" y="12335"/>
                  <a:pt x="158259" y="12133"/>
                  <a:pt x="158389" y="12002"/>
                </a:cubicBezTo>
                <a:cubicBezTo>
                  <a:pt x="158473" y="12133"/>
                  <a:pt x="158544" y="12228"/>
                  <a:pt x="158711" y="12228"/>
                </a:cubicBezTo>
                <a:cubicBezTo>
                  <a:pt x="158890" y="12228"/>
                  <a:pt x="158997" y="12049"/>
                  <a:pt x="159104" y="12049"/>
                </a:cubicBezTo>
                <a:cubicBezTo>
                  <a:pt x="159259" y="12049"/>
                  <a:pt x="159330" y="11894"/>
                  <a:pt x="159473" y="11894"/>
                </a:cubicBezTo>
                <a:cubicBezTo>
                  <a:pt x="159604" y="11894"/>
                  <a:pt x="159675" y="12121"/>
                  <a:pt x="159794" y="12121"/>
                </a:cubicBezTo>
                <a:cubicBezTo>
                  <a:pt x="160021" y="12121"/>
                  <a:pt x="160104" y="11894"/>
                  <a:pt x="160247" y="11894"/>
                </a:cubicBezTo>
                <a:lnTo>
                  <a:pt x="160747" y="11894"/>
                </a:lnTo>
                <a:cubicBezTo>
                  <a:pt x="160747" y="11728"/>
                  <a:pt x="160997" y="11490"/>
                  <a:pt x="161068" y="11180"/>
                </a:cubicBezTo>
                <a:cubicBezTo>
                  <a:pt x="160687" y="11049"/>
                  <a:pt x="159616" y="10597"/>
                  <a:pt x="159294" y="10597"/>
                </a:cubicBezTo>
                <a:cubicBezTo>
                  <a:pt x="159080" y="10597"/>
                  <a:pt x="158985" y="10859"/>
                  <a:pt x="158985" y="11180"/>
                </a:cubicBezTo>
                <a:cubicBezTo>
                  <a:pt x="158497" y="11180"/>
                  <a:pt x="158461" y="10490"/>
                  <a:pt x="157901" y="10490"/>
                </a:cubicBezTo>
                <a:close/>
                <a:moveTo>
                  <a:pt x="34107" y="10257"/>
                </a:moveTo>
                <a:cubicBezTo>
                  <a:pt x="34067" y="10257"/>
                  <a:pt x="34027" y="10264"/>
                  <a:pt x="33981" y="10287"/>
                </a:cubicBezTo>
                <a:cubicBezTo>
                  <a:pt x="34052" y="10597"/>
                  <a:pt x="34303" y="10597"/>
                  <a:pt x="34612" y="10597"/>
                </a:cubicBezTo>
                <a:lnTo>
                  <a:pt x="34612" y="11073"/>
                </a:lnTo>
                <a:cubicBezTo>
                  <a:pt x="34160" y="11073"/>
                  <a:pt x="34017" y="10597"/>
                  <a:pt x="33612" y="10597"/>
                </a:cubicBezTo>
                <a:lnTo>
                  <a:pt x="33612" y="10859"/>
                </a:lnTo>
                <a:cubicBezTo>
                  <a:pt x="33683" y="10966"/>
                  <a:pt x="33838" y="11121"/>
                  <a:pt x="33981" y="11228"/>
                </a:cubicBezTo>
                <a:cubicBezTo>
                  <a:pt x="33937" y="11243"/>
                  <a:pt x="33894" y="11250"/>
                  <a:pt x="33853" y="11250"/>
                </a:cubicBezTo>
                <a:cubicBezTo>
                  <a:pt x="33377" y="11250"/>
                  <a:pt x="33106" y="10311"/>
                  <a:pt x="32624" y="10311"/>
                </a:cubicBezTo>
                <a:lnTo>
                  <a:pt x="32398" y="10311"/>
                </a:lnTo>
                <a:cubicBezTo>
                  <a:pt x="32398" y="10418"/>
                  <a:pt x="32433" y="10501"/>
                  <a:pt x="32469" y="10573"/>
                </a:cubicBezTo>
                <a:lnTo>
                  <a:pt x="32433" y="10525"/>
                </a:lnTo>
                <a:lnTo>
                  <a:pt x="32433" y="10918"/>
                </a:lnTo>
                <a:cubicBezTo>
                  <a:pt x="32565" y="11029"/>
                  <a:pt x="32670" y="11158"/>
                  <a:pt x="32808" y="11158"/>
                </a:cubicBezTo>
                <a:cubicBezTo>
                  <a:pt x="32833" y="11158"/>
                  <a:pt x="32859" y="11153"/>
                  <a:pt x="32886" y="11144"/>
                </a:cubicBezTo>
                <a:lnTo>
                  <a:pt x="32945" y="11359"/>
                </a:lnTo>
                <a:lnTo>
                  <a:pt x="33219" y="11359"/>
                </a:lnTo>
                <a:cubicBezTo>
                  <a:pt x="33219" y="11490"/>
                  <a:pt x="33302" y="11621"/>
                  <a:pt x="33433" y="11621"/>
                </a:cubicBezTo>
                <a:cubicBezTo>
                  <a:pt x="33802" y="11621"/>
                  <a:pt x="34433" y="11394"/>
                  <a:pt x="34755" y="11394"/>
                </a:cubicBezTo>
                <a:cubicBezTo>
                  <a:pt x="34826" y="11394"/>
                  <a:pt x="34922" y="11418"/>
                  <a:pt x="34969" y="11466"/>
                </a:cubicBezTo>
                <a:cubicBezTo>
                  <a:pt x="34862" y="11597"/>
                  <a:pt x="34517" y="11597"/>
                  <a:pt x="34517" y="11787"/>
                </a:cubicBezTo>
                <a:cubicBezTo>
                  <a:pt x="34505" y="11859"/>
                  <a:pt x="34505" y="11942"/>
                  <a:pt x="34517" y="12002"/>
                </a:cubicBezTo>
                <a:cubicBezTo>
                  <a:pt x="34445" y="12049"/>
                  <a:pt x="34398" y="12133"/>
                  <a:pt x="34398" y="12228"/>
                </a:cubicBezTo>
                <a:cubicBezTo>
                  <a:pt x="34398" y="12329"/>
                  <a:pt x="34530" y="12353"/>
                  <a:pt x="34669" y="12353"/>
                </a:cubicBezTo>
                <a:cubicBezTo>
                  <a:pt x="34791" y="12353"/>
                  <a:pt x="34919" y="12335"/>
                  <a:pt x="34969" y="12335"/>
                </a:cubicBezTo>
                <a:cubicBezTo>
                  <a:pt x="35029" y="12335"/>
                  <a:pt x="35434" y="12335"/>
                  <a:pt x="35696" y="12228"/>
                </a:cubicBezTo>
                <a:cubicBezTo>
                  <a:pt x="35624" y="11621"/>
                  <a:pt x="35850" y="11359"/>
                  <a:pt x="35850" y="10859"/>
                </a:cubicBezTo>
                <a:cubicBezTo>
                  <a:pt x="35850" y="10525"/>
                  <a:pt x="35803" y="10311"/>
                  <a:pt x="35481" y="10311"/>
                </a:cubicBezTo>
                <a:cubicBezTo>
                  <a:pt x="35338" y="10311"/>
                  <a:pt x="35267" y="10490"/>
                  <a:pt x="35124" y="10490"/>
                </a:cubicBezTo>
                <a:cubicBezTo>
                  <a:pt x="34779" y="10490"/>
                  <a:pt x="34600" y="10275"/>
                  <a:pt x="34303" y="10275"/>
                </a:cubicBezTo>
                <a:cubicBezTo>
                  <a:pt x="34229" y="10275"/>
                  <a:pt x="34170" y="10257"/>
                  <a:pt x="34107" y="10257"/>
                </a:cubicBezTo>
                <a:close/>
                <a:moveTo>
                  <a:pt x="37291" y="11513"/>
                </a:moveTo>
                <a:cubicBezTo>
                  <a:pt x="36874" y="11513"/>
                  <a:pt x="36946" y="12002"/>
                  <a:pt x="36755" y="12002"/>
                </a:cubicBezTo>
                <a:cubicBezTo>
                  <a:pt x="36719" y="12002"/>
                  <a:pt x="36517" y="12121"/>
                  <a:pt x="36517" y="12335"/>
                </a:cubicBezTo>
                <a:cubicBezTo>
                  <a:pt x="36517" y="12335"/>
                  <a:pt x="37565" y="12918"/>
                  <a:pt x="37696" y="12918"/>
                </a:cubicBezTo>
                <a:cubicBezTo>
                  <a:pt x="37946" y="12918"/>
                  <a:pt x="38053" y="12597"/>
                  <a:pt x="38053" y="12228"/>
                </a:cubicBezTo>
                <a:cubicBezTo>
                  <a:pt x="38053" y="11942"/>
                  <a:pt x="37624" y="11513"/>
                  <a:pt x="37291" y="11513"/>
                </a:cubicBezTo>
                <a:close/>
                <a:moveTo>
                  <a:pt x="36934" y="9728"/>
                </a:moveTo>
                <a:cubicBezTo>
                  <a:pt x="36719" y="9728"/>
                  <a:pt x="36386" y="9728"/>
                  <a:pt x="36386" y="10049"/>
                </a:cubicBezTo>
                <a:cubicBezTo>
                  <a:pt x="36386" y="10251"/>
                  <a:pt x="37493" y="10811"/>
                  <a:pt x="37696" y="10811"/>
                </a:cubicBezTo>
                <a:cubicBezTo>
                  <a:pt x="37839" y="10811"/>
                  <a:pt x="37946" y="10728"/>
                  <a:pt x="38053" y="10597"/>
                </a:cubicBezTo>
                <a:cubicBezTo>
                  <a:pt x="38363" y="10966"/>
                  <a:pt x="38458" y="11311"/>
                  <a:pt x="38779" y="11704"/>
                </a:cubicBezTo>
                <a:cubicBezTo>
                  <a:pt x="38708" y="11752"/>
                  <a:pt x="38565" y="11894"/>
                  <a:pt x="38565" y="12049"/>
                </a:cubicBezTo>
                <a:cubicBezTo>
                  <a:pt x="38565" y="12478"/>
                  <a:pt x="39470" y="13026"/>
                  <a:pt x="39863" y="13026"/>
                </a:cubicBezTo>
                <a:cubicBezTo>
                  <a:pt x="40029" y="13026"/>
                  <a:pt x="40303" y="12764"/>
                  <a:pt x="40375" y="12656"/>
                </a:cubicBezTo>
                <a:lnTo>
                  <a:pt x="40589" y="12656"/>
                </a:lnTo>
                <a:cubicBezTo>
                  <a:pt x="40563" y="12924"/>
                  <a:pt x="40850" y="13035"/>
                  <a:pt x="41155" y="13035"/>
                </a:cubicBezTo>
                <a:cubicBezTo>
                  <a:pt x="41271" y="13035"/>
                  <a:pt x="41389" y="13019"/>
                  <a:pt x="41494" y="12990"/>
                </a:cubicBezTo>
                <a:lnTo>
                  <a:pt x="42946" y="12990"/>
                </a:lnTo>
                <a:cubicBezTo>
                  <a:pt x="43113" y="12847"/>
                  <a:pt x="43149" y="12752"/>
                  <a:pt x="43399" y="12704"/>
                </a:cubicBezTo>
                <a:cubicBezTo>
                  <a:pt x="43435" y="12859"/>
                  <a:pt x="43530" y="13026"/>
                  <a:pt x="43768" y="13026"/>
                </a:cubicBezTo>
                <a:cubicBezTo>
                  <a:pt x="44399" y="13026"/>
                  <a:pt x="45209" y="13026"/>
                  <a:pt x="45268" y="12264"/>
                </a:cubicBezTo>
                <a:lnTo>
                  <a:pt x="45268" y="12264"/>
                </a:lnTo>
                <a:cubicBezTo>
                  <a:pt x="45268" y="12264"/>
                  <a:pt x="45233" y="12271"/>
                  <a:pt x="45179" y="12271"/>
                </a:cubicBezTo>
                <a:cubicBezTo>
                  <a:pt x="45138" y="12271"/>
                  <a:pt x="45086" y="12267"/>
                  <a:pt x="45030" y="12252"/>
                </a:cubicBezTo>
                <a:cubicBezTo>
                  <a:pt x="45054" y="12156"/>
                  <a:pt x="45090" y="12097"/>
                  <a:pt x="45125" y="12049"/>
                </a:cubicBezTo>
                <a:cubicBezTo>
                  <a:pt x="45173" y="12037"/>
                  <a:pt x="45244" y="12025"/>
                  <a:pt x="45268" y="12002"/>
                </a:cubicBezTo>
                <a:cubicBezTo>
                  <a:pt x="45018" y="11442"/>
                  <a:pt x="44542" y="11394"/>
                  <a:pt x="43816" y="11394"/>
                </a:cubicBezTo>
                <a:cubicBezTo>
                  <a:pt x="42875" y="11394"/>
                  <a:pt x="42554" y="11942"/>
                  <a:pt x="41553" y="11942"/>
                </a:cubicBezTo>
                <a:cubicBezTo>
                  <a:pt x="41101" y="11942"/>
                  <a:pt x="40744" y="11811"/>
                  <a:pt x="40303" y="11680"/>
                </a:cubicBezTo>
                <a:cubicBezTo>
                  <a:pt x="40266" y="11717"/>
                  <a:pt x="40192" y="11770"/>
                  <a:pt x="40128" y="11770"/>
                </a:cubicBezTo>
                <a:cubicBezTo>
                  <a:pt x="40068" y="11770"/>
                  <a:pt x="40018" y="11723"/>
                  <a:pt x="40018" y="11573"/>
                </a:cubicBezTo>
                <a:cubicBezTo>
                  <a:pt x="40018" y="11513"/>
                  <a:pt x="40101" y="11513"/>
                  <a:pt x="40137" y="11466"/>
                </a:cubicBezTo>
                <a:cubicBezTo>
                  <a:pt x="39887" y="11228"/>
                  <a:pt x="39434" y="11549"/>
                  <a:pt x="39327" y="10966"/>
                </a:cubicBezTo>
                <a:lnTo>
                  <a:pt x="40053" y="10966"/>
                </a:lnTo>
                <a:cubicBezTo>
                  <a:pt x="39887" y="10680"/>
                  <a:pt x="39053" y="10811"/>
                  <a:pt x="39196" y="10311"/>
                </a:cubicBezTo>
                <a:lnTo>
                  <a:pt x="38875" y="10311"/>
                </a:lnTo>
                <a:cubicBezTo>
                  <a:pt x="38803" y="10442"/>
                  <a:pt x="38696" y="10490"/>
                  <a:pt x="38505" y="10490"/>
                </a:cubicBezTo>
                <a:cubicBezTo>
                  <a:pt x="37898" y="10490"/>
                  <a:pt x="37743" y="9728"/>
                  <a:pt x="36934" y="9728"/>
                </a:cubicBezTo>
                <a:close/>
                <a:moveTo>
                  <a:pt x="29921" y="9942"/>
                </a:moveTo>
                <a:cubicBezTo>
                  <a:pt x="29742" y="10120"/>
                  <a:pt x="29266" y="10287"/>
                  <a:pt x="29266" y="10644"/>
                </a:cubicBezTo>
                <a:cubicBezTo>
                  <a:pt x="29266" y="10835"/>
                  <a:pt x="29588" y="10942"/>
                  <a:pt x="29719" y="10966"/>
                </a:cubicBezTo>
                <a:lnTo>
                  <a:pt x="29719" y="11252"/>
                </a:lnTo>
                <a:cubicBezTo>
                  <a:pt x="29671" y="11252"/>
                  <a:pt x="29552" y="11287"/>
                  <a:pt x="29540" y="11335"/>
                </a:cubicBezTo>
                <a:cubicBezTo>
                  <a:pt x="29611" y="11383"/>
                  <a:pt x="29707" y="11394"/>
                  <a:pt x="29897" y="11394"/>
                </a:cubicBezTo>
                <a:cubicBezTo>
                  <a:pt x="29826" y="11597"/>
                  <a:pt x="29742" y="11680"/>
                  <a:pt x="29504" y="11680"/>
                </a:cubicBezTo>
                <a:cubicBezTo>
                  <a:pt x="28707" y="11680"/>
                  <a:pt x="28326" y="10859"/>
                  <a:pt x="27778" y="10859"/>
                </a:cubicBezTo>
                <a:lnTo>
                  <a:pt x="27361" y="10859"/>
                </a:lnTo>
                <a:cubicBezTo>
                  <a:pt x="27349" y="10597"/>
                  <a:pt x="27123" y="10525"/>
                  <a:pt x="27052" y="10525"/>
                </a:cubicBezTo>
                <a:cubicBezTo>
                  <a:pt x="26948" y="10525"/>
                  <a:pt x="26866" y="10499"/>
                  <a:pt x="26724" y="10499"/>
                </a:cubicBezTo>
                <a:cubicBezTo>
                  <a:pt x="26653" y="10499"/>
                  <a:pt x="26567" y="10505"/>
                  <a:pt x="26456" y="10525"/>
                </a:cubicBezTo>
                <a:cubicBezTo>
                  <a:pt x="26456" y="10632"/>
                  <a:pt x="26516" y="10704"/>
                  <a:pt x="26599" y="10751"/>
                </a:cubicBezTo>
                <a:lnTo>
                  <a:pt x="26552" y="10751"/>
                </a:lnTo>
                <a:cubicBezTo>
                  <a:pt x="26409" y="10751"/>
                  <a:pt x="26254" y="10859"/>
                  <a:pt x="26182" y="10990"/>
                </a:cubicBezTo>
                <a:cubicBezTo>
                  <a:pt x="26242" y="11037"/>
                  <a:pt x="26313" y="11061"/>
                  <a:pt x="26373" y="11085"/>
                </a:cubicBezTo>
                <a:cubicBezTo>
                  <a:pt x="26325" y="11085"/>
                  <a:pt x="26290" y="11073"/>
                  <a:pt x="26278" y="11073"/>
                </a:cubicBezTo>
                <a:cubicBezTo>
                  <a:pt x="26278" y="11073"/>
                  <a:pt x="26204" y="11062"/>
                  <a:pt x="26112" y="11062"/>
                </a:cubicBezTo>
                <a:cubicBezTo>
                  <a:pt x="26066" y="11062"/>
                  <a:pt x="26016" y="11065"/>
                  <a:pt x="25968" y="11073"/>
                </a:cubicBezTo>
                <a:lnTo>
                  <a:pt x="25968" y="11394"/>
                </a:lnTo>
                <a:cubicBezTo>
                  <a:pt x="26028" y="11430"/>
                  <a:pt x="26099" y="11454"/>
                  <a:pt x="26171" y="11490"/>
                </a:cubicBezTo>
                <a:cubicBezTo>
                  <a:pt x="26111" y="11478"/>
                  <a:pt x="26040" y="11466"/>
                  <a:pt x="25968" y="11466"/>
                </a:cubicBezTo>
                <a:cubicBezTo>
                  <a:pt x="25790" y="11466"/>
                  <a:pt x="25694" y="11633"/>
                  <a:pt x="25516" y="11680"/>
                </a:cubicBezTo>
                <a:cubicBezTo>
                  <a:pt x="25587" y="11835"/>
                  <a:pt x="25516" y="11787"/>
                  <a:pt x="25516" y="12002"/>
                </a:cubicBezTo>
                <a:cubicBezTo>
                  <a:pt x="25516" y="12180"/>
                  <a:pt x="25647" y="12335"/>
                  <a:pt x="25790" y="12335"/>
                </a:cubicBezTo>
                <a:cubicBezTo>
                  <a:pt x="25921" y="12335"/>
                  <a:pt x="26182" y="12490"/>
                  <a:pt x="26421" y="12490"/>
                </a:cubicBezTo>
                <a:cubicBezTo>
                  <a:pt x="26635" y="12490"/>
                  <a:pt x="26873" y="12383"/>
                  <a:pt x="27183" y="12335"/>
                </a:cubicBezTo>
                <a:cubicBezTo>
                  <a:pt x="27183" y="12204"/>
                  <a:pt x="27278" y="12073"/>
                  <a:pt x="27385" y="12049"/>
                </a:cubicBezTo>
                <a:cubicBezTo>
                  <a:pt x="27421" y="12264"/>
                  <a:pt x="27587" y="12383"/>
                  <a:pt x="27695" y="12549"/>
                </a:cubicBezTo>
                <a:cubicBezTo>
                  <a:pt x="27630" y="12549"/>
                  <a:pt x="27563" y="12545"/>
                  <a:pt x="27500" y="12545"/>
                </a:cubicBezTo>
                <a:cubicBezTo>
                  <a:pt x="27328" y="12545"/>
                  <a:pt x="27183" y="12577"/>
                  <a:pt x="27183" y="12811"/>
                </a:cubicBezTo>
                <a:cubicBezTo>
                  <a:pt x="27183" y="12942"/>
                  <a:pt x="27468" y="13133"/>
                  <a:pt x="27695" y="13133"/>
                </a:cubicBezTo>
                <a:cubicBezTo>
                  <a:pt x="28147" y="13133"/>
                  <a:pt x="28504" y="12990"/>
                  <a:pt x="28873" y="12811"/>
                </a:cubicBezTo>
                <a:cubicBezTo>
                  <a:pt x="28921" y="12787"/>
                  <a:pt x="30088" y="12490"/>
                  <a:pt x="30088" y="12442"/>
                </a:cubicBezTo>
                <a:cubicBezTo>
                  <a:pt x="30088" y="12432"/>
                  <a:pt x="30121" y="12427"/>
                  <a:pt x="30176" y="12427"/>
                </a:cubicBezTo>
                <a:cubicBezTo>
                  <a:pt x="30397" y="12427"/>
                  <a:pt x="30974" y="12496"/>
                  <a:pt x="31192" y="12496"/>
                </a:cubicBezTo>
                <a:cubicBezTo>
                  <a:pt x="31227" y="12496"/>
                  <a:pt x="31253" y="12494"/>
                  <a:pt x="31266" y="12490"/>
                </a:cubicBezTo>
                <a:cubicBezTo>
                  <a:pt x="31421" y="12418"/>
                  <a:pt x="31862" y="11764"/>
                  <a:pt x="31862" y="11466"/>
                </a:cubicBezTo>
                <a:cubicBezTo>
                  <a:pt x="31862" y="11204"/>
                  <a:pt x="31659" y="10918"/>
                  <a:pt x="31445" y="10918"/>
                </a:cubicBezTo>
                <a:cubicBezTo>
                  <a:pt x="31207" y="10918"/>
                  <a:pt x="31112" y="11180"/>
                  <a:pt x="30957" y="11180"/>
                </a:cubicBezTo>
                <a:cubicBezTo>
                  <a:pt x="30612" y="11180"/>
                  <a:pt x="30266" y="10704"/>
                  <a:pt x="30266" y="10382"/>
                </a:cubicBezTo>
                <a:cubicBezTo>
                  <a:pt x="30266" y="10335"/>
                  <a:pt x="30242" y="10275"/>
                  <a:pt x="30266" y="10097"/>
                </a:cubicBezTo>
                <a:cubicBezTo>
                  <a:pt x="30135" y="10097"/>
                  <a:pt x="30028" y="10025"/>
                  <a:pt x="29921" y="9942"/>
                </a:cubicBezTo>
                <a:close/>
                <a:moveTo>
                  <a:pt x="144340" y="12549"/>
                </a:moveTo>
                <a:cubicBezTo>
                  <a:pt x="144162" y="12549"/>
                  <a:pt x="143947" y="12656"/>
                  <a:pt x="143947" y="12871"/>
                </a:cubicBezTo>
                <a:cubicBezTo>
                  <a:pt x="143947" y="13073"/>
                  <a:pt x="144138" y="13133"/>
                  <a:pt x="144340" y="13133"/>
                </a:cubicBezTo>
                <a:cubicBezTo>
                  <a:pt x="144483" y="13133"/>
                  <a:pt x="144602" y="13085"/>
                  <a:pt x="144721" y="13002"/>
                </a:cubicBezTo>
                <a:lnTo>
                  <a:pt x="144721" y="13002"/>
                </a:lnTo>
                <a:cubicBezTo>
                  <a:pt x="144685" y="13061"/>
                  <a:pt x="144650" y="13097"/>
                  <a:pt x="144614" y="13133"/>
                </a:cubicBezTo>
                <a:lnTo>
                  <a:pt x="144757" y="12990"/>
                </a:lnTo>
                <a:lnTo>
                  <a:pt x="144757" y="12990"/>
                </a:lnTo>
                <a:cubicBezTo>
                  <a:pt x="144745" y="12990"/>
                  <a:pt x="144733" y="13002"/>
                  <a:pt x="144721" y="13002"/>
                </a:cubicBezTo>
                <a:cubicBezTo>
                  <a:pt x="144745" y="12966"/>
                  <a:pt x="144757" y="12930"/>
                  <a:pt x="144757" y="12871"/>
                </a:cubicBezTo>
                <a:cubicBezTo>
                  <a:pt x="144757" y="12621"/>
                  <a:pt x="144590" y="12549"/>
                  <a:pt x="144340" y="12549"/>
                </a:cubicBezTo>
                <a:close/>
                <a:moveTo>
                  <a:pt x="158853" y="12784"/>
                </a:moveTo>
                <a:cubicBezTo>
                  <a:pt x="158738" y="12784"/>
                  <a:pt x="158628" y="12859"/>
                  <a:pt x="158628" y="13026"/>
                </a:cubicBezTo>
                <a:cubicBezTo>
                  <a:pt x="158628" y="13228"/>
                  <a:pt x="158640" y="13311"/>
                  <a:pt x="158842" y="13311"/>
                </a:cubicBezTo>
                <a:cubicBezTo>
                  <a:pt x="158961" y="13311"/>
                  <a:pt x="159104" y="13204"/>
                  <a:pt x="159104" y="13026"/>
                </a:cubicBezTo>
                <a:cubicBezTo>
                  <a:pt x="159104" y="12871"/>
                  <a:pt x="158976" y="12784"/>
                  <a:pt x="158853" y="12784"/>
                </a:cubicBezTo>
                <a:close/>
                <a:moveTo>
                  <a:pt x="159532" y="13311"/>
                </a:moveTo>
                <a:cubicBezTo>
                  <a:pt x="159104" y="13311"/>
                  <a:pt x="158878" y="13621"/>
                  <a:pt x="158651" y="13966"/>
                </a:cubicBezTo>
                <a:lnTo>
                  <a:pt x="158747" y="13859"/>
                </a:lnTo>
                <a:cubicBezTo>
                  <a:pt x="159092" y="14002"/>
                  <a:pt x="159509" y="13954"/>
                  <a:pt x="159830" y="14180"/>
                </a:cubicBezTo>
                <a:lnTo>
                  <a:pt x="160378" y="14180"/>
                </a:lnTo>
                <a:cubicBezTo>
                  <a:pt x="160354" y="13680"/>
                  <a:pt x="159997" y="13311"/>
                  <a:pt x="159532" y="13311"/>
                </a:cubicBezTo>
                <a:close/>
                <a:moveTo>
                  <a:pt x="122647" y="13954"/>
                </a:moveTo>
                <a:cubicBezTo>
                  <a:pt x="122480" y="13954"/>
                  <a:pt x="122373" y="14204"/>
                  <a:pt x="122373" y="14395"/>
                </a:cubicBezTo>
                <a:cubicBezTo>
                  <a:pt x="122373" y="14466"/>
                  <a:pt x="122325" y="14609"/>
                  <a:pt x="122373" y="14609"/>
                </a:cubicBezTo>
                <a:cubicBezTo>
                  <a:pt x="122599" y="14609"/>
                  <a:pt x="123016" y="14466"/>
                  <a:pt x="123099" y="14371"/>
                </a:cubicBezTo>
                <a:cubicBezTo>
                  <a:pt x="122921" y="14204"/>
                  <a:pt x="122861" y="13954"/>
                  <a:pt x="122647" y="13954"/>
                </a:cubicBezTo>
                <a:close/>
                <a:moveTo>
                  <a:pt x="44947" y="13895"/>
                </a:moveTo>
                <a:cubicBezTo>
                  <a:pt x="44792" y="13895"/>
                  <a:pt x="44637" y="14002"/>
                  <a:pt x="44637" y="14228"/>
                </a:cubicBezTo>
                <a:cubicBezTo>
                  <a:pt x="44637" y="14466"/>
                  <a:pt x="44840" y="14573"/>
                  <a:pt x="44994" y="14681"/>
                </a:cubicBezTo>
                <a:cubicBezTo>
                  <a:pt x="44863" y="15050"/>
                  <a:pt x="45173" y="15157"/>
                  <a:pt x="45542" y="15157"/>
                </a:cubicBezTo>
                <a:cubicBezTo>
                  <a:pt x="45852" y="15157"/>
                  <a:pt x="46006" y="14942"/>
                  <a:pt x="46209" y="14942"/>
                </a:cubicBezTo>
                <a:cubicBezTo>
                  <a:pt x="46411" y="14942"/>
                  <a:pt x="46518" y="15085"/>
                  <a:pt x="46756" y="15085"/>
                </a:cubicBezTo>
                <a:cubicBezTo>
                  <a:pt x="46923" y="15085"/>
                  <a:pt x="47030" y="14942"/>
                  <a:pt x="47078" y="14740"/>
                </a:cubicBezTo>
                <a:cubicBezTo>
                  <a:pt x="46756" y="14550"/>
                  <a:pt x="46340" y="14073"/>
                  <a:pt x="45852" y="14073"/>
                </a:cubicBezTo>
                <a:cubicBezTo>
                  <a:pt x="45471" y="14073"/>
                  <a:pt x="45340" y="13895"/>
                  <a:pt x="44947" y="13895"/>
                </a:cubicBezTo>
                <a:close/>
                <a:moveTo>
                  <a:pt x="37874" y="13418"/>
                </a:moveTo>
                <a:cubicBezTo>
                  <a:pt x="37493" y="13418"/>
                  <a:pt x="37386" y="13728"/>
                  <a:pt x="37386" y="13740"/>
                </a:cubicBezTo>
                <a:cubicBezTo>
                  <a:pt x="37386" y="13811"/>
                  <a:pt x="37351" y="13942"/>
                  <a:pt x="37386" y="13954"/>
                </a:cubicBezTo>
                <a:lnTo>
                  <a:pt x="36970" y="13954"/>
                </a:lnTo>
                <a:lnTo>
                  <a:pt x="36970" y="14335"/>
                </a:lnTo>
                <a:cubicBezTo>
                  <a:pt x="37100" y="14764"/>
                  <a:pt x="36970" y="15026"/>
                  <a:pt x="37255" y="15371"/>
                </a:cubicBezTo>
                <a:cubicBezTo>
                  <a:pt x="37243" y="15478"/>
                  <a:pt x="37243" y="15740"/>
                  <a:pt x="37243" y="16026"/>
                </a:cubicBezTo>
                <a:lnTo>
                  <a:pt x="37601" y="16026"/>
                </a:lnTo>
                <a:cubicBezTo>
                  <a:pt x="37815" y="15764"/>
                  <a:pt x="37970" y="15693"/>
                  <a:pt x="38017" y="15312"/>
                </a:cubicBezTo>
                <a:lnTo>
                  <a:pt x="37779" y="15312"/>
                </a:lnTo>
                <a:cubicBezTo>
                  <a:pt x="37831" y="15120"/>
                  <a:pt x="37860" y="15066"/>
                  <a:pt x="37909" y="15066"/>
                </a:cubicBezTo>
                <a:cubicBezTo>
                  <a:pt x="37973" y="15066"/>
                  <a:pt x="38069" y="15157"/>
                  <a:pt x="38291" y="15157"/>
                </a:cubicBezTo>
                <a:cubicBezTo>
                  <a:pt x="38839" y="15157"/>
                  <a:pt x="39089" y="14681"/>
                  <a:pt x="39327" y="14288"/>
                </a:cubicBezTo>
                <a:cubicBezTo>
                  <a:pt x="39327" y="14288"/>
                  <a:pt x="39648" y="14002"/>
                  <a:pt x="39648" y="13966"/>
                </a:cubicBezTo>
                <a:cubicBezTo>
                  <a:pt x="39648" y="13859"/>
                  <a:pt x="39637" y="13788"/>
                  <a:pt x="39648" y="13680"/>
                </a:cubicBezTo>
                <a:cubicBezTo>
                  <a:pt x="38994" y="13680"/>
                  <a:pt x="38494" y="13418"/>
                  <a:pt x="37874" y="13418"/>
                </a:cubicBezTo>
                <a:close/>
                <a:moveTo>
                  <a:pt x="34860" y="13886"/>
                </a:moveTo>
                <a:cubicBezTo>
                  <a:pt x="34599" y="13886"/>
                  <a:pt x="34352" y="13924"/>
                  <a:pt x="34160" y="14157"/>
                </a:cubicBezTo>
                <a:cubicBezTo>
                  <a:pt x="34136" y="14228"/>
                  <a:pt x="34029" y="14264"/>
                  <a:pt x="34029" y="14335"/>
                </a:cubicBezTo>
                <a:cubicBezTo>
                  <a:pt x="34029" y="14609"/>
                  <a:pt x="34374" y="14573"/>
                  <a:pt x="34612" y="14609"/>
                </a:cubicBezTo>
                <a:lnTo>
                  <a:pt x="34612" y="15204"/>
                </a:lnTo>
                <a:lnTo>
                  <a:pt x="34338" y="15204"/>
                </a:lnTo>
                <a:cubicBezTo>
                  <a:pt x="34029" y="15204"/>
                  <a:pt x="33767" y="14942"/>
                  <a:pt x="33529" y="14942"/>
                </a:cubicBezTo>
                <a:lnTo>
                  <a:pt x="33529" y="15312"/>
                </a:lnTo>
                <a:cubicBezTo>
                  <a:pt x="34052" y="15943"/>
                  <a:pt x="34612" y="15847"/>
                  <a:pt x="35124" y="16455"/>
                </a:cubicBezTo>
                <a:cubicBezTo>
                  <a:pt x="35231" y="16586"/>
                  <a:pt x="35267" y="16824"/>
                  <a:pt x="35517" y="16824"/>
                </a:cubicBezTo>
                <a:cubicBezTo>
                  <a:pt x="35684" y="16824"/>
                  <a:pt x="35719" y="16562"/>
                  <a:pt x="35886" y="16502"/>
                </a:cubicBezTo>
                <a:cubicBezTo>
                  <a:pt x="36458" y="16240"/>
                  <a:pt x="36517" y="16562"/>
                  <a:pt x="36600" y="15371"/>
                </a:cubicBezTo>
                <a:cubicBezTo>
                  <a:pt x="36493" y="15323"/>
                  <a:pt x="36267" y="15288"/>
                  <a:pt x="36196" y="15264"/>
                </a:cubicBezTo>
                <a:cubicBezTo>
                  <a:pt x="36196" y="15050"/>
                  <a:pt x="36243" y="15240"/>
                  <a:pt x="36243" y="14942"/>
                </a:cubicBezTo>
                <a:cubicBezTo>
                  <a:pt x="36243" y="14853"/>
                  <a:pt x="36169" y="14824"/>
                  <a:pt x="36069" y="14824"/>
                </a:cubicBezTo>
                <a:cubicBezTo>
                  <a:pt x="35903" y="14824"/>
                  <a:pt x="35666" y="14904"/>
                  <a:pt x="35576" y="14919"/>
                </a:cubicBezTo>
                <a:cubicBezTo>
                  <a:pt x="35696" y="14728"/>
                  <a:pt x="36148" y="14550"/>
                  <a:pt x="36148" y="14109"/>
                </a:cubicBezTo>
                <a:cubicBezTo>
                  <a:pt x="36148" y="14002"/>
                  <a:pt x="36029" y="13895"/>
                  <a:pt x="35969" y="13895"/>
                </a:cubicBezTo>
                <a:lnTo>
                  <a:pt x="35243" y="13895"/>
                </a:lnTo>
                <a:cubicBezTo>
                  <a:pt x="35115" y="13895"/>
                  <a:pt x="34986" y="13886"/>
                  <a:pt x="34860" y="13886"/>
                </a:cubicBezTo>
                <a:close/>
                <a:moveTo>
                  <a:pt x="179321" y="16074"/>
                </a:moveTo>
                <a:cubicBezTo>
                  <a:pt x="179011" y="16074"/>
                  <a:pt x="178463" y="16455"/>
                  <a:pt x="178463" y="16788"/>
                </a:cubicBezTo>
                <a:cubicBezTo>
                  <a:pt x="178463" y="16895"/>
                  <a:pt x="178535" y="17002"/>
                  <a:pt x="178642" y="17002"/>
                </a:cubicBezTo>
                <a:cubicBezTo>
                  <a:pt x="178844" y="17002"/>
                  <a:pt x="180273" y="16895"/>
                  <a:pt x="180273" y="16609"/>
                </a:cubicBezTo>
                <a:cubicBezTo>
                  <a:pt x="180273" y="16288"/>
                  <a:pt x="179595" y="16074"/>
                  <a:pt x="179321" y="16074"/>
                </a:cubicBezTo>
                <a:close/>
                <a:moveTo>
                  <a:pt x="23571" y="12959"/>
                </a:moveTo>
                <a:cubicBezTo>
                  <a:pt x="23341" y="12959"/>
                  <a:pt x="23190" y="13133"/>
                  <a:pt x="23015" y="13133"/>
                </a:cubicBezTo>
                <a:cubicBezTo>
                  <a:pt x="22722" y="13133"/>
                  <a:pt x="22539" y="13037"/>
                  <a:pt x="22316" y="13037"/>
                </a:cubicBezTo>
                <a:cubicBezTo>
                  <a:pt x="22204" y="13037"/>
                  <a:pt x="22083" y="13061"/>
                  <a:pt x="21932" y="13133"/>
                </a:cubicBezTo>
                <a:cubicBezTo>
                  <a:pt x="21944" y="13371"/>
                  <a:pt x="22194" y="13728"/>
                  <a:pt x="22194" y="13895"/>
                </a:cubicBezTo>
                <a:cubicBezTo>
                  <a:pt x="22194" y="14681"/>
                  <a:pt x="21289" y="15288"/>
                  <a:pt x="21289" y="16026"/>
                </a:cubicBezTo>
                <a:cubicBezTo>
                  <a:pt x="21289" y="16288"/>
                  <a:pt x="22015" y="16216"/>
                  <a:pt x="22158" y="16455"/>
                </a:cubicBezTo>
                <a:cubicBezTo>
                  <a:pt x="22218" y="16562"/>
                  <a:pt x="22349" y="16895"/>
                  <a:pt x="22432" y="16895"/>
                </a:cubicBezTo>
                <a:cubicBezTo>
                  <a:pt x="22527" y="16895"/>
                  <a:pt x="22575" y="17109"/>
                  <a:pt x="22706" y="17109"/>
                </a:cubicBezTo>
                <a:cubicBezTo>
                  <a:pt x="22849" y="17109"/>
                  <a:pt x="24099" y="16562"/>
                  <a:pt x="24099" y="16395"/>
                </a:cubicBezTo>
                <a:cubicBezTo>
                  <a:pt x="24099" y="15895"/>
                  <a:pt x="24897" y="14978"/>
                  <a:pt x="25456" y="14764"/>
                </a:cubicBezTo>
                <a:cubicBezTo>
                  <a:pt x="25647" y="14704"/>
                  <a:pt x="26599" y="14526"/>
                  <a:pt x="26599" y="14288"/>
                </a:cubicBezTo>
                <a:cubicBezTo>
                  <a:pt x="26599" y="13788"/>
                  <a:pt x="25718" y="13359"/>
                  <a:pt x="25337" y="13359"/>
                </a:cubicBezTo>
                <a:cubicBezTo>
                  <a:pt x="25165" y="13359"/>
                  <a:pt x="25005" y="13490"/>
                  <a:pt x="24866" y="13490"/>
                </a:cubicBezTo>
                <a:cubicBezTo>
                  <a:pt x="24814" y="13490"/>
                  <a:pt x="24764" y="13471"/>
                  <a:pt x="24718" y="13418"/>
                </a:cubicBezTo>
                <a:cubicBezTo>
                  <a:pt x="24313" y="13371"/>
                  <a:pt x="24135" y="13121"/>
                  <a:pt x="23742" y="12990"/>
                </a:cubicBezTo>
                <a:cubicBezTo>
                  <a:pt x="23680" y="12968"/>
                  <a:pt x="23624" y="12959"/>
                  <a:pt x="23571" y="12959"/>
                </a:cubicBezTo>
                <a:close/>
                <a:moveTo>
                  <a:pt x="121147" y="9513"/>
                </a:moveTo>
                <a:cubicBezTo>
                  <a:pt x="120242" y="9513"/>
                  <a:pt x="119385" y="10751"/>
                  <a:pt x="118420" y="10751"/>
                </a:cubicBezTo>
                <a:cubicBezTo>
                  <a:pt x="118206" y="10751"/>
                  <a:pt x="118099" y="10490"/>
                  <a:pt x="117884" y="10490"/>
                </a:cubicBezTo>
                <a:cubicBezTo>
                  <a:pt x="117539" y="10490"/>
                  <a:pt x="117539" y="10751"/>
                  <a:pt x="117301" y="10751"/>
                </a:cubicBezTo>
                <a:cubicBezTo>
                  <a:pt x="116634" y="10751"/>
                  <a:pt x="116122" y="11787"/>
                  <a:pt x="115670" y="11787"/>
                </a:cubicBezTo>
                <a:cubicBezTo>
                  <a:pt x="115396" y="11787"/>
                  <a:pt x="115217" y="11942"/>
                  <a:pt x="114944" y="11942"/>
                </a:cubicBezTo>
                <a:cubicBezTo>
                  <a:pt x="114825" y="11942"/>
                  <a:pt x="114765" y="12073"/>
                  <a:pt x="114765" y="12156"/>
                </a:cubicBezTo>
                <a:cubicBezTo>
                  <a:pt x="114765" y="12287"/>
                  <a:pt x="114896" y="12371"/>
                  <a:pt x="114896" y="12549"/>
                </a:cubicBezTo>
                <a:cubicBezTo>
                  <a:pt x="114896" y="13157"/>
                  <a:pt x="113955" y="13478"/>
                  <a:pt x="113955" y="13847"/>
                </a:cubicBezTo>
                <a:cubicBezTo>
                  <a:pt x="113955" y="14026"/>
                  <a:pt x="114205" y="14073"/>
                  <a:pt x="114217" y="14335"/>
                </a:cubicBezTo>
                <a:cubicBezTo>
                  <a:pt x="113932" y="14419"/>
                  <a:pt x="113348" y="14573"/>
                  <a:pt x="113348" y="14942"/>
                </a:cubicBezTo>
                <a:lnTo>
                  <a:pt x="113348" y="15264"/>
                </a:lnTo>
                <a:cubicBezTo>
                  <a:pt x="113348" y="15657"/>
                  <a:pt x="112812" y="15609"/>
                  <a:pt x="112812" y="16133"/>
                </a:cubicBezTo>
                <a:cubicBezTo>
                  <a:pt x="112812" y="16395"/>
                  <a:pt x="113134" y="16562"/>
                  <a:pt x="113134" y="16562"/>
                </a:cubicBezTo>
                <a:cubicBezTo>
                  <a:pt x="113134" y="16562"/>
                  <a:pt x="113351" y="16556"/>
                  <a:pt x="113513" y="16556"/>
                </a:cubicBezTo>
                <a:cubicBezTo>
                  <a:pt x="113594" y="16556"/>
                  <a:pt x="113662" y="16558"/>
                  <a:pt x="113682" y="16562"/>
                </a:cubicBezTo>
                <a:cubicBezTo>
                  <a:pt x="113991" y="16681"/>
                  <a:pt x="113824" y="17026"/>
                  <a:pt x="113955" y="17324"/>
                </a:cubicBezTo>
                <a:cubicBezTo>
                  <a:pt x="113967" y="17359"/>
                  <a:pt x="114007" y="17371"/>
                  <a:pt x="114059" y="17371"/>
                </a:cubicBezTo>
                <a:cubicBezTo>
                  <a:pt x="114164" y="17371"/>
                  <a:pt x="114320" y="17324"/>
                  <a:pt x="114408" y="17324"/>
                </a:cubicBezTo>
                <a:cubicBezTo>
                  <a:pt x="114455" y="17324"/>
                  <a:pt x="114491" y="17455"/>
                  <a:pt x="114527" y="17479"/>
                </a:cubicBezTo>
                <a:lnTo>
                  <a:pt x="115944" y="17479"/>
                </a:lnTo>
                <a:cubicBezTo>
                  <a:pt x="115932" y="17443"/>
                  <a:pt x="115908" y="17407"/>
                  <a:pt x="115884" y="17371"/>
                </a:cubicBezTo>
                <a:lnTo>
                  <a:pt x="115884" y="17371"/>
                </a:lnTo>
                <a:cubicBezTo>
                  <a:pt x="115908" y="17395"/>
                  <a:pt x="115932" y="17419"/>
                  <a:pt x="115944" y="17431"/>
                </a:cubicBezTo>
                <a:lnTo>
                  <a:pt x="115872" y="17348"/>
                </a:lnTo>
                <a:lnTo>
                  <a:pt x="115872" y="17348"/>
                </a:lnTo>
                <a:cubicBezTo>
                  <a:pt x="115872" y="17358"/>
                  <a:pt x="115881" y="17368"/>
                  <a:pt x="115883" y="17371"/>
                </a:cubicBezTo>
                <a:lnTo>
                  <a:pt x="115883" y="17371"/>
                </a:lnTo>
                <a:cubicBezTo>
                  <a:pt x="115479" y="16942"/>
                  <a:pt x="114896" y="16752"/>
                  <a:pt x="114896" y="15955"/>
                </a:cubicBezTo>
                <a:cubicBezTo>
                  <a:pt x="114896" y="14573"/>
                  <a:pt x="116146" y="13121"/>
                  <a:pt x="117063" y="12811"/>
                </a:cubicBezTo>
                <a:cubicBezTo>
                  <a:pt x="117396" y="12704"/>
                  <a:pt x="117480" y="12228"/>
                  <a:pt x="117932" y="12228"/>
                </a:cubicBezTo>
                <a:cubicBezTo>
                  <a:pt x="118158" y="12228"/>
                  <a:pt x="118230" y="11787"/>
                  <a:pt x="118337" y="11728"/>
                </a:cubicBezTo>
                <a:cubicBezTo>
                  <a:pt x="118932" y="11383"/>
                  <a:pt x="119385" y="11549"/>
                  <a:pt x="120028" y="11180"/>
                </a:cubicBezTo>
                <a:cubicBezTo>
                  <a:pt x="120480" y="10918"/>
                  <a:pt x="121873" y="10787"/>
                  <a:pt x="121873" y="10049"/>
                </a:cubicBezTo>
                <a:cubicBezTo>
                  <a:pt x="121873" y="9811"/>
                  <a:pt x="121361" y="9513"/>
                  <a:pt x="121147" y="9513"/>
                </a:cubicBezTo>
                <a:close/>
                <a:moveTo>
                  <a:pt x="172975" y="17871"/>
                </a:moveTo>
                <a:cubicBezTo>
                  <a:pt x="173082" y="18133"/>
                  <a:pt x="173260" y="18348"/>
                  <a:pt x="173522" y="18348"/>
                </a:cubicBezTo>
                <a:cubicBezTo>
                  <a:pt x="173606" y="18348"/>
                  <a:pt x="173701" y="18241"/>
                  <a:pt x="173701" y="18133"/>
                </a:cubicBezTo>
                <a:cubicBezTo>
                  <a:pt x="173701" y="18002"/>
                  <a:pt x="173594" y="17955"/>
                  <a:pt x="173570" y="17871"/>
                </a:cubicBezTo>
                <a:close/>
                <a:moveTo>
                  <a:pt x="116613" y="17689"/>
                </a:moveTo>
                <a:cubicBezTo>
                  <a:pt x="116507" y="17689"/>
                  <a:pt x="116432" y="17742"/>
                  <a:pt x="116432" y="17871"/>
                </a:cubicBezTo>
                <a:cubicBezTo>
                  <a:pt x="116432" y="18133"/>
                  <a:pt x="116837" y="18419"/>
                  <a:pt x="117063" y="18419"/>
                </a:cubicBezTo>
                <a:cubicBezTo>
                  <a:pt x="117063" y="18419"/>
                  <a:pt x="117087" y="18423"/>
                  <a:pt x="117119" y="18423"/>
                </a:cubicBezTo>
                <a:cubicBezTo>
                  <a:pt x="117190" y="18423"/>
                  <a:pt x="117301" y="18406"/>
                  <a:pt x="117301" y="18300"/>
                </a:cubicBezTo>
                <a:cubicBezTo>
                  <a:pt x="117301" y="17997"/>
                  <a:pt x="116867" y="17689"/>
                  <a:pt x="116613" y="17689"/>
                </a:cubicBezTo>
                <a:close/>
                <a:moveTo>
                  <a:pt x="58532" y="17800"/>
                </a:moveTo>
                <a:cubicBezTo>
                  <a:pt x="58365" y="17800"/>
                  <a:pt x="58139" y="17907"/>
                  <a:pt x="58139" y="18241"/>
                </a:cubicBezTo>
                <a:cubicBezTo>
                  <a:pt x="58139" y="18502"/>
                  <a:pt x="58329" y="18979"/>
                  <a:pt x="58496" y="19003"/>
                </a:cubicBezTo>
                <a:lnTo>
                  <a:pt x="58901" y="19003"/>
                </a:lnTo>
                <a:cubicBezTo>
                  <a:pt x="59210" y="19003"/>
                  <a:pt x="59579" y="18931"/>
                  <a:pt x="59615" y="18562"/>
                </a:cubicBezTo>
                <a:cubicBezTo>
                  <a:pt x="59151" y="18395"/>
                  <a:pt x="59008" y="17800"/>
                  <a:pt x="58532" y="17800"/>
                </a:cubicBezTo>
                <a:close/>
                <a:moveTo>
                  <a:pt x="45899" y="19038"/>
                </a:moveTo>
                <a:cubicBezTo>
                  <a:pt x="45685" y="19038"/>
                  <a:pt x="45268" y="19538"/>
                  <a:pt x="45482" y="19538"/>
                </a:cubicBezTo>
                <a:cubicBezTo>
                  <a:pt x="45709" y="19538"/>
                  <a:pt x="45852" y="19300"/>
                  <a:pt x="45899" y="19038"/>
                </a:cubicBezTo>
                <a:close/>
                <a:moveTo>
                  <a:pt x="111443" y="18562"/>
                </a:moveTo>
                <a:cubicBezTo>
                  <a:pt x="111360" y="18562"/>
                  <a:pt x="111324" y="18788"/>
                  <a:pt x="111229" y="18788"/>
                </a:cubicBezTo>
                <a:cubicBezTo>
                  <a:pt x="111193" y="18788"/>
                  <a:pt x="111003" y="19193"/>
                  <a:pt x="111003" y="19276"/>
                </a:cubicBezTo>
                <a:cubicBezTo>
                  <a:pt x="111003" y="19503"/>
                  <a:pt x="111098" y="19538"/>
                  <a:pt x="111324" y="19538"/>
                </a:cubicBezTo>
                <a:cubicBezTo>
                  <a:pt x="111634" y="19538"/>
                  <a:pt x="111848" y="19324"/>
                  <a:pt x="112086" y="19169"/>
                </a:cubicBezTo>
                <a:lnTo>
                  <a:pt x="112086" y="18895"/>
                </a:lnTo>
                <a:cubicBezTo>
                  <a:pt x="111824" y="18848"/>
                  <a:pt x="111705" y="18562"/>
                  <a:pt x="111443" y="18562"/>
                </a:cubicBezTo>
                <a:close/>
                <a:moveTo>
                  <a:pt x="31719" y="13847"/>
                </a:moveTo>
                <a:cubicBezTo>
                  <a:pt x="31421" y="13847"/>
                  <a:pt x="31171" y="14002"/>
                  <a:pt x="31171" y="14228"/>
                </a:cubicBezTo>
                <a:cubicBezTo>
                  <a:pt x="31171" y="14288"/>
                  <a:pt x="31171" y="14371"/>
                  <a:pt x="31183" y="14442"/>
                </a:cubicBezTo>
                <a:cubicBezTo>
                  <a:pt x="31088" y="14498"/>
                  <a:pt x="31036" y="14516"/>
                  <a:pt x="30998" y="14516"/>
                </a:cubicBezTo>
                <a:cubicBezTo>
                  <a:pt x="30921" y="14516"/>
                  <a:pt x="30897" y="14442"/>
                  <a:pt x="30683" y="14442"/>
                </a:cubicBezTo>
                <a:cubicBezTo>
                  <a:pt x="30540" y="14442"/>
                  <a:pt x="30350" y="14550"/>
                  <a:pt x="30350" y="14728"/>
                </a:cubicBezTo>
                <a:cubicBezTo>
                  <a:pt x="30350" y="14919"/>
                  <a:pt x="30623" y="15943"/>
                  <a:pt x="30766" y="16216"/>
                </a:cubicBezTo>
                <a:cubicBezTo>
                  <a:pt x="30683" y="16300"/>
                  <a:pt x="30683" y="16395"/>
                  <a:pt x="30540" y="16395"/>
                </a:cubicBezTo>
                <a:cubicBezTo>
                  <a:pt x="30207" y="16395"/>
                  <a:pt x="30338" y="15847"/>
                  <a:pt x="30231" y="15585"/>
                </a:cubicBezTo>
                <a:cubicBezTo>
                  <a:pt x="30135" y="15347"/>
                  <a:pt x="29885" y="15073"/>
                  <a:pt x="29623" y="14978"/>
                </a:cubicBezTo>
                <a:lnTo>
                  <a:pt x="29230" y="14978"/>
                </a:lnTo>
                <a:cubicBezTo>
                  <a:pt x="29266" y="15109"/>
                  <a:pt x="29302" y="15181"/>
                  <a:pt x="29326" y="15371"/>
                </a:cubicBezTo>
                <a:cubicBezTo>
                  <a:pt x="29123" y="15443"/>
                  <a:pt x="28980" y="15478"/>
                  <a:pt x="28778" y="15526"/>
                </a:cubicBezTo>
                <a:cubicBezTo>
                  <a:pt x="28647" y="15133"/>
                  <a:pt x="28468" y="14871"/>
                  <a:pt x="27956" y="14871"/>
                </a:cubicBezTo>
                <a:cubicBezTo>
                  <a:pt x="27671" y="14871"/>
                  <a:pt x="27540" y="15157"/>
                  <a:pt x="27397" y="15264"/>
                </a:cubicBezTo>
                <a:cubicBezTo>
                  <a:pt x="27325" y="15133"/>
                  <a:pt x="27349" y="14502"/>
                  <a:pt x="27087" y="14502"/>
                </a:cubicBezTo>
                <a:cubicBezTo>
                  <a:pt x="26444" y="14502"/>
                  <a:pt x="24789" y="15288"/>
                  <a:pt x="24789" y="16347"/>
                </a:cubicBezTo>
                <a:cubicBezTo>
                  <a:pt x="24789" y="16455"/>
                  <a:pt x="25135" y="16788"/>
                  <a:pt x="25337" y="16788"/>
                </a:cubicBezTo>
                <a:cubicBezTo>
                  <a:pt x="25480" y="16788"/>
                  <a:pt x="25576" y="16762"/>
                  <a:pt x="25691" y="16762"/>
                </a:cubicBezTo>
                <a:cubicBezTo>
                  <a:pt x="25768" y="16762"/>
                  <a:pt x="25854" y="16774"/>
                  <a:pt x="25968" y="16812"/>
                </a:cubicBezTo>
                <a:cubicBezTo>
                  <a:pt x="25766" y="16955"/>
                  <a:pt x="25242" y="16788"/>
                  <a:pt x="25242" y="17264"/>
                </a:cubicBezTo>
                <a:cubicBezTo>
                  <a:pt x="25242" y="17620"/>
                  <a:pt x="25586" y="17694"/>
                  <a:pt x="25949" y="17694"/>
                </a:cubicBezTo>
                <a:cubicBezTo>
                  <a:pt x="26206" y="17694"/>
                  <a:pt x="26472" y="17657"/>
                  <a:pt x="26635" y="17657"/>
                </a:cubicBezTo>
                <a:lnTo>
                  <a:pt x="27599" y="17657"/>
                </a:lnTo>
                <a:cubicBezTo>
                  <a:pt x="27778" y="17657"/>
                  <a:pt x="27921" y="17788"/>
                  <a:pt x="28052" y="17871"/>
                </a:cubicBezTo>
                <a:cubicBezTo>
                  <a:pt x="27837" y="17895"/>
                  <a:pt x="27730" y="17919"/>
                  <a:pt x="27456" y="17919"/>
                </a:cubicBezTo>
                <a:cubicBezTo>
                  <a:pt x="26694" y="17919"/>
                  <a:pt x="26135" y="18026"/>
                  <a:pt x="25694" y="18407"/>
                </a:cubicBezTo>
                <a:cubicBezTo>
                  <a:pt x="25825" y="18669"/>
                  <a:pt x="26147" y="19169"/>
                  <a:pt x="26552" y="19169"/>
                </a:cubicBezTo>
                <a:cubicBezTo>
                  <a:pt x="26656" y="19169"/>
                  <a:pt x="26812" y="19159"/>
                  <a:pt x="26972" y="19159"/>
                </a:cubicBezTo>
                <a:cubicBezTo>
                  <a:pt x="27196" y="19159"/>
                  <a:pt x="27429" y="19179"/>
                  <a:pt x="27540" y="19276"/>
                </a:cubicBezTo>
                <a:cubicBezTo>
                  <a:pt x="27766" y="19479"/>
                  <a:pt x="27564" y="19824"/>
                  <a:pt x="27873" y="19824"/>
                </a:cubicBezTo>
                <a:lnTo>
                  <a:pt x="29504" y="19824"/>
                </a:lnTo>
                <a:cubicBezTo>
                  <a:pt x="29885" y="19503"/>
                  <a:pt x="30338" y="19669"/>
                  <a:pt x="30802" y="19395"/>
                </a:cubicBezTo>
                <a:cubicBezTo>
                  <a:pt x="31076" y="19241"/>
                  <a:pt x="30957" y="19003"/>
                  <a:pt x="31278" y="19003"/>
                </a:cubicBezTo>
                <a:cubicBezTo>
                  <a:pt x="31802" y="19003"/>
                  <a:pt x="32052" y="19645"/>
                  <a:pt x="32767" y="19645"/>
                </a:cubicBezTo>
                <a:cubicBezTo>
                  <a:pt x="32814" y="19645"/>
                  <a:pt x="32861" y="19646"/>
                  <a:pt x="32908" y="19646"/>
                </a:cubicBezTo>
                <a:cubicBezTo>
                  <a:pt x="33304" y="19646"/>
                  <a:pt x="33653" y="19627"/>
                  <a:pt x="33802" y="19264"/>
                </a:cubicBezTo>
                <a:cubicBezTo>
                  <a:pt x="33731" y="19193"/>
                  <a:pt x="33636" y="19133"/>
                  <a:pt x="33612" y="18955"/>
                </a:cubicBezTo>
                <a:cubicBezTo>
                  <a:pt x="33541" y="18955"/>
                  <a:pt x="33338" y="18955"/>
                  <a:pt x="33338" y="18788"/>
                </a:cubicBezTo>
                <a:cubicBezTo>
                  <a:pt x="33338" y="18633"/>
                  <a:pt x="33433" y="18562"/>
                  <a:pt x="33576" y="18562"/>
                </a:cubicBezTo>
                <a:cubicBezTo>
                  <a:pt x="33710" y="18562"/>
                  <a:pt x="33801" y="18575"/>
                  <a:pt x="33883" y="18575"/>
                </a:cubicBezTo>
                <a:cubicBezTo>
                  <a:pt x="34007" y="18575"/>
                  <a:pt x="34110" y="18545"/>
                  <a:pt x="34303" y="18395"/>
                </a:cubicBezTo>
                <a:cubicBezTo>
                  <a:pt x="33957" y="18062"/>
                  <a:pt x="32433" y="17586"/>
                  <a:pt x="32433" y="16895"/>
                </a:cubicBezTo>
                <a:cubicBezTo>
                  <a:pt x="32433" y="16324"/>
                  <a:pt x="31945" y="15824"/>
                  <a:pt x="31945" y="15050"/>
                </a:cubicBezTo>
                <a:cubicBezTo>
                  <a:pt x="31945" y="14847"/>
                  <a:pt x="32350" y="14657"/>
                  <a:pt x="32350" y="14335"/>
                </a:cubicBezTo>
                <a:cubicBezTo>
                  <a:pt x="32350" y="14002"/>
                  <a:pt x="32040" y="13847"/>
                  <a:pt x="31719" y="13847"/>
                </a:cubicBezTo>
                <a:close/>
                <a:moveTo>
                  <a:pt x="35934" y="18514"/>
                </a:moveTo>
                <a:cubicBezTo>
                  <a:pt x="35576" y="18514"/>
                  <a:pt x="35648" y="19133"/>
                  <a:pt x="35434" y="19217"/>
                </a:cubicBezTo>
                <a:cubicBezTo>
                  <a:pt x="35423" y="19220"/>
                  <a:pt x="35409" y="19221"/>
                  <a:pt x="35392" y="19221"/>
                </a:cubicBezTo>
                <a:cubicBezTo>
                  <a:pt x="35344" y="19221"/>
                  <a:pt x="35276" y="19212"/>
                  <a:pt x="35211" y="19212"/>
                </a:cubicBezTo>
                <a:cubicBezTo>
                  <a:pt x="35116" y="19212"/>
                  <a:pt x="35029" y="19231"/>
                  <a:pt x="35029" y="19324"/>
                </a:cubicBezTo>
                <a:cubicBezTo>
                  <a:pt x="35029" y="19395"/>
                  <a:pt x="36374" y="19979"/>
                  <a:pt x="36600" y="19979"/>
                </a:cubicBezTo>
                <a:cubicBezTo>
                  <a:pt x="36803" y="19979"/>
                  <a:pt x="36874" y="19764"/>
                  <a:pt x="37065" y="19634"/>
                </a:cubicBezTo>
                <a:cubicBezTo>
                  <a:pt x="36946" y="19324"/>
                  <a:pt x="36208" y="18514"/>
                  <a:pt x="35934" y="18514"/>
                </a:cubicBezTo>
                <a:close/>
                <a:moveTo>
                  <a:pt x="48078" y="20300"/>
                </a:moveTo>
                <a:cubicBezTo>
                  <a:pt x="48042" y="20300"/>
                  <a:pt x="47840" y="20455"/>
                  <a:pt x="47840" y="20526"/>
                </a:cubicBezTo>
                <a:cubicBezTo>
                  <a:pt x="47840" y="20646"/>
                  <a:pt x="47947" y="20693"/>
                  <a:pt x="48078" y="20693"/>
                </a:cubicBezTo>
                <a:cubicBezTo>
                  <a:pt x="48149" y="20693"/>
                  <a:pt x="48185" y="20697"/>
                  <a:pt x="48216" y="20697"/>
                </a:cubicBezTo>
                <a:cubicBezTo>
                  <a:pt x="48262" y="20697"/>
                  <a:pt x="48300" y="20688"/>
                  <a:pt x="48435" y="20646"/>
                </a:cubicBezTo>
                <a:cubicBezTo>
                  <a:pt x="48388" y="20562"/>
                  <a:pt x="48245" y="20300"/>
                  <a:pt x="48078" y="20300"/>
                </a:cubicBezTo>
                <a:close/>
                <a:moveTo>
                  <a:pt x="47061" y="20205"/>
                </a:moveTo>
                <a:cubicBezTo>
                  <a:pt x="46795" y="20205"/>
                  <a:pt x="46542" y="20387"/>
                  <a:pt x="46542" y="20800"/>
                </a:cubicBezTo>
                <a:cubicBezTo>
                  <a:pt x="46542" y="21062"/>
                  <a:pt x="46721" y="21277"/>
                  <a:pt x="46995" y="21277"/>
                </a:cubicBezTo>
                <a:cubicBezTo>
                  <a:pt x="47209" y="21277"/>
                  <a:pt x="47661" y="21086"/>
                  <a:pt x="47661" y="20800"/>
                </a:cubicBezTo>
                <a:cubicBezTo>
                  <a:pt x="47661" y="20426"/>
                  <a:pt x="47354" y="20205"/>
                  <a:pt x="47061" y="20205"/>
                </a:cubicBezTo>
                <a:close/>
                <a:moveTo>
                  <a:pt x="43019" y="22552"/>
                </a:moveTo>
                <a:cubicBezTo>
                  <a:pt x="42989" y="22552"/>
                  <a:pt x="42954" y="22563"/>
                  <a:pt x="42911" y="22586"/>
                </a:cubicBezTo>
                <a:cubicBezTo>
                  <a:pt x="42899" y="22729"/>
                  <a:pt x="43042" y="22908"/>
                  <a:pt x="43280" y="22932"/>
                </a:cubicBezTo>
                <a:cubicBezTo>
                  <a:pt x="43173" y="22766"/>
                  <a:pt x="43153" y="22552"/>
                  <a:pt x="43019" y="22552"/>
                </a:cubicBezTo>
                <a:close/>
                <a:moveTo>
                  <a:pt x="74867" y="21908"/>
                </a:moveTo>
                <a:cubicBezTo>
                  <a:pt x="74712" y="21908"/>
                  <a:pt x="74677" y="22146"/>
                  <a:pt x="74534" y="22146"/>
                </a:cubicBezTo>
                <a:lnTo>
                  <a:pt x="74534" y="22324"/>
                </a:lnTo>
                <a:cubicBezTo>
                  <a:pt x="74464" y="22278"/>
                  <a:pt x="74400" y="22247"/>
                  <a:pt x="74321" y="22247"/>
                </a:cubicBezTo>
                <a:cubicBezTo>
                  <a:pt x="74278" y="22247"/>
                  <a:pt x="74231" y="22256"/>
                  <a:pt x="74177" y="22277"/>
                </a:cubicBezTo>
                <a:cubicBezTo>
                  <a:pt x="74212" y="22515"/>
                  <a:pt x="74879" y="22753"/>
                  <a:pt x="75093" y="22753"/>
                </a:cubicBezTo>
                <a:cubicBezTo>
                  <a:pt x="75093" y="22824"/>
                  <a:pt x="75117" y="22884"/>
                  <a:pt x="75165" y="22932"/>
                </a:cubicBezTo>
                <a:cubicBezTo>
                  <a:pt x="74974" y="23015"/>
                  <a:pt x="74498" y="23122"/>
                  <a:pt x="74224" y="23122"/>
                </a:cubicBezTo>
                <a:cubicBezTo>
                  <a:pt x="74289" y="23200"/>
                  <a:pt x="74372" y="23221"/>
                  <a:pt x="74465" y="23221"/>
                </a:cubicBezTo>
                <a:cubicBezTo>
                  <a:pt x="74575" y="23221"/>
                  <a:pt x="74700" y="23191"/>
                  <a:pt x="74828" y="23191"/>
                </a:cubicBezTo>
                <a:cubicBezTo>
                  <a:pt x="74889" y="23191"/>
                  <a:pt x="74950" y="23198"/>
                  <a:pt x="75010" y="23217"/>
                </a:cubicBezTo>
                <a:cubicBezTo>
                  <a:pt x="74974" y="23455"/>
                  <a:pt x="74915" y="23586"/>
                  <a:pt x="74915" y="23860"/>
                </a:cubicBezTo>
                <a:cubicBezTo>
                  <a:pt x="74867" y="23860"/>
                  <a:pt x="74808" y="23932"/>
                  <a:pt x="74748" y="23967"/>
                </a:cubicBezTo>
                <a:cubicBezTo>
                  <a:pt x="75153" y="23967"/>
                  <a:pt x="75296" y="24277"/>
                  <a:pt x="75546" y="24360"/>
                </a:cubicBezTo>
                <a:cubicBezTo>
                  <a:pt x="76034" y="24563"/>
                  <a:pt x="76510" y="24753"/>
                  <a:pt x="77177" y="24753"/>
                </a:cubicBezTo>
                <a:cubicBezTo>
                  <a:pt x="77796" y="24753"/>
                  <a:pt x="78141" y="24384"/>
                  <a:pt x="78582" y="24206"/>
                </a:cubicBezTo>
                <a:cubicBezTo>
                  <a:pt x="78808" y="24122"/>
                  <a:pt x="79249" y="23729"/>
                  <a:pt x="79392" y="23432"/>
                </a:cubicBezTo>
                <a:lnTo>
                  <a:pt x="79427" y="23384"/>
                </a:lnTo>
                <a:cubicBezTo>
                  <a:pt x="79427" y="22777"/>
                  <a:pt x="78760" y="22932"/>
                  <a:pt x="78760" y="22301"/>
                </a:cubicBezTo>
                <a:cubicBezTo>
                  <a:pt x="78760" y="22229"/>
                  <a:pt x="78808" y="22146"/>
                  <a:pt x="78868" y="22098"/>
                </a:cubicBezTo>
                <a:cubicBezTo>
                  <a:pt x="78701" y="22098"/>
                  <a:pt x="78594" y="22217"/>
                  <a:pt x="78427" y="22217"/>
                </a:cubicBezTo>
                <a:cubicBezTo>
                  <a:pt x="78248" y="22217"/>
                  <a:pt x="78106" y="22193"/>
                  <a:pt x="78106" y="21931"/>
                </a:cubicBezTo>
                <a:cubicBezTo>
                  <a:pt x="78072" y="21960"/>
                  <a:pt x="78054" y="21972"/>
                  <a:pt x="78031" y="21972"/>
                </a:cubicBezTo>
                <a:cubicBezTo>
                  <a:pt x="78005" y="21972"/>
                  <a:pt x="77972" y="21957"/>
                  <a:pt x="77903" y="21931"/>
                </a:cubicBezTo>
                <a:cubicBezTo>
                  <a:pt x="77867" y="22015"/>
                  <a:pt x="77832" y="22086"/>
                  <a:pt x="77832" y="22253"/>
                </a:cubicBezTo>
                <a:cubicBezTo>
                  <a:pt x="77787" y="22202"/>
                  <a:pt x="77739" y="22183"/>
                  <a:pt x="77689" y="22183"/>
                </a:cubicBezTo>
                <a:cubicBezTo>
                  <a:pt x="77549" y="22183"/>
                  <a:pt x="77387" y="22324"/>
                  <a:pt x="77213" y="22324"/>
                </a:cubicBezTo>
                <a:cubicBezTo>
                  <a:pt x="77058" y="22324"/>
                  <a:pt x="76915" y="22253"/>
                  <a:pt x="76641" y="22253"/>
                </a:cubicBezTo>
                <a:cubicBezTo>
                  <a:pt x="76641" y="22324"/>
                  <a:pt x="76617" y="22408"/>
                  <a:pt x="76641" y="22467"/>
                </a:cubicBezTo>
                <a:cubicBezTo>
                  <a:pt x="76570" y="22431"/>
                  <a:pt x="76534" y="22360"/>
                  <a:pt x="76379" y="22324"/>
                </a:cubicBezTo>
                <a:lnTo>
                  <a:pt x="75951" y="22455"/>
                </a:lnTo>
                <a:cubicBezTo>
                  <a:pt x="75843" y="22455"/>
                  <a:pt x="75784" y="22348"/>
                  <a:pt x="75712" y="22253"/>
                </a:cubicBezTo>
                <a:cubicBezTo>
                  <a:pt x="75665" y="22348"/>
                  <a:pt x="75677" y="22384"/>
                  <a:pt x="75712" y="22539"/>
                </a:cubicBezTo>
                <a:cubicBezTo>
                  <a:pt x="75617" y="22562"/>
                  <a:pt x="75510" y="22670"/>
                  <a:pt x="75391" y="22670"/>
                </a:cubicBezTo>
                <a:cubicBezTo>
                  <a:pt x="75260" y="22670"/>
                  <a:pt x="75093" y="22384"/>
                  <a:pt x="75117" y="22229"/>
                </a:cubicBezTo>
                <a:cubicBezTo>
                  <a:pt x="75093" y="22098"/>
                  <a:pt x="75022" y="22039"/>
                  <a:pt x="75010" y="21908"/>
                </a:cubicBezTo>
                <a:close/>
                <a:moveTo>
                  <a:pt x="46107" y="25068"/>
                </a:moveTo>
                <a:cubicBezTo>
                  <a:pt x="46062" y="25068"/>
                  <a:pt x="46014" y="25111"/>
                  <a:pt x="45935" y="25229"/>
                </a:cubicBezTo>
                <a:cubicBezTo>
                  <a:pt x="46030" y="25319"/>
                  <a:pt x="46090" y="25363"/>
                  <a:pt x="46148" y="25363"/>
                </a:cubicBezTo>
                <a:cubicBezTo>
                  <a:pt x="46206" y="25363"/>
                  <a:pt x="46262" y="25319"/>
                  <a:pt x="46352" y="25229"/>
                </a:cubicBezTo>
                <a:cubicBezTo>
                  <a:pt x="46226" y="25153"/>
                  <a:pt x="46170" y="25068"/>
                  <a:pt x="46107" y="25068"/>
                </a:cubicBezTo>
                <a:close/>
                <a:moveTo>
                  <a:pt x="42363" y="22693"/>
                </a:moveTo>
                <a:cubicBezTo>
                  <a:pt x="41863" y="22753"/>
                  <a:pt x="41768" y="23622"/>
                  <a:pt x="41768" y="23991"/>
                </a:cubicBezTo>
                <a:lnTo>
                  <a:pt x="41768" y="24325"/>
                </a:lnTo>
                <a:cubicBezTo>
                  <a:pt x="41768" y="24444"/>
                  <a:pt x="41684" y="24515"/>
                  <a:pt x="41589" y="24598"/>
                </a:cubicBezTo>
                <a:cubicBezTo>
                  <a:pt x="41553" y="24706"/>
                  <a:pt x="41339" y="24670"/>
                  <a:pt x="41315" y="25039"/>
                </a:cubicBezTo>
                <a:cubicBezTo>
                  <a:pt x="41404" y="25024"/>
                  <a:pt x="41572" y="24991"/>
                  <a:pt x="41757" y="24991"/>
                </a:cubicBezTo>
                <a:cubicBezTo>
                  <a:pt x="41870" y="24991"/>
                  <a:pt x="41989" y="25003"/>
                  <a:pt x="42101" y="25039"/>
                </a:cubicBezTo>
                <a:cubicBezTo>
                  <a:pt x="42065" y="25253"/>
                  <a:pt x="42006" y="25468"/>
                  <a:pt x="42220" y="25468"/>
                </a:cubicBezTo>
                <a:cubicBezTo>
                  <a:pt x="42315" y="25468"/>
                  <a:pt x="42315" y="25408"/>
                  <a:pt x="42363" y="25301"/>
                </a:cubicBezTo>
                <a:cubicBezTo>
                  <a:pt x="42392" y="25314"/>
                  <a:pt x="42425" y="25320"/>
                  <a:pt x="42460" y="25320"/>
                </a:cubicBezTo>
                <a:cubicBezTo>
                  <a:pt x="42749" y="25320"/>
                  <a:pt x="43220" y="24915"/>
                  <a:pt x="43220" y="24491"/>
                </a:cubicBezTo>
                <a:cubicBezTo>
                  <a:pt x="43327" y="24539"/>
                  <a:pt x="43911" y="25039"/>
                  <a:pt x="43911" y="25039"/>
                </a:cubicBezTo>
                <a:lnTo>
                  <a:pt x="44399" y="25039"/>
                </a:lnTo>
                <a:cubicBezTo>
                  <a:pt x="44637" y="25039"/>
                  <a:pt x="44792" y="24944"/>
                  <a:pt x="44994" y="24801"/>
                </a:cubicBezTo>
                <a:cubicBezTo>
                  <a:pt x="44840" y="24539"/>
                  <a:pt x="44506" y="24646"/>
                  <a:pt x="44220" y="24384"/>
                </a:cubicBezTo>
                <a:cubicBezTo>
                  <a:pt x="44125" y="24301"/>
                  <a:pt x="44185" y="24146"/>
                  <a:pt x="44089" y="23991"/>
                </a:cubicBezTo>
                <a:cubicBezTo>
                  <a:pt x="43768" y="23467"/>
                  <a:pt x="43185" y="23694"/>
                  <a:pt x="42804" y="23122"/>
                </a:cubicBezTo>
                <a:cubicBezTo>
                  <a:pt x="42744" y="23170"/>
                  <a:pt x="42696" y="23217"/>
                  <a:pt x="42637" y="23301"/>
                </a:cubicBezTo>
                <a:cubicBezTo>
                  <a:pt x="42554" y="23086"/>
                  <a:pt x="42458" y="23015"/>
                  <a:pt x="42363" y="22693"/>
                </a:cubicBezTo>
                <a:close/>
                <a:moveTo>
                  <a:pt x="43824" y="25610"/>
                </a:moveTo>
                <a:cubicBezTo>
                  <a:pt x="43774" y="25610"/>
                  <a:pt x="43704" y="25615"/>
                  <a:pt x="43589" y="25622"/>
                </a:cubicBezTo>
                <a:cubicBezTo>
                  <a:pt x="43566" y="25753"/>
                  <a:pt x="43327" y="25944"/>
                  <a:pt x="43185" y="26170"/>
                </a:cubicBezTo>
                <a:lnTo>
                  <a:pt x="43185" y="26444"/>
                </a:lnTo>
                <a:cubicBezTo>
                  <a:pt x="43470" y="26408"/>
                  <a:pt x="43923" y="25968"/>
                  <a:pt x="44089" y="25706"/>
                </a:cubicBezTo>
                <a:cubicBezTo>
                  <a:pt x="43944" y="25633"/>
                  <a:pt x="43930" y="25610"/>
                  <a:pt x="43824" y="25610"/>
                </a:cubicBezTo>
                <a:close/>
                <a:moveTo>
                  <a:pt x="41768" y="13859"/>
                </a:moveTo>
                <a:cubicBezTo>
                  <a:pt x="41161" y="13859"/>
                  <a:pt x="40684" y="14228"/>
                  <a:pt x="40315" y="14657"/>
                </a:cubicBezTo>
                <a:cubicBezTo>
                  <a:pt x="40244" y="14740"/>
                  <a:pt x="40339" y="15133"/>
                  <a:pt x="40196" y="15264"/>
                </a:cubicBezTo>
                <a:cubicBezTo>
                  <a:pt x="39922" y="15502"/>
                  <a:pt x="39827" y="15633"/>
                  <a:pt x="39827" y="16240"/>
                </a:cubicBezTo>
                <a:cubicBezTo>
                  <a:pt x="39827" y="16443"/>
                  <a:pt x="40101" y="16824"/>
                  <a:pt x="40101" y="16824"/>
                </a:cubicBezTo>
                <a:cubicBezTo>
                  <a:pt x="40101" y="16824"/>
                  <a:pt x="40934" y="16919"/>
                  <a:pt x="41101" y="17050"/>
                </a:cubicBezTo>
                <a:lnTo>
                  <a:pt x="41101" y="17324"/>
                </a:lnTo>
                <a:cubicBezTo>
                  <a:pt x="40878" y="17298"/>
                  <a:pt x="40674" y="17223"/>
                  <a:pt x="40488" y="17223"/>
                </a:cubicBezTo>
                <a:cubicBezTo>
                  <a:pt x="40416" y="17223"/>
                  <a:pt x="40346" y="17234"/>
                  <a:pt x="40279" y="17264"/>
                </a:cubicBezTo>
                <a:cubicBezTo>
                  <a:pt x="40315" y="17562"/>
                  <a:pt x="40589" y="17609"/>
                  <a:pt x="40684" y="17919"/>
                </a:cubicBezTo>
                <a:lnTo>
                  <a:pt x="41553" y="17919"/>
                </a:lnTo>
                <a:cubicBezTo>
                  <a:pt x="41661" y="18086"/>
                  <a:pt x="41946" y="18348"/>
                  <a:pt x="42101" y="18348"/>
                </a:cubicBezTo>
                <a:cubicBezTo>
                  <a:pt x="42641" y="18348"/>
                  <a:pt x="43435" y="18321"/>
                  <a:pt x="44070" y="18321"/>
                </a:cubicBezTo>
                <a:cubicBezTo>
                  <a:pt x="44387" y="18321"/>
                  <a:pt x="44665" y="18328"/>
                  <a:pt x="44851" y="18348"/>
                </a:cubicBezTo>
                <a:cubicBezTo>
                  <a:pt x="44840" y="18502"/>
                  <a:pt x="44756" y="18848"/>
                  <a:pt x="44994" y="18848"/>
                </a:cubicBezTo>
                <a:cubicBezTo>
                  <a:pt x="45328" y="18848"/>
                  <a:pt x="45613" y="18026"/>
                  <a:pt x="45852" y="18026"/>
                </a:cubicBezTo>
                <a:cubicBezTo>
                  <a:pt x="46054" y="18026"/>
                  <a:pt x="47030" y="19026"/>
                  <a:pt x="47185" y="19217"/>
                </a:cubicBezTo>
                <a:cubicBezTo>
                  <a:pt x="47078" y="19241"/>
                  <a:pt x="46756" y="19276"/>
                  <a:pt x="46756" y="19503"/>
                </a:cubicBezTo>
                <a:cubicBezTo>
                  <a:pt x="46756" y="19538"/>
                  <a:pt x="46828" y="19764"/>
                  <a:pt x="46899" y="19764"/>
                </a:cubicBezTo>
                <a:cubicBezTo>
                  <a:pt x="47137" y="19764"/>
                  <a:pt x="47245" y="19503"/>
                  <a:pt x="47483" y="19503"/>
                </a:cubicBezTo>
                <a:cubicBezTo>
                  <a:pt x="47864" y="19503"/>
                  <a:pt x="49019" y="20562"/>
                  <a:pt x="49019" y="21134"/>
                </a:cubicBezTo>
                <a:cubicBezTo>
                  <a:pt x="49019" y="21431"/>
                  <a:pt x="48638" y="21908"/>
                  <a:pt x="48471" y="22110"/>
                </a:cubicBezTo>
                <a:cubicBezTo>
                  <a:pt x="48352" y="22253"/>
                  <a:pt x="48019" y="22062"/>
                  <a:pt x="48019" y="22431"/>
                </a:cubicBezTo>
                <a:cubicBezTo>
                  <a:pt x="48019" y="22610"/>
                  <a:pt x="48257" y="22824"/>
                  <a:pt x="48352" y="22884"/>
                </a:cubicBezTo>
                <a:cubicBezTo>
                  <a:pt x="48138" y="23063"/>
                  <a:pt x="47697" y="23193"/>
                  <a:pt x="47530" y="23193"/>
                </a:cubicBezTo>
                <a:lnTo>
                  <a:pt x="46756" y="23193"/>
                </a:lnTo>
                <a:cubicBezTo>
                  <a:pt x="46506" y="23193"/>
                  <a:pt x="46030" y="23563"/>
                  <a:pt x="46030" y="23777"/>
                </a:cubicBezTo>
                <a:cubicBezTo>
                  <a:pt x="46030" y="24075"/>
                  <a:pt x="46614" y="24384"/>
                  <a:pt x="46804" y="24384"/>
                </a:cubicBezTo>
                <a:cubicBezTo>
                  <a:pt x="47030" y="24384"/>
                  <a:pt x="47137" y="24063"/>
                  <a:pt x="47352" y="24063"/>
                </a:cubicBezTo>
                <a:cubicBezTo>
                  <a:pt x="47518" y="24063"/>
                  <a:pt x="47483" y="24206"/>
                  <a:pt x="47661" y="24206"/>
                </a:cubicBezTo>
                <a:cubicBezTo>
                  <a:pt x="47828" y="24206"/>
                  <a:pt x="47935" y="24039"/>
                  <a:pt x="48019" y="23884"/>
                </a:cubicBezTo>
                <a:cubicBezTo>
                  <a:pt x="48542" y="24253"/>
                  <a:pt x="48840" y="24670"/>
                  <a:pt x="49435" y="24968"/>
                </a:cubicBezTo>
                <a:cubicBezTo>
                  <a:pt x="49126" y="25670"/>
                  <a:pt x="50221" y="25646"/>
                  <a:pt x="50650" y="25944"/>
                </a:cubicBezTo>
                <a:cubicBezTo>
                  <a:pt x="51102" y="26277"/>
                  <a:pt x="51448" y="26146"/>
                  <a:pt x="51971" y="26444"/>
                </a:cubicBezTo>
                <a:cubicBezTo>
                  <a:pt x="52031" y="26468"/>
                  <a:pt x="52067" y="26706"/>
                  <a:pt x="52150" y="26706"/>
                </a:cubicBezTo>
                <a:cubicBezTo>
                  <a:pt x="52221" y="26706"/>
                  <a:pt x="52340" y="26599"/>
                  <a:pt x="52340" y="26444"/>
                </a:cubicBezTo>
                <a:cubicBezTo>
                  <a:pt x="52340" y="25837"/>
                  <a:pt x="51317" y="25384"/>
                  <a:pt x="51019" y="24932"/>
                </a:cubicBezTo>
                <a:lnTo>
                  <a:pt x="51281" y="24932"/>
                </a:lnTo>
                <a:cubicBezTo>
                  <a:pt x="51483" y="25229"/>
                  <a:pt x="52650" y="25753"/>
                  <a:pt x="52972" y="25801"/>
                </a:cubicBezTo>
                <a:cubicBezTo>
                  <a:pt x="53043" y="25551"/>
                  <a:pt x="53245" y="25146"/>
                  <a:pt x="53245" y="24932"/>
                </a:cubicBezTo>
                <a:cubicBezTo>
                  <a:pt x="53245" y="24694"/>
                  <a:pt x="52912" y="24587"/>
                  <a:pt x="52912" y="24432"/>
                </a:cubicBezTo>
                <a:cubicBezTo>
                  <a:pt x="52900" y="24348"/>
                  <a:pt x="52900" y="24348"/>
                  <a:pt x="52912" y="23991"/>
                </a:cubicBezTo>
                <a:lnTo>
                  <a:pt x="52602" y="23991"/>
                </a:lnTo>
                <a:cubicBezTo>
                  <a:pt x="52585" y="23807"/>
                  <a:pt x="52546" y="23780"/>
                  <a:pt x="52468" y="23780"/>
                </a:cubicBezTo>
                <a:cubicBezTo>
                  <a:pt x="52437" y="23780"/>
                  <a:pt x="52399" y="23784"/>
                  <a:pt x="52353" y="23784"/>
                </a:cubicBezTo>
                <a:cubicBezTo>
                  <a:pt x="52287" y="23784"/>
                  <a:pt x="52204" y="23775"/>
                  <a:pt x="52102" y="23729"/>
                </a:cubicBezTo>
                <a:cubicBezTo>
                  <a:pt x="51959" y="23670"/>
                  <a:pt x="51733" y="23193"/>
                  <a:pt x="51698" y="22908"/>
                </a:cubicBezTo>
                <a:lnTo>
                  <a:pt x="51471" y="22908"/>
                </a:lnTo>
                <a:lnTo>
                  <a:pt x="51471" y="22586"/>
                </a:lnTo>
                <a:cubicBezTo>
                  <a:pt x="51503" y="22612"/>
                  <a:pt x="51537" y="22623"/>
                  <a:pt x="51574" y="22623"/>
                </a:cubicBezTo>
                <a:cubicBezTo>
                  <a:pt x="51621" y="22623"/>
                  <a:pt x="51673" y="22606"/>
                  <a:pt x="51733" y="22586"/>
                </a:cubicBezTo>
                <a:lnTo>
                  <a:pt x="51733" y="22324"/>
                </a:lnTo>
                <a:cubicBezTo>
                  <a:pt x="51663" y="22341"/>
                  <a:pt x="51617" y="22354"/>
                  <a:pt x="51572" y="22354"/>
                </a:cubicBezTo>
                <a:cubicBezTo>
                  <a:pt x="51519" y="22354"/>
                  <a:pt x="51467" y="22335"/>
                  <a:pt x="51376" y="22277"/>
                </a:cubicBezTo>
                <a:cubicBezTo>
                  <a:pt x="51388" y="22277"/>
                  <a:pt x="51626" y="22039"/>
                  <a:pt x="51733" y="22039"/>
                </a:cubicBezTo>
                <a:cubicBezTo>
                  <a:pt x="52602" y="22039"/>
                  <a:pt x="52650" y="23515"/>
                  <a:pt x="53555" y="23515"/>
                </a:cubicBezTo>
                <a:cubicBezTo>
                  <a:pt x="53745" y="23515"/>
                  <a:pt x="53781" y="23146"/>
                  <a:pt x="53781" y="22908"/>
                </a:cubicBezTo>
                <a:cubicBezTo>
                  <a:pt x="54126" y="22908"/>
                  <a:pt x="54186" y="22717"/>
                  <a:pt x="54186" y="22646"/>
                </a:cubicBezTo>
                <a:cubicBezTo>
                  <a:pt x="54186" y="22539"/>
                  <a:pt x="54198" y="22610"/>
                  <a:pt x="54186" y="22360"/>
                </a:cubicBezTo>
                <a:cubicBezTo>
                  <a:pt x="54424" y="22360"/>
                  <a:pt x="54734" y="22277"/>
                  <a:pt x="54734" y="21991"/>
                </a:cubicBezTo>
                <a:cubicBezTo>
                  <a:pt x="54734" y="21646"/>
                  <a:pt x="54579" y="21491"/>
                  <a:pt x="54234" y="21491"/>
                </a:cubicBezTo>
                <a:cubicBezTo>
                  <a:pt x="54150" y="21491"/>
                  <a:pt x="54007" y="21491"/>
                  <a:pt x="53912" y="21384"/>
                </a:cubicBezTo>
                <a:cubicBezTo>
                  <a:pt x="53854" y="21220"/>
                  <a:pt x="53804" y="21171"/>
                  <a:pt x="53739" y="21171"/>
                </a:cubicBezTo>
                <a:cubicBezTo>
                  <a:pt x="53643" y="21171"/>
                  <a:pt x="53515" y="21277"/>
                  <a:pt x="53281" y="21277"/>
                </a:cubicBezTo>
                <a:cubicBezTo>
                  <a:pt x="53007" y="21277"/>
                  <a:pt x="52912" y="20907"/>
                  <a:pt x="52876" y="20515"/>
                </a:cubicBezTo>
                <a:cubicBezTo>
                  <a:pt x="52495" y="20479"/>
                  <a:pt x="52007" y="20265"/>
                  <a:pt x="51971" y="19764"/>
                </a:cubicBezTo>
                <a:cubicBezTo>
                  <a:pt x="51733" y="19764"/>
                  <a:pt x="51626" y="19693"/>
                  <a:pt x="51471" y="19586"/>
                </a:cubicBezTo>
                <a:cubicBezTo>
                  <a:pt x="51626" y="19264"/>
                  <a:pt x="51769" y="19264"/>
                  <a:pt x="52067" y="19086"/>
                </a:cubicBezTo>
                <a:cubicBezTo>
                  <a:pt x="52007" y="18955"/>
                  <a:pt x="51888" y="18895"/>
                  <a:pt x="51793" y="18895"/>
                </a:cubicBezTo>
                <a:cubicBezTo>
                  <a:pt x="51626" y="18895"/>
                  <a:pt x="51555" y="18895"/>
                  <a:pt x="51245" y="18848"/>
                </a:cubicBezTo>
                <a:cubicBezTo>
                  <a:pt x="51400" y="18586"/>
                  <a:pt x="51626" y="18610"/>
                  <a:pt x="51888" y="18550"/>
                </a:cubicBezTo>
                <a:cubicBezTo>
                  <a:pt x="51769" y="18241"/>
                  <a:pt x="51626" y="18026"/>
                  <a:pt x="51376" y="18026"/>
                </a:cubicBezTo>
                <a:lnTo>
                  <a:pt x="51067" y="18026"/>
                </a:lnTo>
                <a:lnTo>
                  <a:pt x="51067" y="17657"/>
                </a:lnTo>
                <a:cubicBezTo>
                  <a:pt x="50566" y="17586"/>
                  <a:pt x="50293" y="17240"/>
                  <a:pt x="49793" y="17050"/>
                </a:cubicBezTo>
                <a:cubicBezTo>
                  <a:pt x="49852" y="16681"/>
                  <a:pt x="49400" y="16609"/>
                  <a:pt x="49197" y="16609"/>
                </a:cubicBezTo>
                <a:lnTo>
                  <a:pt x="48745" y="16609"/>
                </a:lnTo>
                <a:cubicBezTo>
                  <a:pt x="48149" y="16609"/>
                  <a:pt x="48019" y="15871"/>
                  <a:pt x="47626" y="15526"/>
                </a:cubicBezTo>
                <a:cubicBezTo>
                  <a:pt x="47387" y="15323"/>
                  <a:pt x="46614" y="15204"/>
                  <a:pt x="46268" y="15204"/>
                </a:cubicBezTo>
                <a:cubicBezTo>
                  <a:pt x="45935" y="15204"/>
                  <a:pt x="45852" y="15740"/>
                  <a:pt x="45542" y="15740"/>
                </a:cubicBezTo>
                <a:cubicBezTo>
                  <a:pt x="45375" y="15740"/>
                  <a:pt x="45328" y="15526"/>
                  <a:pt x="45125" y="15526"/>
                </a:cubicBezTo>
                <a:cubicBezTo>
                  <a:pt x="44947" y="15526"/>
                  <a:pt x="44863" y="15740"/>
                  <a:pt x="44756" y="15740"/>
                </a:cubicBezTo>
                <a:cubicBezTo>
                  <a:pt x="44673" y="15740"/>
                  <a:pt x="44756" y="15395"/>
                  <a:pt x="44756" y="15312"/>
                </a:cubicBezTo>
                <a:cubicBezTo>
                  <a:pt x="44756" y="14835"/>
                  <a:pt x="44506" y="14073"/>
                  <a:pt x="44042" y="14073"/>
                </a:cubicBezTo>
                <a:cubicBezTo>
                  <a:pt x="43316" y="14073"/>
                  <a:pt x="42101" y="14335"/>
                  <a:pt x="42101" y="15157"/>
                </a:cubicBezTo>
                <a:cubicBezTo>
                  <a:pt x="42101" y="15371"/>
                  <a:pt x="42280" y="15526"/>
                  <a:pt x="42280" y="15740"/>
                </a:cubicBezTo>
                <a:cubicBezTo>
                  <a:pt x="42280" y="15919"/>
                  <a:pt x="42030" y="16181"/>
                  <a:pt x="41911" y="16181"/>
                </a:cubicBezTo>
                <a:cubicBezTo>
                  <a:pt x="41696" y="16181"/>
                  <a:pt x="41732" y="15978"/>
                  <a:pt x="41732" y="15812"/>
                </a:cubicBezTo>
                <a:cubicBezTo>
                  <a:pt x="41732" y="15812"/>
                  <a:pt x="41696" y="15574"/>
                  <a:pt x="41732" y="15419"/>
                </a:cubicBezTo>
                <a:cubicBezTo>
                  <a:pt x="41649" y="15419"/>
                  <a:pt x="41589" y="15335"/>
                  <a:pt x="41589" y="15204"/>
                </a:cubicBezTo>
                <a:cubicBezTo>
                  <a:pt x="41589" y="14573"/>
                  <a:pt x="42184" y="14526"/>
                  <a:pt x="42363" y="14073"/>
                </a:cubicBezTo>
                <a:cubicBezTo>
                  <a:pt x="42351" y="14073"/>
                  <a:pt x="41768" y="13859"/>
                  <a:pt x="41768" y="13859"/>
                </a:cubicBezTo>
                <a:close/>
                <a:moveTo>
                  <a:pt x="45133" y="26234"/>
                </a:moveTo>
                <a:cubicBezTo>
                  <a:pt x="44985" y="26234"/>
                  <a:pt x="44851" y="26336"/>
                  <a:pt x="44851" y="26551"/>
                </a:cubicBezTo>
                <a:cubicBezTo>
                  <a:pt x="44851" y="26551"/>
                  <a:pt x="45090" y="26884"/>
                  <a:pt x="45125" y="26884"/>
                </a:cubicBezTo>
                <a:cubicBezTo>
                  <a:pt x="45304" y="26884"/>
                  <a:pt x="45340" y="26575"/>
                  <a:pt x="45447" y="26408"/>
                </a:cubicBezTo>
                <a:cubicBezTo>
                  <a:pt x="45369" y="26294"/>
                  <a:pt x="45246" y="26234"/>
                  <a:pt x="45133" y="26234"/>
                </a:cubicBezTo>
                <a:close/>
                <a:moveTo>
                  <a:pt x="68188" y="0"/>
                </a:moveTo>
                <a:cubicBezTo>
                  <a:pt x="67271" y="0"/>
                  <a:pt x="66557" y="607"/>
                  <a:pt x="65687" y="607"/>
                </a:cubicBezTo>
                <a:cubicBezTo>
                  <a:pt x="65505" y="607"/>
                  <a:pt x="65365" y="586"/>
                  <a:pt x="65210" y="586"/>
                </a:cubicBezTo>
                <a:cubicBezTo>
                  <a:pt x="65133" y="586"/>
                  <a:pt x="65052" y="592"/>
                  <a:pt x="64961" y="607"/>
                </a:cubicBezTo>
                <a:lnTo>
                  <a:pt x="64961" y="869"/>
                </a:lnTo>
                <a:lnTo>
                  <a:pt x="64604" y="869"/>
                </a:lnTo>
                <a:cubicBezTo>
                  <a:pt x="64284" y="728"/>
                  <a:pt x="64039" y="713"/>
                  <a:pt x="63739" y="713"/>
                </a:cubicBezTo>
                <a:cubicBezTo>
                  <a:pt x="63659" y="713"/>
                  <a:pt x="63575" y="715"/>
                  <a:pt x="63485" y="715"/>
                </a:cubicBezTo>
                <a:cubicBezTo>
                  <a:pt x="62878" y="715"/>
                  <a:pt x="62425" y="869"/>
                  <a:pt x="61937" y="1155"/>
                </a:cubicBezTo>
                <a:cubicBezTo>
                  <a:pt x="62032" y="1298"/>
                  <a:pt x="62175" y="1322"/>
                  <a:pt x="62306" y="1477"/>
                </a:cubicBezTo>
                <a:cubicBezTo>
                  <a:pt x="62139" y="1524"/>
                  <a:pt x="61580" y="1417"/>
                  <a:pt x="61580" y="1738"/>
                </a:cubicBezTo>
                <a:cubicBezTo>
                  <a:pt x="61580" y="2143"/>
                  <a:pt x="62318" y="2429"/>
                  <a:pt x="62616" y="2608"/>
                </a:cubicBezTo>
                <a:lnTo>
                  <a:pt x="61794" y="2608"/>
                </a:lnTo>
                <a:cubicBezTo>
                  <a:pt x="61342" y="2346"/>
                  <a:pt x="60901" y="1846"/>
                  <a:pt x="60163" y="1846"/>
                </a:cubicBezTo>
                <a:cubicBezTo>
                  <a:pt x="59984" y="1846"/>
                  <a:pt x="59710" y="1869"/>
                  <a:pt x="59710" y="2131"/>
                </a:cubicBezTo>
                <a:cubicBezTo>
                  <a:pt x="59710" y="2298"/>
                  <a:pt x="59806" y="2429"/>
                  <a:pt x="59853" y="2608"/>
                </a:cubicBezTo>
                <a:lnTo>
                  <a:pt x="59579" y="2608"/>
                </a:lnTo>
                <a:cubicBezTo>
                  <a:pt x="59222" y="2429"/>
                  <a:pt x="58913" y="2477"/>
                  <a:pt x="58710" y="2060"/>
                </a:cubicBezTo>
                <a:lnTo>
                  <a:pt x="58532" y="2286"/>
                </a:lnTo>
                <a:cubicBezTo>
                  <a:pt x="58532" y="2429"/>
                  <a:pt x="58627" y="2560"/>
                  <a:pt x="58627" y="2715"/>
                </a:cubicBezTo>
                <a:cubicBezTo>
                  <a:pt x="58282" y="2715"/>
                  <a:pt x="58186" y="2060"/>
                  <a:pt x="57865" y="2060"/>
                </a:cubicBezTo>
                <a:cubicBezTo>
                  <a:pt x="57377" y="2060"/>
                  <a:pt x="57008" y="2405"/>
                  <a:pt x="56508" y="2560"/>
                </a:cubicBezTo>
                <a:cubicBezTo>
                  <a:pt x="55817" y="2560"/>
                  <a:pt x="55543" y="2774"/>
                  <a:pt x="54817" y="2881"/>
                </a:cubicBezTo>
                <a:cubicBezTo>
                  <a:pt x="54234" y="2977"/>
                  <a:pt x="54734" y="3977"/>
                  <a:pt x="54091" y="3977"/>
                </a:cubicBezTo>
                <a:cubicBezTo>
                  <a:pt x="53912" y="3977"/>
                  <a:pt x="53769" y="3929"/>
                  <a:pt x="53626" y="3798"/>
                </a:cubicBezTo>
                <a:cubicBezTo>
                  <a:pt x="53257" y="4239"/>
                  <a:pt x="52448" y="4751"/>
                  <a:pt x="51829" y="4989"/>
                </a:cubicBezTo>
                <a:cubicBezTo>
                  <a:pt x="51733" y="5013"/>
                  <a:pt x="51471" y="5120"/>
                  <a:pt x="51471" y="5322"/>
                </a:cubicBezTo>
                <a:cubicBezTo>
                  <a:pt x="51471" y="5727"/>
                  <a:pt x="52495" y="5715"/>
                  <a:pt x="52829" y="5751"/>
                </a:cubicBezTo>
                <a:cubicBezTo>
                  <a:pt x="52829" y="6299"/>
                  <a:pt x="52626" y="6691"/>
                  <a:pt x="52340" y="6906"/>
                </a:cubicBezTo>
                <a:cubicBezTo>
                  <a:pt x="52204" y="7002"/>
                  <a:pt x="52040" y="7028"/>
                  <a:pt x="51863" y="7028"/>
                </a:cubicBezTo>
                <a:cubicBezTo>
                  <a:pt x="51653" y="7028"/>
                  <a:pt x="51425" y="6991"/>
                  <a:pt x="51206" y="6991"/>
                </a:cubicBezTo>
                <a:cubicBezTo>
                  <a:pt x="51062" y="6991"/>
                  <a:pt x="50922" y="7007"/>
                  <a:pt x="50793" y="7061"/>
                </a:cubicBezTo>
                <a:cubicBezTo>
                  <a:pt x="50447" y="7192"/>
                  <a:pt x="50257" y="7430"/>
                  <a:pt x="49924" y="7561"/>
                </a:cubicBezTo>
                <a:cubicBezTo>
                  <a:pt x="49531" y="7703"/>
                  <a:pt x="48888" y="7465"/>
                  <a:pt x="48888" y="8144"/>
                </a:cubicBezTo>
                <a:cubicBezTo>
                  <a:pt x="48888" y="8489"/>
                  <a:pt x="50626" y="9073"/>
                  <a:pt x="50709" y="9073"/>
                </a:cubicBezTo>
                <a:lnTo>
                  <a:pt x="51340" y="9073"/>
                </a:lnTo>
                <a:cubicBezTo>
                  <a:pt x="51436" y="9073"/>
                  <a:pt x="51483" y="8966"/>
                  <a:pt x="51519" y="8858"/>
                </a:cubicBezTo>
                <a:lnTo>
                  <a:pt x="52245" y="8858"/>
                </a:lnTo>
                <a:cubicBezTo>
                  <a:pt x="52186" y="9097"/>
                  <a:pt x="52186" y="9180"/>
                  <a:pt x="52007" y="9335"/>
                </a:cubicBezTo>
                <a:lnTo>
                  <a:pt x="50971" y="9335"/>
                </a:lnTo>
                <a:cubicBezTo>
                  <a:pt x="50888" y="9489"/>
                  <a:pt x="50828" y="9513"/>
                  <a:pt x="50650" y="9513"/>
                </a:cubicBezTo>
                <a:lnTo>
                  <a:pt x="50197" y="9513"/>
                </a:lnTo>
                <a:cubicBezTo>
                  <a:pt x="50054" y="9513"/>
                  <a:pt x="49685" y="9644"/>
                  <a:pt x="49650" y="9942"/>
                </a:cubicBezTo>
                <a:cubicBezTo>
                  <a:pt x="49765" y="9993"/>
                  <a:pt x="49830" y="10011"/>
                  <a:pt x="49880" y="10011"/>
                </a:cubicBezTo>
                <a:cubicBezTo>
                  <a:pt x="49980" y="10011"/>
                  <a:pt x="50023" y="9942"/>
                  <a:pt x="50293" y="9942"/>
                </a:cubicBezTo>
                <a:cubicBezTo>
                  <a:pt x="50507" y="9942"/>
                  <a:pt x="50721" y="10180"/>
                  <a:pt x="51019" y="10311"/>
                </a:cubicBezTo>
                <a:cubicBezTo>
                  <a:pt x="50936" y="10513"/>
                  <a:pt x="50816" y="10525"/>
                  <a:pt x="50650" y="10656"/>
                </a:cubicBezTo>
                <a:cubicBezTo>
                  <a:pt x="50864" y="10990"/>
                  <a:pt x="51448" y="11180"/>
                  <a:pt x="51829" y="11180"/>
                </a:cubicBezTo>
                <a:cubicBezTo>
                  <a:pt x="51903" y="11180"/>
                  <a:pt x="51935" y="11200"/>
                  <a:pt x="51965" y="11200"/>
                </a:cubicBezTo>
                <a:cubicBezTo>
                  <a:pt x="51991" y="11200"/>
                  <a:pt x="52015" y="11183"/>
                  <a:pt x="52067" y="11121"/>
                </a:cubicBezTo>
                <a:cubicBezTo>
                  <a:pt x="52007" y="11097"/>
                  <a:pt x="51936" y="11013"/>
                  <a:pt x="51888" y="10942"/>
                </a:cubicBezTo>
                <a:cubicBezTo>
                  <a:pt x="51971" y="10894"/>
                  <a:pt x="52043" y="10859"/>
                  <a:pt x="52245" y="10859"/>
                </a:cubicBezTo>
                <a:cubicBezTo>
                  <a:pt x="52460" y="10859"/>
                  <a:pt x="52626" y="11037"/>
                  <a:pt x="52793" y="11037"/>
                </a:cubicBezTo>
                <a:cubicBezTo>
                  <a:pt x="53019" y="11037"/>
                  <a:pt x="53138" y="10751"/>
                  <a:pt x="53364" y="10751"/>
                </a:cubicBezTo>
                <a:lnTo>
                  <a:pt x="53912" y="10751"/>
                </a:lnTo>
                <a:cubicBezTo>
                  <a:pt x="55948" y="10751"/>
                  <a:pt x="57210" y="12633"/>
                  <a:pt x="57722" y="14502"/>
                </a:cubicBezTo>
                <a:lnTo>
                  <a:pt x="57722" y="14835"/>
                </a:lnTo>
                <a:cubicBezTo>
                  <a:pt x="57877" y="14847"/>
                  <a:pt x="58175" y="14871"/>
                  <a:pt x="58175" y="15204"/>
                </a:cubicBezTo>
                <a:cubicBezTo>
                  <a:pt x="58175" y="15693"/>
                  <a:pt x="57770" y="15657"/>
                  <a:pt x="57770" y="16133"/>
                </a:cubicBezTo>
                <a:cubicBezTo>
                  <a:pt x="57770" y="16455"/>
                  <a:pt x="57936" y="16502"/>
                  <a:pt x="58258" y="16502"/>
                </a:cubicBezTo>
                <a:cubicBezTo>
                  <a:pt x="58496" y="16502"/>
                  <a:pt x="58556" y="16133"/>
                  <a:pt x="58710" y="16133"/>
                </a:cubicBezTo>
                <a:cubicBezTo>
                  <a:pt x="59318" y="16133"/>
                  <a:pt x="59472" y="17157"/>
                  <a:pt x="60032" y="17371"/>
                </a:cubicBezTo>
                <a:cubicBezTo>
                  <a:pt x="60020" y="17502"/>
                  <a:pt x="60032" y="17693"/>
                  <a:pt x="59853" y="17693"/>
                </a:cubicBezTo>
                <a:cubicBezTo>
                  <a:pt x="59425" y="17693"/>
                  <a:pt x="59151" y="17371"/>
                  <a:pt x="58770" y="17371"/>
                </a:cubicBezTo>
                <a:cubicBezTo>
                  <a:pt x="58659" y="17371"/>
                  <a:pt x="58632" y="17334"/>
                  <a:pt x="58574" y="17334"/>
                </a:cubicBezTo>
                <a:cubicBezTo>
                  <a:pt x="58545" y="17334"/>
                  <a:pt x="58508" y="17344"/>
                  <a:pt x="58448" y="17371"/>
                </a:cubicBezTo>
                <a:cubicBezTo>
                  <a:pt x="58520" y="17979"/>
                  <a:pt x="59841" y="18086"/>
                  <a:pt x="60401" y="18300"/>
                </a:cubicBezTo>
                <a:cubicBezTo>
                  <a:pt x="60234" y="18907"/>
                  <a:pt x="59960" y="19133"/>
                  <a:pt x="59853" y="19776"/>
                </a:cubicBezTo>
                <a:cubicBezTo>
                  <a:pt x="59744" y="19719"/>
                  <a:pt x="59682" y="19691"/>
                  <a:pt x="59627" y="19691"/>
                </a:cubicBezTo>
                <a:cubicBezTo>
                  <a:pt x="59555" y="19691"/>
                  <a:pt x="59494" y="19737"/>
                  <a:pt x="59353" y="19824"/>
                </a:cubicBezTo>
                <a:lnTo>
                  <a:pt x="59353" y="19872"/>
                </a:lnTo>
                <a:cubicBezTo>
                  <a:pt x="58984" y="20217"/>
                  <a:pt x="58877" y="20646"/>
                  <a:pt x="58627" y="21062"/>
                </a:cubicBezTo>
                <a:lnTo>
                  <a:pt x="58627" y="21562"/>
                </a:lnTo>
                <a:cubicBezTo>
                  <a:pt x="58677" y="21512"/>
                  <a:pt x="58733" y="21491"/>
                  <a:pt x="58790" y="21491"/>
                </a:cubicBezTo>
                <a:cubicBezTo>
                  <a:pt x="58854" y="21491"/>
                  <a:pt x="58921" y="21518"/>
                  <a:pt x="58984" y="21562"/>
                </a:cubicBezTo>
                <a:cubicBezTo>
                  <a:pt x="58937" y="21777"/>
                  <a:pt x="58806" y="21884"/>
                  <a:pt x="58806" y="22110"/>
                </a:cubicBezTo>
                <a:cubicBezTo>
                  <a:pt x="58806" y="22693"/>
                  <a:pt x="59294" y="22932"/>
                  <a:pt x="59401" y="23348"/>
                </a:cubicBezTo>
                <a:cubicBezTo>
                  <a:pt x="59460" y="23563"/>
                  <a:pt x="59508" y="23967"/>
                  <a:pt x="59591" y="24063"/>
                </a:cubicBezTo>
                <a:cubicBezTo>
                  <a:pt x="59639" y="24093"/>
                  <a:pt x="59682" y="24105"/>
                  <a:pt x="59721" y="24105"/>
                </a:cubicBezTo>
                <a:cubicBezTo>
                  <a:pt x="59854" y="24105"/>
                  <a:pt x="59945" y="23967"/>
                  <a:pt x="60056" y="23967"/>
                </a:cubicBezTo>
                <a:cubicBezTo>
                  <a:pt x="60115" y="23967"/>
                  <a:pt x="60179" y="24005"/>
                  <a:pt x="60258" y="24122"/>
                </a:cubicBezTo>
                <a:cubicBezTo>
                  <a:pt x="60127" y="24277"/>
                  <a:pt x="59984" y="24253"/>
                  <a:pt x="59984" y="24539"/>
                </a:cubicBezTo>
                <a:cubicBezTo>
                  <a:pt x="59984" y="25170"/>
                  <a:pt x="60675" y="26146"/>
                  <a:pt x="61032" y="26492"/>
                </a:cubicBezTo>
                <a:cubicBezTo>
                  <a:pt x="61092" y="26539"/>
                  <a:pt x="61056" y="26837"/>
                  <a:pt x="61163" y="26920"/>
                </a:cubicBezTo>
                <a:cubicBezTo>
                  <a:pt x="61449" y="27182"/>
                  <a:pt x="61627" y="27039"/>
                  <a:pt x="61758" y="27527"/>
                </a:cubicBezTo>
                <a:cubicBezTo>
                  <a:pt x="61973" y="27515"/>
                  <a:pt x="62270" y="27254"/>
                  <a:pt x="62520" y="27254"/>
                </a:cubicBezTo>
                <a:cubicBezTo>
                  <a:pt x="62973" y="27254"/>
                  <a:pt x="62937" y="28230"/>
                  <a:pt x="63389" y="28230"/>
                </a:cubicBezTo>
                <a:cubicBezTo>
                  <a:pt x="63497" y="28230"/>
                  <a:pt x="63532" y="28099"/>
                  <a:pt x="63759" y="28075"/>
                </a:cubicBezTo>
                <a:cubicBezTo>
                  <a:pt x="63794" y="28206"/>
                  <a:pt x="63842" y="28289"/>
                  <a:pt x="63973" y="28289"/>
                </a:cubicBezTo>
                <a:cubicBezTo>
                  <a:pt x="64461" y="28289"/>
                  <a:pt x="64247" y="27170"/>
                  <a:pt x="64663" y="26920"/>
                </a:cubicBezTo>
                <a:cubicBezTo>
                  <a:pt x="64628" y="26682"/>
                  <a:pt x="64663" y="26122"/>
                  <a:pt x="64663" y="25730"/>
                </a:cubicBezTo>
                <a:cubicBezTo>
                  <a:pt x="64663" y="25098"/>
                  <a:pt x="65509" y="25337"/>
                  <a:pt x="65509" y="24598"/>
                </a:cubicBezTo>
                <a:cubicBezTo>
                  <a:pt x="65509" y="24360"/>
                  <a:pt x="65294" y="24253"/>
                  <a:pt x="65294" y="24098"/>
                </a:cubicBezTo>
                <a:cubicBezTo>
                  <a:pt x="65294" y="23991"/>
                  <a:pt x="65366" y="23932"/>
                  <a:pt x="65414" y="23836"/>
                </a:cubicBezTo>
                <a:cubicBezTo>
                  <a:pt x="65414" y="23777"/>
                  <a:pt x="65390" y="23694"/>
                  <a:pt x="65390" y="23622"/>
                </a:cubicBezTo>
                <a:cubicBezTo>
                  <a:pt x="65390" y="22908"/>
                  <a:pt x="66366" y="23098"/>
                  <a:pt x="66747" y="22646"/>
                </a:cubicBezTo>
                <a:cubicBezTo>
                  <a:pt x="66902" y="22455"/>
                  <a:pt x="66830" y="22229"/>
                  <a:pt x="67104" y="22110"/>
                </a:cubicBezTo>
                <a:lnTo>
                  <a:pt x="67104" y="22539"/>
                </a:lnTo>
                <a:lnTo>
                  <a:pt x="67378" y="22539"/>
                </a:lnTo>
                <a:cubicBezTo>
                  <a:pt x="67759" y="22217"/>
                  <a:pt x="68378" y="22324"/>
                  <a:pt x="68735" y="21884"/>
                </a:cubicBezTo>
                <a:cubicBezTo>
                  <a:pt x="69009" y="21562"/>
                  <a:pt x="69033" y="21134"/>
                  <a:pt x="69366" y="20800"/>
                </a:cubicBezTo>
                <a:lnTo>
                  <a:pt x="69819" y="20407"/>
                </a:lnTo>
                <a:cubicBezTo>
                  <a:pt x="69819" y="20241"/>
                  <a:pt x="70009" y="20169"/>
                  <a:pt x="70188" y="20038"/>
                </a:cubicBezTo>
                <a:lnTo>
                  <a:pt x="71033" y="20038"/>
                </a:lnTo>
                <a:cubicBezTo>
                  <a:pt x="71724" y="19693"/>
                  <a:pt x="72248" y="19764"/>
                  <a:pt x="72903" y="19503"/>
                </a:cubicBezTo>
                <a:cubicBezTo>
                  <a:pt x="73426" y="19300"/>
                  <a:pt x="73617" y="18693"/>
                  <a:pt x="74212" y="18455"/>
                </a:cubicBezTo>
                <a:cubicBezTo>
                  <a:pt x="74534" y="18324"/>
                  <a:pt x="74712" y="18300"/>
                  <a:pt x="74986" y="18038"/>
                </a:cubicBezTo>
                <a:cubicBezTo>
                  <a:pt x="74605" y="17895"/>
                  <a:pt x="72998" y="17979"/>
                  <a:pt x="72998" y="17324"/>
                </a:cubicBezTo>
                <a:cubicBezTo>
                  <a:pt x="73081" y="17300"/>
                  <a:pt x="73391" y="17240"/>
                  <a:pt x="73391" y="17050"/>
                </a:cubicBezTo>
                <a:cubicBezTo>
                  <a:pt x="73391" y="16871"/>
                  <a:pt x="73212" y="16812"/>
                  <a:pt x="73212" y="16502"/>
                </a:cubicBezTo>
                <a:lnTo>
                  <a:pt x="73212" y="16502"/>
                </a:lnTo>
                <a:cubicBezTo>
                  <a:pt x="73244" y="16522"/>
                  <a:pt x="73274" y="16529"/>
                  <a:pt x="73304" y="16529"/>
                </a:cubicBezTo>
                <a:cubicBezTo>
                  <a:pt x="73364" y="16529"/>
                  <a:pt x="73422" y="16502"/>
                  <a:pt x="73486" y="16502"/>
                </a:cubicBezTo>
                <a:cubicBezTo>
                  <a:pt x="74224" y="16502"/>
                  <a:pt x="74046" y="17586"/>
                  <a:pt x="74903" y="17586"/>
                </a:cubicBezTo>
                <a:cubicBezTo>
                  <a:pt x="75093" y="17586"/>
                  <a:pt x="75391" y="17562"/>
                  <a:pt x="75391" y="17324"/>
                </a:cubicBezTo>
                <a:cubicBezTo>
                  <a:pt x="75391" y="16085"/>
                  <a:pt x="74224" y="15716"/>
                  <a:pt x="73569" y="14942"/>
                </a:cubicBezTo>
                <a:lnTo>
                  <a:pt x="73569" y="14609"/>
                </a:lnTo>
                <a:cubicBezTo>
                  <a:pt x="73601" y="14609"/>
                  <a:pt x="73633" y="14620"/>
                  <a:pt x="73693" y="14620"/>
                </a:cubicBezTo>
                <a:cubicBezTo>
                  <a:pt x="73723" y="14620"/>
                  <a:pt x="73760" y="14617"/>
                  <a:pt x="73807" y="14609"/>
                </a:cubicBezTo>
                <a:cubicBezTo>
                  <a:pt x="73915" y="15026"/>
                  <a:pt x="74474" y="15585"/>
                  <a:pt x="74808" y="15585"/>
                </a:cubicBezTo>
                <a:cubicBezTo>
                  <a:pt x="75022" y="15585"/>
                  <a:pt x="75081" y="15240"/>
                  <a:pt x="75081" y="14978"/>
                </a:cubicBezTo>
                <a:cubicBezTo>
                  <a:pt x="75081" y="14395"/>
                  <a:pt x="74260" y="14585"/>
                  <a:pt x="74081" y="14002"/>
                </a:cubicBezTo>
                <a:lnTo>
                  <a:pt x="74355" y="14002"/>
                </a:lnTo>
                <a:cubicBezTo>
                  <a:pt x="74498" y="14240"/>
                  <a:pt x="74700" y="14359"/>
                  <a:pt x="74903" y="14502"/>
                </a:cubicBezTo>
                <a:cubicBezTo>
                  <a:pt x="75046" y="14050"/>
                  <a:pt x="75772" y="14335"/>
                  <a:pt x="75891" y="13680"/>
                </a:cubicBezTo>
                <a:cubicBezTo>
                  <a:pt x="75808" y="13633"/>
                  <a:pt x="75712" y="13502"/>
                  <a:pt x="75712" y="13359"/>
                </a:cubicBezTo>
                <a:cubicBezTo>
                  <a:pt x="76058" y="13311"/>
                  <a:pt x="76415" y="13121"/>
                  <a:pt x="76522" y="12764"/>
                </a:cubicBezTo>
                <a:cubicBezTo>
                  <a:pt x="76308" y="12680"/>
                  <a:pt x="75808" y="12704"/>
                  <a:pt x="75808" y="12335"/>
                </a:cubicBezTo>
                <a:cubicBezTo>
                  <a:pt x="75808" y="12049"/>
                  <a:pt x="76093" y="12049"/>
                  <a:pt x="76379" y="12049"/>
                </a:cubicBezTo>
                <a:cubicBezTo>
                  <a:pt x="76296" y="11918"/>
                  <a:pt x="76379" y="11752"/>
                  <a:pt x="76379" y="11573"/>
                </a:cubicBezTo>
                <a:cubicBezTo>
                  <a:pt x="76379" y="11252"/>
                  <a:pt x="76117" y="11121"/>
                  <a:pt x="76117" y="10644"/>
                </a:cubicBezTo>
                <a:cubicBezTo>
                  <a:pt x="75855" y="10644"/>
                  <a:pt x="75534" y="10644"/>
                  <a:pt x="75534" y="10275"/>
                </a:cubicBezTo>
                <a:cubicBezTo>
                  <a:pt x="75534" y="10120"/>
                  <a:pt x="75701" y="9942"/>
                  <a:pt x="75891" y="9942"/>
                </a:cubicBezTo>
                <a:cubicBezTo>
                  <a:pt x="76036" y="9942"/>
                  <a:pt x="76297" y="9980"/>
                  <a:pt x="76545" y="9980"/>
                </a:cubicBezTo>
                <a:cubicBezTo>
                  <a:pt x="76866" y="9980"/>
                  <a:pt x="77165" y="9916"/>
                  <a:pt x="77165" y="9620"/>
                </a:cubicBezTo>
                <a:cubicBezTo>
                  <a:pt x="77165" y="9097"/>
                  <a:pt x="76451" y="9204"/>
                  <a:pt x="76379" y="8858"/>
                </a:cubicBezTo>
                <a:cubicBezTo>
                  <a:pt x="76498" y="8858"/>
                  <a:pt x="76617" y="8799"/>
                  <a:pt x="76713" y="8727"/>
                </a:cubicBezTo>
                <a:cubicBezTo>
                  <a:pt x="76522" y="8561"/>
                  <a:pt x="76272" y="8311"/>
                  <a:pt x="75986" y="8311"/>
                </a:cubicBezTo>
                <a:cubicBezTo>
                  <a:pt x="75851" y="8311"/>
                  <a:pt x="75743" y="8364"/>
                  <a:pt x="75626" y="8364"/>
                </a:cubicBezTo>
                <a:cubicBezTo>
                  <a:pt x="75567" y="8364"/>
                  <a:pt x="75506" y="8350"/>
                  <a:pt x="75439" y="8311"/>
                </a:cubicBezTo>
                <a:cubicBezTo>
                  <a:pt x="75546" y="8096"/>
                  <a:pt x="75534" y="7584"/>
                  <a:pt x="75748" y="7382"/>
                </a:cubicBezTo>
                <a:cubicBezTo>
                  <a:pt x="76093" y="7084"/>
                  <a:pt x="76474" y="6930"/>
                  <a:pt x="76474" y="6465"/>
                </a:cubicBezTo>
                <a:cubicBezTo>
                  <a:pt x="76474" y="6382"/>
                  <a:pt x="76498" y="6382"/>
                  <a:pt x="76474" y="6144"/>
                </a:cubicBezTo>
                <a:cubicBezTo>
                  <a:pt x="76820" y="6037"/>
                  <a:pt x="77284" y="5953"/>
                  <a:pt x="77284" y="5596"/>
                </a:cubicBezTo>
                <a:cubicBezTo>
                  <a:pt x="77284" y="5382"/>
                  <a:pt x="77415" y="5620"/>
                  <a:pt x="77284" y="5322"/>
                </a:cubicBezTo>
                <a:cubicBezTo>
                  <a:pt x="77617" y="5239"/>
                  <a:pt x="78106" y="5239"/>
                  <a:pt x="78106" y="4620"/>
                </a:cubicBezTo>
                <a:lnTo>
                  <a:pt x="78106" y="4620"/>
                </a:lnTo>
                <a:cubicBezTo>
                  <a:pt x="78034" y="4685"/>
                  <a:pt x="77992" y="4718"/>
                  <a:pt x="77942" y="4718"/>
                </a:cubicBezTo>
                <a:cubicBezTo>
                  <a:pt x="77891" y="4718"/>
                  <a:pt x="77832" y="4685"/>
                  <a:pt x="77725" y="4620"/>
                </a:cubicBezTo>
                <a:cubicBezTo>
                  <a:pt x="78534" y="4620"/>
                  <a:pt x="78915" y="4001"/>
                  <a:pt x="79522" y="3763"/>
                </a:cubicBezTo>
                <a:cubicBezTo>
                  <a:pt x="79630" y="3715"/>
                  <a:pt x="79975" y="3524"/>
                  <a:pt x="79975" y="3251"/>
                </a:cubicBezTo>
                <a:cubicBezTo>
                  <a:pt x="79975" y="2977"/>
                  <a:pt x="79118" y="2500"/>
                  <a:pt x="78880" y="2500"/>
                </a:cubicBezTo>
                <a:cubicBezTo>
                  <a:pt x="78701" y="2500"/>
                  <a:pt x="78582" y="2512"/>
                  <a:pt x="78522" y="2774"/>
                </a:cubicBezTo>
                <a:lnTo>
                  <a:pt x="77653" y="2774"/>
                </a:lnTo>
                <a:cubicBezTo>
                  <a:pt x="77356" y="2953"/>
                  <a:pt x="77308" y="3060"/>
                  <a:pt x="76986" y="3215"/>
                </a:cubicBezTo>
                <a:cubicBezTo>
                  <a:pt x="76978" y="3217"/>
                  <a:pt x="76967" y="3219"/>
                  <a:pt x="76953" y="3219"/>
                </a:cubicBezTo>
                <a:cubicBezTo>
                  <a:pt x="76843" y="3219"/>
                  <a:pt x="76570" y="3143"/>
                  <a:pt x="76570" y="3143"/>
                </a:cubicBezTo>
                <a:lnTo>
                  <a:pt x="75355" y="3143"/>
                </a:lnTo>
                <a:cubicBezTo>
                  <a:pt x="75058" y="3405"/>
                  <a:pt x="74141" y="4846"/>
                  <a:pt x="73676" y="4989"/>
                </a:cubicBezTo>
                <a:cubicBezTo>
                  <a:pt x="73724" y="4775"/>
                  <a:pt x="74903" y="3298"/>
                  <a:pt x="74903" y="3108"/>
                </a:cubicBezTo>
                <a:cubicBezTo>
                  <a:pt x="74903" y="2774"/>
                  <a:pt x="74772" y="2453"/>
                  <a:pt x="74450" y="2453"/>
                </a:cubicBezTo>
                <a:cubicBezTo>
                  <a:pt x="73843" y="2453"/>
                  <a:pt x="72772" y="3691"/>
                  <a:pt x="72319" y="3691"/>
                </a:cubicBezTo>
                <a:cubicBezTo>
                  <a:pt x="72164" y="3691"/>
                  <a:pt x="72962" y="2774"/>
                  <a:pt x="72998" y="2608"/>
                </a:cubicBezTo>
                <a:cubicBezTo>
                  <a:pt x="72944" y="2583"/>
                  <a:pt x="72820" y="2573"/>
                  <a:pt x="72648" y="2573"/>
                </a:cubicBezTo>
                <a:cubicBezTo>
                  <a:pt x="72026" y="2573"/>
                  <a:pt x="70779" y="2701"/>
                  <a:pt x="69993" y="2701"/>
                </a:cubicBezTo>
                <a:cubicBezTo>
                  <a:pt x="69652" y="2701"/>
                  <a:pt x="69397" y="2677"/>
                  <a:pt x="69319" y="2608"/>
                </a:cubicBezTo>
                <a:lnTo>
                  <a:pt x="73307" y="2346"/>
                </a:lnTo>
                <a:cubicBezTo>
                  <a:pt x="73796" y="2131"/>
                  <a:pt x="75022" y="2239"/>
                  <a:pt x="75117" y="1477"/>
                </a:cubicBezTo>
                <a:cubicBezTo>
                  <a:pt x="74665" y="1346"/>
                  <a:pt x="74022" y="1500"/>
                  <a:pt x="73534" y="1262"/>
                </a:cubicBezTo>
                <a:cubicBezTo>
                  <a:pt x="72688" y="822"/>
                  <a:pt x="71891" y="0"/>
                  <a:pt x="70819" y="0"/>
                </a:cubicBezTo>
                <a:close/>
                <a:moveTo>
                  <a:pt x="676" y="28287"/>
                </a:moveTo>
                <a:cubicBezTo>
                  <a:pt x="604" y="28287"/>
                  <a:pt x="565" y="28306"/>
                  <a:pt x="513" y="28444"/>
                </a:cubicBezTo>
                <a:lnTo>
                  <a:pt x="239" y="28444"/>
                </a:lnTo>
                <a:cubicBezTo>
                  <a:pt x="274" y="28527"/>
                  <a:pt x="382" y="28599"/>
                  <a:pt x="453" y="28658"/>
                </a:cubicBezTo>
                <a:lnTo>
                  <a:pt x="1048" y="28658"/>
                </a:lnTo>
                <a:cubicBezTo>
                  <a:pt x="1013" y="28444"/>
                  <a:pt x="1001" y="28289"/>
                  <a:pt x="775" y="28289"/>
                </a:cubicBezTo>
                <a:cubicBezTo>
                  <a:pt x="736" y="28289"/>
                  <a:pt x="704" y="28287"/>
                  <a:pt x="676" y="28287"/>
                </a:cubicBezTo>
                <a:close/>
                <a:moveTo>
                  <a:pt x="97989" y="28992"/>
                </a:moveTo>
                <a:cubicBezTo>
                  <a:pt x="97989" y="28992"/>
                  <a:pt x="97822" y="29099"/>
                  <a:pt x="97822" y="29206"/>
                </a:cubicBezTo>
                <a:cubicBezTo>
                  <a:pt x="97822" y="29313"/>
                  <a:pt x="97894" y="29385"/>
                  <a:pt x="97953" y="29468"/>
                </a:cubicBezTo>
                <a:cubicBezTo>
                  <a:pt x="97799" y="29492"/>
                  <a:pt x="97691" y="29611"/>
                  <a:pt x="97549" y="29635"/>
                </a:cubicBezTo>
                <a:cubicBezTo>
                  <a:pt x="97549" y="29766"/>
                  <a:pt x="97572" y="29968"/>
                  <a:pt x="97727" y="29968"/>
                </a:cubicBezTo>
                <a:cubicBezTo>
                  <a:pt x="97799" y="29968"/>
                  <a:pt x="98037" y="29813"/>
                  <a:pt x="98037" y="29754"/>
                </a:cubicBezTo>
                <a:lnTo>
                  <a:pt x="98037" y="29492"/>
                </a:lnTo>
                <a:cubicBezTo>
                  <a:pt x="98072" y="29468"/>
                  <a:pt x="98168" y="29313"/>
                  <a:pt x="98180" y="29206"/>
                </a:cubicBezTo>
                <a:cubicBezTo>
                  <a:pt x="98108" y="29159"/>
                  <a:pt x="98072" y="29123"/>
                  <a:pt x="97989" y="28992"/>
                </a:cubicBezTo>
                <a:close/>
                <a:moveTo>
                  <a:pt x="83237" y="29790"/>
                </a:moveTo>
                <a:cubicBezTo>
                  <a:pt x="83094" y="29790"/>
                  <a:pt x="82785" y="29897"/>
                  <a:pt x="82785" y="30028"/>
                </a:cubicBezTo>
                <a:cubicBezTo>
                  <a:pt x="82785" y="30123"/>
                  <a:pt x="82832" y="30290"/>
                  <a:pt x="82892" y="30290"/>
                </a:cubicBezTo>
                <a:cubicBezTo>
                  <a:pt x="83094" y="30290"/>
                  <a:pt x="83237" y="30028"/>
                  <a:pt x="83237" y="29790"/>
                </a:cubicBezTo>
                <a:close/>
                <a:moveTo>
                  <a:pt x="96096" y="30075"/>
                </a:moveTo>
                <a:lnTo>
                  <a:pt x="96096" y="30075"/>
                </a:lnTo>
                <a:cubicBezTo>
                  <a:pt x="95774" y="30099"/>
                  <a:pt x="95679" y="30480"/>
                  <a:pt x="95679" y="30611"/>
                </a:cubicBezTo>
                <a:cubicBezTo>
                  <a:pt x="95679" y="30718"/>
                  <a:pt x="95632" y="30813"/>
                  <a:pt x="95679" y="30897"/>
                </a:cubicBezTo>
                <a:cubicBezTo>
                  <a:pt x="95810" y="30706"/>
                  <a:pt x="95953" y="30599"/>
                  <a:pt x="95953" y="30361"/>
                </a:cubicBezTo>
                <a:cubicBezTo>
                  <a:pt x="95953" y="30242"/>
                  <a:pt x="96060" y="30159"/>
                  <a:pt x="96096" y="30075"/>
                </a:cubicBezTo>
                <a:close/>
                <a:moveTo>
                  <a:pt x="7573" y="30575"/>
                </a:moveTo>
                <a:cubicBezTo>
                  <a:pt x="7252" y="30575"/>
                  <a:pt x="7013" y="30790"/>
                  <a:pt x="6704" y="30897"/>
                </a:cubicBezTo>
                <a:lnTo>
                  <a:pt x="6704" y="31159"/>
                </a:lnTo>
                <a:cubicBezTo>
                  <a:pt x="6835" y="31266"/>
                  <a:pt x="6918" y="31290"/>
                  <a:pt x="7085" y="31445"/>
                </a:cubicBezTo>
                <a:cubicBezTo>
                  <a:pt x="7359" y="31183"/>
                  <a:pt x="7466" y="31028"/>
                  <a:pt x="7787" y="30837"/>
                </a:cubicBezTo>
                <a:lnTo>
                  <a:pt x="7787" y="30575"/>
                </a:lnTo>
                <a:close/>
                <a:moveTo>
                  <a:pt x="16217" y="30135"/>
                </a:moveTo>
                <a:cubicBezTo>
                  <a:pt x="16145" y="30135"/>
                  <a:pt x="16003" y="30182"/>
                  <a:pt x="16003" y="30361"/>
                </a:cubicBezTo>
                <a:cubicBezTo>
                  <a:pt x="16003" y="30683"/>
                  <a:pt x="16217" y="30968"/>
                  <a:pt x="16491" y="31004"/>
                </a:cubicBezTo>
                <a:cubicBezTo>
                  <a:pt x="16491" y="31349"/>
                  <a:pt x="16562" y="31611"/>
                  <a:pt x="16777" y="31873"/>
                </a:cubicBezTo>
                <a:cubicBezTo>
                  <a:pt x="16967" y="31659"/>
                  <a:pt x="16777" y="31349"/>
                  <a:pt x="16812" y="31052"/>
                </a:cubicBezTo>
                <a:lnTo>
                  <a:pt x="16812" y="31052"/>
                </a:lnTo>
                <a:cubicBezTo>
                  <a:pt x="16791" y="31066"/>
                  <a:pt x="16732" y="31084"/>
                  <a:pt x="16687" y="31084"/>
                </a:cubicBezTo>
                <a:cubicBezTo>
                  <a:pt x="16657" y="31084"/>
                  <a:pt x="16634" y="31076"/>
                  <a:pt x="16634" y="31052"/>
                </a:cubicBezTo>
                <a:cubicBezTo>
                  <a:pt x="16550" y="30706"/>
                  <a:pt x="16634" y="30706"/>
                  <a:pt x="16634" y="30135"/>
                </a:cubicBezTo>
                <a:lnTo>
                  <a:pt x="16634" y="30135"/>
                </a:lnTo>
                <a:cubicBezTo>
                  <a:pt x="16550" y="30194"/>
                  <a:pt x="16513" y="30214"/>
                  <a:pt x="16489" y="30214"/>
                </a:cubicBezTo>
                <a:cubicBezTo>
                  <a:pt x="16439" y="30214"/>
                  <a:pt x="16439" y="30135"/>
                  <a:pt x="16217" y="30135"/>
                </a:cubicBezTo>
                <a:close/>
                <a:moveTo>
                  <a:pt x="91512" y="32290"/>
                </a:moveTo>
                <a:lnTo>
                  <a:pt x="91512" y="32504"/>
                </a:lnTo>
                <a:cubicBezTo>
                  <a:pt x="91512" y="32718"/>
                  <a:pt x="91714" y="32790"/>
                  <a:pt x="91929" y="32790"/>
                </a:cubicBezTo>
                <a:lnTo>
                  <a:pt x="91929" y="32957"/>
                </a:lnTo>
                <a:cubicBezTo>
                  <a:pt x="91953" y="32849"/>
                  <a:pt x="91988" y="32897"/>
                  <a:pt x="91988" y="32718"/>
                </a:cubicBezTo>
                <a:cubicBezTo>
                  <a:pt x="91988" y="32504"/>
                  <a:pt x="91857" y="32552"/>
                  <a:pt x="91857" y="32290"/>
                </a:cubicBezTo>
                <a:close/>
                <a:moveTo>
                  <a:pt x="92417" y="31659"/>
                </a:moveTo>
                <a:cubicBezTo>
                  <a:pt x="92298" y="31659"/>
                  <a:pt x="92072" y="32218"/>
                  <a:pt x="92072" y="32314"/>
                </a:cubicBezTo>
                <a:cubicBezTo>
                  <a:pt x="92072" y="32445"/>
                  <a:pt x="92274" y="32611"/>
                  <a:pt x="92453" y="32659"/>
                </a:cubicBezTo>
                <a:cubicBezTo>
                  <a:pt x="92453" y="32766"/>
                  <a:pt x="92334" y="32921"/>
                  <a:pt x="92203" y="32945"/>
                </a:cubicBezTo>
                <a:lnTo>
                  <a:pt x="92167" y="32849"/>
                </a:lnTo>
                <a:cubicBezTo>
                  <a:pt x="92143" y="32873"/>
                  <a:pt x="92095" y="32921"/>
                  <a:pt x="92072" y="32957"/>
                </a:cubicBezTo>
                <a:cubicBezTo>
                  <a:pt x="92095" y="32980"/>
                  <a:pt x="92203" y="33088"/>
                  <a:pt x="92334" y="33088"/>
                </a:cubicBezTo>
                <a:cubicBezTo>
                  <a:pt x="92727" y="33088"/>
                  <a:pt x="92584" y="32326"/>
                  <a:pt x="92893" y="32218"/>
                </a:cubicBezTo>
                <a:cubicBezTo>
                  <a:pt x="92798" y="31849"/>
                  <a:pt x="92786" y="31659"/>
                  <a:pt x="92417" y="31659"/>
                </a:cubicBezTo>
                <a:close/>
                <a:moveTo>
                  <a:pt x="17576" y="31832"/>
                </a:moveTo>
                <a:cubicBezTo>
                  <a:pt x="17409" y="31832"/>
                  <a:pt x="17360" y="31939"/>
                  <a:pt x="17360" y="32314"/>
                </a:cubicBezTo>
                <a:cubicBezTo>
                  <a:pt x="17447" y="32241"/>
                  <a:pt x="17481" y="32216"/>
                  <a:pt x="17509" y="32216"/>
                </a:cubicBezTo>
                <a:cubicBezTo>
                  <a:pt x="17552" y="32216"/>
                  <a:pt x="17583" y="32271"/>
                  <a:pt x="17753" y="32314"/>
                </a:cubicBezTo>
                <a:cubicBezTo>
                  <a:pt x="17705" y="32421"/>
                  <a:pt x="17753" y="32588"/>
                  <a:pt x="17753" y="32742"/>
                </a:cubicBezTo>
                <a:cubicBezTo>
                  <a:pt x="17753" y="32766"/>
                  <a:pt x="17955" y="33219"/>
                  <a:pt x="18122" y="33219"/>
                </a:cubicBezTo>
                <a:cubicBezTo>
                  <a:pt x="18217" y="33219"/>
                  <a:pt x="18265" y="33159"/>
                  <a:pt x="18265" y="33004"/>
                </a:cubicBezTo>
                <a:cubicBezTo>
                  <a:pt x="18265" y="32528"/>
                  <a:pt x="17777" y="32457"/>
                  <a:pt x="17836" y="31873"/>
                </a:cubicBezTo>
                <a:cubicBezTo>
                  <a:pt x="17728" y="31849"/>
                  <a:pt x="17642" y="31832"/>
                  <a:pt x="17576" y="31832"/>
                </a:cubicBezTo>
                <a:close/>
                <a:moveTo>
                  <a:pt x="84083" y="33373"/>
                </a:moveTo>
                <a:cubicBezTo>
                  <a:pt x="83975" y="33445"/>
                  <a:pt x="83964" y="33528"/>
                  <a:pt x="83964" y="33635"/>
                </a:cubicBezTo>
                <a:lnTo>
                  <a:pt x="84154" y="33635"/>
                </a:lnTo>
                <a:cubicBezTo>
                  <a:pt x="84154" y="33528"/>
                  <a:pt x="84178" y="33433"/>
                  <a:pt x="84178" y="33373"/>
                </a:cubicBezTo>
                <a:close/>
                <a:moveTo>
                  <a:pt x="44149" y="34528"/>
                </a:moveTo>
                <a:cubicBezTo>
                  <a:pt x="44161" y="34564"/>
                  <a:pt x="44161" y="34635"/>
                  <a:pt x="44149" y="34671"/>
                </a:cubicBezTo>
                <a:cubicBezTo>
                  <a:pt x="44256" y="34802"/>
                  <a:pt x="44506" y="34897"/>
                  <a:pt x="44673" y="34897"/>
                </a:cubicBezTo>
                <a:cubicBezTo>
                  <a:pt x="44681" y="34897"/>
                  <a:pt x="44715" y="34903"/>
                  <a:pt x="44737" y="34903"/>
                </a:cubicBezTo>
                <a:cubicBezTo>
                  <a:pt x="44748" y="34903"/>
                  <a:pt x="44756" y="34901"/>
                  <a:pt x="44756" y="34897"/>
                </a:cubicBezTo>
                <a:cubicBezTo>
                  <a:pt x="44756" y="34588"/>
                  <a:pt x="44459" y="34528"/>
                  <a:pt x="44149" y="34528"/>
                </a:cubicBezTo>
                <a:close/>
                <a:moveTo>
                  <a:pt x="17777" y="33850"/>
                </a:moveTo>
                <a:lnTo>
                  <a:pt x="17777" y="34028"/>
                </a:lnTo>
                <a:cubicBezTo>
                  <a:pt x="17848" y="34159"/>
                  <a:pt x="17920" y="34409"/>
                  <a:pt x="17991" y="34409"/>
                </a:cubicBezTo>
                <a:cubicBezTo>
                  <a:pt x="18098" y="34409"/>
                  <a:pt x="18146" y="34659"/>
                  <a:pt x="18289" y="34695"/>
                </a:cubicBezTo>
                <a:cubicBezTo>
                  <a:pt x="18289" y="34743"/>
                  <a:pt x="18217" y="34802"/>
                  <a:pt x="18217" y="34933"/>
                </a:cubicBezTo>
                <a:cubicBezTo>
                  <a:pt x="18217" y="35112"/>
                  <a:pt x="18324" y="35350"/>
                  <a:pt x="18467" y="35350"/>
                </a:cubicBezTo>
                <a:cubicBezTo>
                  <a:pt x="18646" y="35350"/>
                  <a:pt x="18324" y="35028"/>
                  <a:pt x="18324" y="34933"/>
                </a:cubicBezTo>
                <a:cubicBezTo>
                  <a:pt x="18324" y="34850"/>
                  <a:pt x="18408" y="34802"/>
                  <a:pt x="18408" y="34719"/>
                </a:cubicBezTo>
                <a:cubicBezTo>
                  <a:pt x="18408" y="34612"/>
                  <a:pt x="18324" y="34564"/>
                  <a:pt x="18324" y="34457"/>
                </a:cubicBezTo>
                <a:cubicBezTo>
                  <a:pt x="18324" y="34242"/>
                  <a:pt x="18360" y="34111"/>
                  <a:pt x="18324" y="33981"/>
                </a:cubicBezTo>
                <a:cubicBezTo>
                  <a:pt x="18289" y="34088"/>
                  <a:pt x="18217" y="34266"/>
                  <a:pt x="18086" y="34266"/>
                </a:cubicBezTo>
                <a:cubicBezTo>
                  <a:pt x="17979" y="34266"/>
                  <a:pt x="18193" y="34028"/>
                  <a:pt x="18193" y="34004"/>
                </a:cubicBezTo>
                <a:cubicBezTo>
                  <a:pt x="18027" y="33981"/>
                  <a:pt x="17943" y="33850"/>
                  <a:pt x="17777" y="33850"/>
                </a:cubicBezTo>
                <a:close/>
                <a:moveTo>
                  <a:pt x="82594" y="32552"/>
                </a:moveTo>
                <a:cubicBezTo>
                  <a:pt x="82416" y="32552"/>
                  <a:pt x="82059" y="32814"/>
                  <a:pt x="82059" y="32957"/>
                </a:cubicBezTo>
                <a:cubicBezTo>
                  <a:pt x="82059" y="33064"/>
                  <a:pt x="82094" y="33111"/>
                  <a:pt x="82166" y="33242"/>
                </a:cubicBezTo>
                <a:cubicBezTo>
                  <a:pt x="82059" y="33373"/>
                  <a:pt x="81749" y="33480"/>
                  <a:pt x="81642" y="33480"/>
                </a:cubicBezTo>
                <a:cubicBezTo>
                  <a:pt x="81627" y="33480"/>
                  <a:pt x="81607" y="33477"/>
                  <a:pt x="81585" y="33477"/>
                </a:cubicBezTo>
                <a:cubicBezTo>
                  <a:pt x="81520" y="33477"/>
                  <a:pt x="81439" y="33504"/>
                  <a:pt x="81439" y="33719"/>
                </a:cubicBezTo>
                <a:cubicBezTo>
                  <a:pt x="81439" y="33933"/>
                  <a:pt x="81606" y="34064"/>
                  <a:pt x="81785" y="34171"/>
                </a:cubicBezTo>
                <a:cubicBezTo>
                  <a:pt x="81713" y="34695"/>
                  <a:pt x="81261" y="34743"/>
                  <a:pt x="81261" y="35278"/>
                </a:cubicBezTo>
                <a:cubicBezTo>
                  <a:pt x="81261" y="35540"/>
                  <a:pt x="81499" y="35778"/>
                  <a:pt x="81713" y="35778"/>
                </a:cubicBezTo>
                <a:cubicBezTo>
                  <a:pt x="81820" y="35778"/>
                  <a:pt x="81963" y="35766"/>
                  <a:pt x="82059" y="35695"/>
                </a:cubicBezTo>
                <a:cubicBezTo>
                  <a:pt x="82201" y="35588"/>
                  <a:pt x="82416" y="35219"/>
                  <a:pt x="82713" y="35219"/>
                </a:cubicBezTo>
                <a:cubicBezTo>
                  <a:pt x="82761" y="35219"/>
                  <a:pt x="82809" y="35220"/>
                  <a:pt x="82855" y="35220"/>
                </a:cubicBezTo>
                <a:cubicBezTo>
                  <a:pt x="82982" y="35220"/>
                  <a:pt x="83099" y="35208"/>
                  <a:pt x="83178" y="35112"/>
                </a:cubicBezTo>
                <a:cubicBezTo>
                  <a:pt x="83321" y="34933"/>
                  <a:pt x="83202" y="34671"/>
                  <a:pt x="83202" y="34504"/>
                </a:cubicBezTo>
                <a:lnTo>
                  <a:pt x="83202" y="33766"/>
                </a:lnTo>
                <a:cubicBezTo>
                  <a:pt x="83202" y="33588"/>
                  <a:pt x="83523" y="33611"/>
                  <a:pt x="83523" y="33433"/>
                </a:cubicBezTo>
                <a:cubicBezTo>
                  <a:pt x="83523" y="33064"/>
                  <a:pt x="83321" y="32552"/>
                  <a:pt x="82904" y="32552"/>
                </a:cubicBezTo>
                <a:close/>
                <a:moveTo>
                  <a:pt x="84071" y="29528"/>
                </a:moveTo>
                <a:cubicBezTo>
                  <a:pt x="83964" y="29528"/>
                  <a:pt x="83773" y="29706"/>
                  <a:pt x="83773" y="29813"/>
                </a:cubicBezTo>
                <a:cubicBezTo>
                  <a:pt x="83773" y="29921"/>
                  <a:pt x="83702" y="30004"/>
                  <a:pt x="83702" y="30182"/>
                </a:cubicBezTo>
                <a:cubicBezTo>
                  <a:pt x="83583" y="30182"/>
                  <a:pt x="83452" y="30266"/>
                  <a:pt x="83452" y="30444"/>
                </a:cubicBezTo>
                <a:cubicBezTo>
                  <a:pt x="83452" y="30480"/>
                  <a:pt x="83511" y="30552"/>
                  <a:pt x="83547" y="30575"/>
                </a:cubicBezTo>
                <a:cubicBezTo>
                  <a:pt x="83547" y="30611"/>
                  <a:pt x="83511" y="30706"/>
                  <a:pt x="83475" y="30706"/>
                </a:cubicBezTo>
                <a:cubicBezTo>
                  <a:pt x="83440" y="30706"/>
                  <a:pt x="83344" y="30635"/>
                  <a:pt x="83344" y="30504"/>
                </a:cubicBezTo>
                <a:lnTo>
                  <a:pt x="83059" y="30504"/>
                </a:lnTo>
                <a:cubicBezTo>
                  <a:pt x="83059" y="30790"/>
                  <a:pt x="83202" y="30849"/>
                  <a:pt x="83463" y="30921"/>
                </a:cubicBezTo>
                <a:lnTo>
                  <a:pt x="83463" y="31099"/>
                </a:lnTo>
                <a:cubicBezTo>
                  <a:pt x="83463" y="31111"/>
                  <a:pt x="83344" y="31266"/>
                  <a:pt x="83344" y="31373"/>
                </a:cubicBezTo>
                <a:cubicBezTo>
                  <a:pt x="83344" y="31468"/>
                  <a:pt x="83511" y="31528"/>
                  <a:pt x="83618" y="31552"/>
                </a:cubicBezTo>
                <a:lnTo>
                  <a:pt x="83618" y="31742"/>
                </a:lnTo>
                <a:cubicBezTo>
                  <a:pt x="83559" y="31790"/>
                  <a:pt x="83547" y="31826"/>
                  <a:pt x="83547" y="31897"/>
                </a:cubicBezTo>
                <a:lnTo>
                  <a:pt x="83547" y="32242"/>
                </a:lnTo>
                <a:lnTo>
                  <a:pt x="83690" y="32242"/>
                </a:lnTo>
                <a:cubicBezTo>
                  <a:pt x="83654" y="32159"/>
                  <a:pt x="83594" y="32099"/>
                  <a:pt x="83690" y="31921"/>
                </a:cubicBezTo>
                <a:cubicBezTo>
                  <a:pt x="83737" y="31956"/>
                  <a:pt x="83856" y="32028"/>
                  <a:pt x="83999" y="32028"/>
                </a:cubicBezTo>
                <a:cubicBezTo>
                  <a:pt x="83940" y="32195"/>
                  <a:pt x="83999" y="32242"/>
                  <a:pt x="83999" y="32445"/>
                </a:cubicBezTo>
                <a:cubicBezTo>
                  <a:pt x="83999" y="32611"/>
                  <a:pt x="83809" y="32718"/>
                  <a:pt x="83809" y="32897"/>
                </a:cubicBezTo>
                <a:cubicBezTo>
                  <a:pt x="83809" y="33064"/>
                  <a:pt x="83940" y="33064"/>
                  <a:pt x="84106" y="33064"/>
                </a:cubicBezTo>
                <a:cubicBezTo>
                  <a:pt x="84249" y="33064"/>
                  <a:pt x="84345" y="32957"/>
                  <a:pt x="84523" y="32957"/>
                </a:cubicBezTo>
                <a:cubicBezTo>
                  <a:pt x="84571" y="32957"/>
                  <a:pt x="84630" y="32980"/>
                  <a:pt x="84678" y="32980"/>
                </a:cubicBezTo>
                <a:cubicBezTo>
                  <a:pt x="84642" y="33064"/>
                  <a:pt x="84559" y="33111"/>
                  <a:pt x="84559" y="33290"/>
                </a:cubicBezTo>
                <a:cubicBezTo>
                  <a:pt x="84559" y="33472"/>
                  <a:pt x="84739" y="33534"/>
                  <a:pt x="84903" y="33534"/>
                </a:cubicBezTo>
                <a:cubicBezTo>
                  <a:pt x="84932" y="33534"/>
                  <a:pt x="84960" y="33532"/>
                  <a:pt x="84987" y="33528"/>
                </a:cubicBezTo>
                <a:lnTo>
                  <a:pt x="84987" y="33850"/>
                </a:lnTo>
                <a:cubicBezTo>
                  <a:pt x="84904" y="34064"/>
                  <a:pt x="84499" y="34266"/>
                  <a:pt x="84178" y="34266"/>
                </a:cubicBezTo>
                <a:cubicBezTo>
                  <a:pt x="84178" y="34504"/>
                  <a:pt x="84321" y="34612"/>
                  <a:pt x="84321" y="34897"/>
                </a:cubicBezTo>
                <a:cubicBezTo>
                  <a:pt x="84321" y="35219"/>
                  <a:pt x="83809" y="35243"/>
                  <a:pt x="83809" y="35564"/>
                </a:cubicBezTo>
                <a:cubicBezTo>
                  <a:pt x="83809" y="35612"/>
                  <a:pt x="83868" y="35671"/>
                  <a:pt x="83904" y="35671"/>
                </a:cubicBezTo>
                <a:cubicBezTo>
                  <a:pt x="83999" y="35671"/>
                  <a:pt x="83975" y="35564"/>
                  <a:pt x="84083" y="35564"/>
                </a:cubicBezTo>
                <a:cubicBezTo>
                  <a:pt x="84285" y="35564"/>
                  <a:pt x="84356" y="35826"/>
                  <a:pt x="84595" y="35826"/>
                </a:cubicBezTo>
                <a:cubicBezTo>
                  <a:pt x="84726" y="35826"/>
                  <a:pt x="84845" y="35743"/>
                  <a:pt x="84916" y="35612"/>
                </a:cubicBezTo>
                <a:cubicBezTo>
                  <a:pt x="84916" y="35647"/>
                  <a:pt x="84952" y="35719"/>
                  <a:pt x="84952" y="35766"/>
                </a:cubicBezTo>
                <a:cubicBezTo>
                  <a:pt x="84952" y="36064"/>
                  <a:pt x="84595" y="35957"/>
                  <a:pt x="84345" y="36040"/>
                </a:cubicBezTo>
                <a:cubicBezTo>
                  <a:pt x="84285" y="36064"/>
                  <a:pt x="83737" y="36755"/>
                  <a:pt x="83702" y="36850"/>
                </a:cubicBezTo>
                <a:lnTo>
                  <a:pt x="83702" y="36981"/>
                </a:lnTo>
                <a:lnTo>
                  <a:pt x="83833" y="36981"/>
                </a:lnTo>
                <a:cubicBezTo>
                  <a:pt x="83904" y="36886"/>
                  <a:pt x="83964" y="36802"/>
                  <a:pt x="84083" y="36802"/>
                </a:cubicBezTo>
                <a:lnTo>
                  <a:pt x="84345" y="36802"/>
                </a:lnTo>
                <a:cubicBezTo>
                  <a:pt x="84345" y="36636"/>
                  <a:pt x="84452" y="36433"/>
                  <a:pt x="84630" y="36433"/>
                </a:cubicBezTo>
                <a:cubicBezTo>
                  <a:pt x="84761" y="36433"/>
                  <a:pt x="84833" y="36564"/>
                  <a:pt x="84952" y="36564"/>
                </a:cubicBezTo>
                <a:cubicBezTo>
                  <a:pt x="85226" y="36564"/>
                  <a:pt x="85714" y="36374"/>
                  <a:pt x="85892" y="36374"/>
                </a:cubicBezTo>
                <a:lnTo>
                  <a:pt x="86619" y="36374"/>
                </a:lnTo>
                <a:cubicBezTo>
                  <a:pt x="86845" y="36374"/>
                  <a:pt x="86964" y="36243"/>
                  <a:pt x="87131" y="36040"/>
                </a:cubicBezTo>
                <a:lnTo>
                  <a:pt x="87131" y="35897"/>
                </a:lnTo>
                <a:cubicBezTo>
                  <a:pt x="87023" y="35897"/>
                  <a:pt x="86952" y="35874"/>
                  <a:pt x="86761" y="35802"/>
                </a:cubicBezTo>
                <a:cubicBezTo>
                  <a:pt x="86916" y="35528"/>
                  <a:pt x="87345" y="35326"/>
                  <a:pt x="87345" y="34933"/>
                </a:cubicBezTo>
                <a:cubicBezTo>
                  <a:pt x="87345" y="34719"/>
                  <a:pt x="87178" y="34528"/>
                  <a:pt x="86964" y="34528"/>
                </a:cubicBezTo>
                <a:cubicBezTo>
                  <a:pt x="86920" y="34528"/>
                  <a:pt x="86893" y="34526"/>
                  <a:pt x="86873" y="34526"/>
                </a:cubicBezTo>
                <a:cubicBezTo>
                  <a:pt x="86827" y="34526"/>
                  <a:pt x="86816" y="34537"/>
                  <a:pt x="86726" y="34612"/>
                </a:cubicBezTo>
                <a:lnTo>
                  <a:pt x="86821" y="34528"/>
                </a:lnTo>
                <a:lnTo>
                  <a:pt x="86821" y="34528"/>
                </a:lnTo>
                <a:cubicBezTo>
                  <a:pt x="86750" y="34564"/>
                  <a:pt x="86726" y="34635"/>
                  <a:pt x="86607" y="34671"/>
                </a:cubicBezTo>
                <a:lnTo>
                  <a:pt x="86607" y="34528"/>
                </a:lnTo>
                <a:cubicBezTo>
                  <a:pt x="86654" y="34504"/>
                  <a:pt x="86690" y="34433"/>
                  <a:pt x="86690" y="34373"/>
                </a:cubicBezTo>
                <a:cubicBezTo>
                  <a:pt x="86690" y="34195"/>
                  <a:pt x="86500" y="34088"/>
                  <a:pt x="86500" y="33921"/>
                </a:cubicBezTo>
                <a:cubicBezTo>
                  <a:pt x="86500" y="33397"/>
                  <a:pt x="86023" y="33242"/>
                  <a:pt x="85738" y="32897"/>
                </a:cubicBezTo>
                <a:cubicBezTo>
                  <a:pt x="85511" y="32635"/>
                  <a:pt x="85571" y="32111"/>
                  <a:pt x="85226" y="31980"/>
                </a:cubicBezTo>
                <a:cubicBezTo>
                  <a:pt x="85198" y="31973"/>
                  <a:pt x="85172" y="31971"/>
                  <a:pt x="85147" y="31971"/>
                </a:cubicBezTo>
                <a:cubicBezTo>
                  <a:pt x="85085" y="31971"/>
                  <a:pt x="85027" y="31986"/>
                  <a:pt x="84960" y="31986"/>
                </a:cubicBezTo>
                <a:cubicBezTo>
                  <a:pt x="84916" y="31986"/>
                  <a:pt x="84867" y="31980"/>
                  <a:pt x="84809" y="31956"/>
                </a:cubicBezTo>
                <a:cubicBezTo>
                  <a:pt x="84833" y="31873"/>
                  <a:pt x="84880" y="31814"/>
                  <a:pt x="84952" y="31790"/>
                </a:cubicBezTo>
                <a:cubicBezTo>
                  <a:pt x="84952" y="31325"/>
                  <a:pt x="85511" y="31075"/>
                  <a:pt x="85440" y="30468"/>
                </a:cubicBezTo>
                <a:lnTo>
                  <a:pt x="84380" y="30468"/>
                </a:lnTo>
                <a:cubicBezTo>
                  <a:pt x="84345" y="30397"/>
                  <a:pt x="84321" y="30361"/>
                  <a:pt x="84321" y="30290"/>
                </a:cubicBezTo>
                <a:cubicBezTo>
                  <a:pt x="84380" y="29992"/>
                  <a:pt x="84773" y="30028"/>
                  <a:pt x="84773" y="29730"/>
                </a:cubicBezTo>
                <a:cubicBezTo>
                  <a:pt x="84773" y="29682"/>
                  <a:pt x="84666" y="29528"/>
                  <a:pt x="84595" y="29528"/>
                </a:cubicBezTo>
                <a:close/>
                <a:moveTo>
                  <a:pt x="53495" y="37185"/>
                </a:moveTo>
                <a:cubicBezTo>
                  <a:pt x="53420" y="37185"/>
                  <a:pt x="53341" y="37196"/>
                  <a:pt x="53257" y="37219"/>
                </a:cubicBezTo>
                <a:cubicBezTo>
                  <a:pt x="53483" y="37410"/>
                  <a:pt x="54007" y="37862"/>
                  <a:pt x="54293" y="37862"/>
                </a:cubicBezTo>
                <a:cubicBezTo>
                  <a:pt x="54436" y="37862"/>
                  <a:pt x="54496" y="37850"/>
                  <a:pt x="54543" y="37743"/>
                </a:cubicBezTo>
                <a:cubicBezTo>
                  <a:pt x="54219" y="37520"/>
                  <a:pt x="53921" y="37185"/>
                  <a:pt x="53495" y="37185"/>
                </a:cubicBezTo>
                <a:close/>
                <a:moveTo>
                  <a:pt x="20456" y="36588"/>
                </a:moveTo>
                <a:cubicBezTo>
                  <a:pt x="20372" y="36588"/>
                  <a:pt x="20277" y="36648"/>
                  <a:pt x="20206" y="36695"/>
                </a:cubicBezTo>
                <a:lnTo>
                  <a:pt x="20277" y="36695"/>
                </a:lnTo>
                <a:cubicBezTo>
                  <a:pt x="20277" y="36695"/>
                  <a:pt x="20456" y="36755"/>
                  <a:pt x="20551" y="36778"/>
                </a:cubicBezTo>
                <a:cubicBezTo>
                  <a:pt x="20527" y="36850"/>
                  <a:pt x="20456" y="36933"/>
                  <a:pt x="20372" y="36981"/>
                </a:cubicBezTo>
                <a:cubicBezTo>
                  <a:pt x="20444" y="37243"/>
                  <a:pt x="20944" y="37457"/>
                  <a:pt x="21313" y="37457"/>
                </a:cubicBezTo>
                <a:cubicBezTo>
                  <a:pt x="21253" y="37529"/>
                  <a:pt x="21170" y="37529"/>
                  <a:pt x="21134" y="37671"/>
                </a:cubicBezTo>
                <a:cubicBezTo>
                  <a:pt x="21420" y="37886"/>
                  <a:pt x="22051" y="38481"/>
                  <a:pt x="22468" y="38481"/>
                </a:cubicBezTo>
                <a:lnTo>
                  <a:pt x="22634" y="38481"/>
                </a:lnTo>
                <a:lnTo>
                  <a:pt x="22634" y="38279"/>
                </a:lnTo>
                <a:cubicBezTo>
                  <a:pt x="22158" y="37719"/>
                  <a:pt x="21730" y="37195"/>
                  <a:pt x="20944" y="36886"/>
                </a:cubicBezTo>
                <a:cubicBezTo>
                  <a:pt x="20825" y="36850"/>
                  <a:pt x="20658" y="36588"/>
                  <a:pt x="20456" y="36588"/>
                </a:cubicBezTo>
                <a:close/>
                <a:moveTo>
                  <a:pt x="57615" y="35766"/>
                </a:moveTo>
                <a:cubicBezTo>
                  <a:pt x="57317" y="35766"/>
                  <a:pt x="57210" y="36136"/>
                  <a:pt x="57067" y="36409"/>
                </a:cubicBezTo>
                <a:cubicBezTo>
                  <a:pt x="56793" y="36909"/>
                  <a:pt x="56591" y="37886"/>
                  <a:pt x="56091" y="38195"/>
                </a:cubicBezTo>
                <a:cubicBezTo>
                  <a:pt x="56103" y="38255"/>
                  <a:pt x="56174" y="38302"/>
                  <a:pt x="56234" y="38302"/>
                </a:cubicBezTo>
                <a:lnTo>
                  <a:pt x="56234" y="38433"/>
                </a:lnTo>
                <a:cubicBezTo>
                  <a:pt x="56234" y="38457"/>
                  <a:pt x="55900" y="38755"/>
                  <a:pt x="55900" y="38850"/>
                </a:cubicBezTo>
                <a:cubicBezTo>
                  <a:pt x="55900" y="38910"/>
                  <a:pt x="55996" y="39064"/>
                  <a:pt x="56091" y="39064"/>
                </a:cubicBezTo>
                <a:cubicBezTo>
                  <a:pt x="56305" y="39064"/>
                  <a:pt x="56377" y="38934"/>
                  <a:pt x="56651" y="38934"/>
                </a:cubicBezTo>
                <a:cubicBezTo>
                  <a:pt x="56853" y="38934"/>
                  <a:pt x="56960" y="39088"/>
                  <a:pt x="57198" y="39088"/>
                </a:cubicBezTo>
                <a:cubicBezTo>
                  <a:pt x="57317" y="39088"/>
                  <a:pt x="57424" y="39041"/>
                  <a:pt x="57555" y="38981"/>
                </a:cubicBezTo>
                <a:cubicBezTo>
                  <a:pt x="57598" y="39078"/>
                  <a:pt x="57668" y="39104"/>
                  <a:pt x="57748" y="39104"/>
                </a:cubicBezTo>
                <a:cubicBezTo>
                  <a:pt x="57847" y="39104"/>
                  <a:pt x="57963" y="39064"/>
                  <a:pt x="58067" y="39064"/>
                </a:cubicBezTo>
                <a:cubicBezTo>
                  <a:pt x="58008" y="39195"/>
                  <a:pt x="57865" y="39195"/>
                  <a:pt x="57865" y="39410"/>
                </a:cubicBezTo>
                <a:cubicBezTo>
                  <a:pt x="57865" y="39426"/>
                  <a:pt x="57873" y="39431"/>
                  <a:pt x="57885" y="39431"/>
                </a:cubicBezTo>
                <a:cubicBezTo>
                  <a:pt x="57909" y="39431"/>
                  <a:pt x="57948" y="39410"/>
                  <a:pt x="57972" y="39410"/>
                </a:cubicBezTo>
                <a:cubicBezTo>
                  <a:pt x="58186" y="39410"/>
                  <a:pt x="58353" y="39088"/>
                  <a:pt x="58496" y="38826"/>
                </a:cubicBezTo>
                <a:cubicBezTo>
                  <a:pt x="58639" y="38993"/>
                  <a:pt x="58532" y="39410"/>
                  <a:pt x="58675" y="39410"/>
                </a:cubicBezTo>
                <a:cubicBezTo>
                  <a:pt x="58734" y="39410"/>
                  <a:pt x="58770" y="39457"/>
                  <a:pt x="58817" y="39457"/>
                </a:cubicBezTo>
                <a:cubicBezTo>
                  <a:pt x="58817" y="39541"/>
                  <a:pt x="58865" y="39707"/>
                  <a:pt x="58984" y="39707"/>
                </a:cubicBezTo>
                <a:cubicBezTo>
                  <a:pt x="59163" y="39707"/>
                  <a:pt x="59282" y="39457"/>
                  <a:pt x="59282" y="39195"/>
                </a:cubicBezTo>
                <a:cubicBezTo>
                  <a:pt x="59282" y="38981"/>
                  <a:pt x="59151" y="38993"/>
                  <a:pt x="59151" y="38731"/>
                </a:cubicBezTo>
                <a:cubicBezTo>
                  <a:pt x="59044" y="38826"/>
                  <a:pt x="59091" y="38862"/>
                  <a:pt x="58913" y="38862"/>
                </a:cubicBezTo>
                <a:cubicBezTo>
                  <a:pt x="58913" y="38719"/>
                  <a:pt x="58782" y="38624"/>
                  <a:pt x="58782" y="38517"/>
                </a:cubicBezTo>
                <a:cubicBezTo>
                  <a:pt x="58782" y="38433"/>
                  <a:pt x="58948" y="38386"/>
                  <a:pt x="58972" y="38195"/>
                </a:cubicBezTo>
                <a:cubicBezTo>
                  <a:pt x="58901" y="38195"/>
                  <a:pt x="58806" y="38219"/>
                  <a:pt x="58770" y="38255"/>
                </a:cubicBezTo>
                <a:cubicBezTo>
                  <a:pt x="58770" y="37933"/>
                  <a:pt x="58782" y="37743"/>
                  <a:pt x="58782" y="37540"/>
                </a:cubicBezTo>
                <a:lnTo>
                  <a:pt x="58782" y="37540"/>
                </a:lnTo>
                <a:cubicBezTo>
                  <a:pt x="58740" y="37576"/>
                  <a:pt x="58660" y="37594"/>
                  <a:pt x="58564" y="37594"/>
                </a:cubicBezTo>
                <a:cubicBezTo>
                  <a:pt x="58469" y="37594"/>
                  <a:pt x="58359" y="37576"/>
                  <a:pt x="58258" y="37540"/>
                </a:cubicBezTo>
                <a:lnTo>
                  <a:pt x="58044" y="37624"/>
                </a:lnTo>
                <a:lnTo>
                  <a:pt x="58044" y="37517"/>
                </a:lnTo>
                <a:lnTo>
                  <a:pt x="57722" y="37517"/>
                </a:lnTo>
                <a:lnTo>
                  <a:pt x="57722" y="37326"/>
                </a:lnTo>
                <a:lnTo>
                  <a:pt x="57805" y="37219"/>
                </a:lnTo>
                <a:cubicBezTo>
                  <a:pt x="57734" y="37124"/>
                  <a:pt x="57627" y="37112"/>
                  <a:pt x="57520" y="37112"/>
                </a:cubicBezTo>
                <a:cubicBezTo>
                  <a:pt x="57389" y="37112"/>
                  <a:pt x="57389" y="37243"/>
                  <a:pt x="57246" y="37279"/>
                </a:cubicBezTo>
                <a:lnTo>
                  <a:pt x="57246" y="37088"/>
                </a:lnTo>
                <a:cubicBezTo>
                  <a:pt x="57353" y="36695"/>
                  <a:pt x="57734" y="36457"/>
                  <a:pt x="57734" y="35981"/>
                </a:cubicBezTo>
                <a:cubicBezTo>
                  <a:pt x="57734" y="35897"/>
                  <a:pt x="57686" y="35766"/>
                  <a:pt x="57615" y="35766"/>
                </a:cubicBezTo>
                <a:close/>
                <a:moveTo>
                  <a:pt x="159913" y="33088"/>
                </a:moveTo>
                <a:lnTo>
                  <a:pt x="159913" y="33552"/>
                </a:lnTo>
                <a:cubicBezTo>
                  <a:pt x="159913" y="33659"/>
                  <a:pt x="159830" y="33695"/>
                  <a:pt x="159830" y="33826"/>
                </a:cubicBezTo>
                <a:cubicBezTo>
                  <a:pt x="159568" y="33897"/>
                  <a:pt x="159449" y="34481"/>
                  <a:pt x="159449" y="34933"/>
                </a:cubicBezTo>
                <a:cubicBezTo>
                  <a:pt x="159449" y="35266"/>
                  <a:pt x="159723" y="35397"/>
                  <a:pt x="159723" y="35719"/>
                </a:cubicBezTo>
                <a:lnTo>
                  <a:pt x="159723" y="37005"/>
                </a:lnTo>
                <a:cubicBezTo>
                  <a:pt x="159723" y="37267"/>
                  <a:pt x="159640" y="37350"/>
                  <a:pt x="159640" y="37671"/>
                </a:cubicBezTo>
                <a:cubicBezTo>
                  <a:pt x="159640" y="37933"/>
                  <a:pt x="159747" y="37981"/>
                  <a:pt x="159747" y="38279"/>
                </a:cubicBezTo>
                <a:cubicBezTo>
                  <a:pt x="159747" y="38612"/>
                  <a:pt x="159675" y="38862"/>
                  <a:pt x="159675" y="39255"/>
                </a:cubicBezTo>
                <a:cubicBezTo>
                  <a:pt x="159675" y="39362"/>
                  <a:pt x="159616" y="39886"/>
                  <a:pt x="159675" y="39886"/>
                </a:cubicBezTo>
                <a:cubicBezTo>
                  <a:pt x="159890" y="39886"/>
                  <a:pt x="159890" y="39410"/>
                  <a:pt x="160104" y="39410"/>
                </a:cubicBezTo>
                <a:lnTo>
                  <a:pt x="160283" y="39410"/>
                </a:lnTo>
                <a:cubicBezTo>
                  <a:pt x="160305" y="39487"/>
                  <a:pt x="160389" y="39627"/>
                  <a:pt x="160458" y="39627"/>
                </a:cubicBezTo>
                <a:cubicBezTo>
                  <a:pt x="160463" y="39627"/>
                  <a:pt x="160468" y="39626"/>
                  <a:pt x="160473" y="39624"/>
                </a:cubicBezTo>
                <a:cubicBezTo>
                  <a:pt x="160485" y="39624"/>
                  <a:pt x="160521" y="39600"/>
                  <a:pt x="160521" y="39600"/>
                </a:cubicBezTo>
                <a:cubicBezTo>
                  <a:pt x="160378" y="39231"/>
                  <a:pt x="159997" y="38993"/>
                  <a:pt x="159997" y="38493"/>
                </a:cubicBezTo>
                <a:cubicBezTo>
                  <a:pt x="159997" y="37933"/>
                  <a:pt x="160056" y="37243"/>
                  <a:pt x="160545" y="37243"/>
                </a:cubicBezTo>
                <a:cubicBezTo>
                  <a:pt x="160699" y="37243"/>
                  <a:pt x="160830" y="37374"/>
                  <a:pt x="160926" y="37529"/>
                </a:cubicBezTo>
                <a:cubicBezTo>
                  <a:pt x="160818" y="37005"/>
                  <a:pt x="160580" y="36564"/>
                  <a:pt x="160437" y="36028"/>
                </a:cubicBezTo>
                <a:cubicBezTo>
                  <a:pt x="160402" y="35897"/>
                  <a:pt x="160271" y="35647"/>
                  <a:pt x="160306" y="35433"/>
                </a:cubicBezTo>
                <a:lnTo>
                  <a:pt x="160306" y="34921"/>
                </a:lnTo>
                <a:cubicBezTo>
                  <a:pt x="160175" y="34612"/>
                  <a:pt x="160318" y="34397"/>
                  <a:pt x="160247" y="34088"/>
                </a:cubicBezTo>
                <a:cubicBezTo>
                  <a:pt x="160175" y="33814"/>
                  <a:pt x="160033" y="33528"/>
                  <a:pt x="160033" y="33088"/>
                </a:cubicBezTo>
                <a:close/>
                <a:moveTo>
                  <a:pt x="164009" y="39719"/>
                </a:moveTo>
                <a:cubicBezTo>
                  <a:pt x="163962" y="39719"/>
                  <a:pt x="163747" y="39719"/>
                  <a:pt x="163712" y="39850"/>
                </a:cubicBezTo>
                <a:cubicBezTo>
                  <a:pt x="163700" y="39910"/>
                  <a:pt x="163747" y="40017"/>
                  <a:pt x="163700" y="40017"/>
                </a:cubicBezTo>
                <a:cubicBezTo>
                  <a:pt x="163664" y="40017"/>
                  <a:pt x="163664" y="40148"/>
                  <a:pt x="163700" y="40148"/>
                </a:cubicBezTo>
                <a:cubicBezTo>
                  <a:pt x="163843" y="40148"/>
                  <a:pt x="163985" y="39850"/>
                  <a:pt x="164009" y="39719"/>
                </a:cubicBezTo>
                <a:close/>
                <a:moveTo>
                  <a:pt x="53424" y="39565"/>
                </a:moveTo>
                <a:cubicBezTo>
                  <a:pt x="53388" y="39588"/>
                  <a:pt x="53353" y="39648"/>
                  <a:pt x="53353" y="39719"/>
                </a:cubicBezTo>
                <a:cubicBezTo>
                  <a:pt x="53353" y="39862"/>
                  <a:pt x="54019" y="40279"/>
                  <a:pt x="54150" y="40279"/>
                </a:cubicBezTo>
                <a:cubicBezTo>
                  <a:pt x="54186" y="40279"/>
                  <a:pt x="54365" y="40172"/>
                  <a:pt x="54365" y="40041"/>
                </a:cubicBezTo>
                <a:lnTo>
                  <a:pt x="54365" y="39910"/>
                </a:lnTo>
                <a:lnTo>
                  <a:pt x="53817" y="39910"/>
                </a:lnTo>
                <a:cubicBezTo>
                  <a:pt x="53638" y="39862"/>
                  <a:pt x="53519" y="39779"/>
                  <a:pt x="53424" y="39565"/>
                </a:cubicBezTo>
                <a:close/>
                <a:moveTo>
                  <a:pt x="55234" y="39588"/>
                </a:moveTo>
                <a:cubicBezTo>
                  <a:pt x="55067" y="39648"/>
                  <a:pt x="54817" y="40196"/>
                  <a:pt x="54817" y="40327"/>
                </a:cubicBezTo>
                <a:cubicBezTo>
                  <a:pt x="54817" y="40458"/>
                  <a:pt x="54924" y="40565"/>
                  <a:pt x="55115" y="40565"/>
                </a:cubicBezTo>
                <a:cubicBezTo>
                  <a:pt x="55305" y="40565"/>
                  <a:pt x="55508" y="40434"/>
                  <a:pt x="55508" y="40279"/>
                </a:cubicBezTo>
                <a:lnTo>
                  <a:pt x="55508" y="40124"/>
                </a:lnTo>
                <a:cubicBezTo>
                  <a:pt x="55091" y="40124"/>
                  <a:pt x="55365" y="39993"/>
                  <a:pt x="55365" y="39803"/>
                </a:cubicBezTo>
                <a:cubicBezTo>
                  <a:pt x="55365" y="39719"/>
                  <a:pt x="55269" y="39672"/>
                  <a:pt x="55234" y="39588"/>
                </a:cubicBezTo>
                <a:close/>
                <a:moveTo>
                  <a:pt x="162842" y="40338"/>
                </a:moveTo>
                <a:cubicBezTo>
                  <a:pt x="162628" y="40338"/>
                  <a:pt x="162450" y="40827"/>
                  <a:pt x="162450" y="40827"/>
                </a:cubicBezTo>
                <a:cubicBezTo>
                  <a:pt x="162450" y="40839"/>
                  <a:pt x="162426" y="40934"/>
                  <a:pt x="162450" y="40934"/>
                </a:cubicBezTo>
                <a:cubicBezTo>
                  <a:pt x="162700" y="40934"/>
                  <a:pt x="162700" y="40493"/>
                  <a:pt x="163116" y="40493"/>
                </a:cubicBezTo>
                <a:lnTo>
                  <a:pt x="163116" y="40338"/>
                </a:lnTo>
                <a:cubicBezTo>
                  <a:pt x="163092" y="40346"/>
                  <a:pt x="163066" y="40349"/>
                  <a:pt x="163037" y="40349"/>
                </a:cubicBezTo>
                <a:cubicBezTo>
                  <a:pt x="162980" y="40349"/>
                  <a:pt x="162914" y="40338"/>
                  <a:pt x="162842" y="40338"/>
                </a:cubicBezTo>
                <a:close/>
                <a:moveTo>
                  <a:pt x="161830" y="41124"/>
                </a:moveTo>
                <a:lnTo>
                  <a:pt x="161854" y="41160"/>
                </a:lnTo>
                <a:cubicBezTo>
                  <a:pt x="161866" y="41148"/>
                  <a:pt x="161878" y="41148"/>
                  <a:pt x="161878" y="41148"/>
                </a:cubicBezTo>
                <a:lnTo>
                  <a:pt x="161830" y="41124"/>
                </a:lnTo>
                <a:close/>
                <a:moveTo>
                  <a:pt x="161854" y="41160"/>
                </a:moveTo>
                <a:cubicBezTo>
                  <a:pt x="161711" y="41172"/>
                  <a:pt x="161533" y="41350"/>
                  <a:pt x="161461" y="41470"/>
                </a:cubicBezTo>
                <a:cubicBezTo>
                  <a:pt x="161426" y="41541"/>
                  <a:pt x="161414" y="41672"/>
                  <a:pt x="161461" y="41672"/>
                </a:cubicBezTo>
                <a:cubicBezTo>
                  <a:pt x="161628" y="41672"/>
                  <a:pt x="161842" y="41339"/>
                  <a:pt x="161914" y="41208"/>
                </a:cubicBezTo>
                <a:lnTo>
                  <a:pt x="161854" y="41160"/>
                </a:lnTo>
                <a:close/>
                <a:moveTo>
                  <a:pt x="47173" y="41803"/>
                </a:moveTo>
                <a:cubicBezTo>
                  <a:pt x="47165" y="42343"/>
                  <a:pt x="46649" y="42433"/>
                  <a:pt x="46151" y="42433"/>
                </a:cubicBezTo>
                <a:cubicBezTo>
                  <a:pt x="45902" y="42433"/>
                  <a:pt x="45657" y="42410"/>
                  <a:pt x="45482" y="42410"/>
                </a:cubicBezTo>
                <a:cubicBezTo>
                  <a:pt x="45399" y="42410"/>
                  <a:pt x="45399" y="42434"/>
                  <a:pt x="45268" y="42434"/>
                </a:cubicBezTo>
                <a:cubicBezTo>
                  <a:pt x="45289" y="42466"/>
                  <a:pt x="45301" y="42507"/>
                  <a:pt x="45320" y="42549"/>
                </a:cubicBezTo>
                <a:lnTo>
                  <a:pt x="45320" y="42549"/>
                </a:lnTo>
                <a:cubicBezTo>
                  <a:pt x="45292" y="42497"/>
                  <a:pt x="45232" y="42451"/>
                  <a:pt x="45232" y="42386"/>
                </a:cubicBezTo>
                <a:cubicBezTo>
                  <a:pt x="45232" y="42279"/>
                  <a:pt x="45411" y="42232"/>
                  <a:pt x="45471" y="42208"/>
                </a:cubicBezTo>
                <a:cubicBezTo>
                  <a:pt x="45863" y="42065"/>
                  <a:pt x="46721" y="41803"/>
                  <a:pt x="47173" y="41803"/>
                </a:cubicBezTo>
                <a:close/>
                <a:moveTo>
                  <a:pt x="159580" y="40386"/>
                </a:moveTo>
                <a:cubicBezTo>
                  <a:pt x="159544" y="40458"/>
                  <a:pt x="159473" y="40517"/>
                  <a:pt x="159473" y="40672"/>
                </a:cubicBezTo>
                <a:cubicBezTo>
                  <a:pt x="159473" y="40755"/>
                  <a:pt x="159568" y="40803"/>
                  <a:pt x="159568" y="40886"/>
                </a:cubicBezTo>
                <a:cubicBezTo>
                  <a:pt x="159568" y="41172"/>
                  <a:pt x="159437" y="42017"/>
                  <a:pt x="159128" y="42017"/>
                </a:cubicBezTo>
                <a:cubicBezTo>
                  <a:pt x="159096" y="42017"/>
                  <a:pt x="159048" y="42028"/>
                  <a:pt x="159006" y="42028"/>
                </a:cubicBezTo>
                <a:cubicBezTo>
                  <a:pt x="158985" y="42028"/>
                  <a:pt x="158965" y="42025"/>
                  <a:pt x="158949" y="42017"/>
                </a:cubicBezTo>
                <a:lnTo>
                  <a:pt x="158949" y="42017"/>
                </a:lnTo>
                <a:lnTo>
                  <a:pt x="158985" y="42053"/>
                </a:lnTo>
                <a:cubicBezTo>
                  <a:pt x="158925" y="42017"/>
                  <a:pt x="158890" y="41993"/>
                  <a:pt x="158854" y="41946"/>
                </a:cubicBezTo>
                <a:lnTo>
                  <a:pt x="158854" y="42124"/>
                </a:lnTo>
                <a:cubicBezTo>
                  <a:pt x="158818" y="42279"/>
                  <a:pt x="158532" y="42434"/>
                  <a:pt x="158532" y="42672"/>
                </a:cubicBezTo>
                <a:cubicBezTo>
                  <a:pt x="158532" y="42755"/>
                  <a:pt x="158628" y="42803"/>
                  <a:pt x="158628" y="42886"/>
                </a:cubicBezTo>
                <a:lnTo>
                  <a:pt x="158628" y="43386"/>
                </a:lnTo>
                <a:lnTo>
                  <a:pt x="158723" y="43386"/>
                </a:lnTo>
                <a:cubicBezTo>
                  <a:pt x="158878" y="43208"/>
                  <a:pt x="159021" y="43291"/>
                  <a:pt x="159163" y="43053"/>
                </a:cubicBezTo>
                <a:cubicBezTo>
                  <a:pt x="159092" y="42970"/>
                  <a:pt x="158818" y="42970"/>
                  <a:pt x="158818" y="42755"/>
                </a:cubicBezTo>
                <a:cubicBezTo>
                  <a:pt x="158818" y="42585"/>
                  <a:pt x="158884" y="42539"/>
                  <a:pt x="158979" y="42539"/>
                </a:cubicBezTo>
                <a:cubicBezTo>
                  <a:pt x="159089" y="42539"/>
                  <a:pt x="159238" y="42601"/>
                  <a:pt x="159366" y="42601"/>
                </a:cubicBezTo>
                <a:cubicBezTo>
                  <a:pt x="159366" y="42541"/>
                  <a:pt x="159437" y="42446"/>
                  <a:pt x="159485" y="42434"/>
                </a:cubicBezTo>
                <a:cubicBezTo>
                  <a:pt x="159794" y="42672"/>
                  <a:pt x="159985" y="42708"/>
                  <a:pt x="160271" y="42922"/>
                </a:cubicBezTo>
                <a:cubicBezTo>
                  <a:pt x="160414" y="42672"/>
                  <a:pt x="160545" y="42172"/>
                  <a:pt x="160926" y="42172"/>
                </a:cubicBezTo>
                <a:cubicBezTo>
                  <a:pt x="161187" y="42172"/>
                  <a:pt x="161318" y="42101"/>
                  <a:pt x="161485" y="41970"/>
                </a:cubicBezTo>
                <a:cubicBezTo>
                  <a:pt x="161414" y="41946"/>
                  <a:pt x="161271" y="41827"/>
                  <a:pt x="161271" y="41696"/>
                </a:cubicBezTo>
                <a:cubicBezTo>
                  <a:pt x="161271" y="41577"/>
                  <a:pt x="161342" y="41541"/>
                  <a:pt x="161378" y="41434"/>
                </a:cubicBezTo>
                <a:cubicBezTo>
                  <a:pt x="161349" y="41408"/>
                  <a:pt x="161319" y="41399"/>
                  <a:pt x="161287" y="41399"/>
                </a:cubicBezTo>
                <a:cubicBezTo>
                  <a:pt x="161200" y="41399"/>
                  <a:pt x="161102" y="41470"/>
                  <a:pt x="160997" y="41470"/>
                </a:cubicBezTo>
                <a:cubicBezTo>
                  <a:pt x="160294" y="41470"/>
                  <a:pt x="160068" y="40779"/>
                  <a:pt x="159580" y="40386"/>
                </a:cubicBezTo>
                <a:close/>
                <a:moveTo>
                  <a:pt x="41041" y="38041"/>
                </a:moveTo>
                <a:cubicBezTo>
                  <a:pt x="41268" y="38041"/>
                  <a:pt x="41411" y="38433"/>
                  <a:pt x="41482" y="38517"/>
                </a:cubicBezTo>
                <a:cubicBezTo>
                  <a:pt x="41518" y="38433"/>
                  <a:pt x="41494" y="38255"/>
                  <a:pt x="41494" y="38219"/>
                </a:cubicBezTo>
                <a:lnTo>
                  <a:pt x="41649" y="38219"/>
                </a:lnTo>
                <a:cubicBezTo>
                  <a:pt x="41756" y="38219"/>
                  <a:pt x="42518" y="38957"/>
                  <a:pt x="42554" y="39041"/>
                </a:cubicBezTo>
                <a:cubicBezTo>
                  <a:pt x="42661" y="39303"/>
                  <a:pt x="42554" y="39517"/>
                  <a:pt x="42696" y="39696"/>
                </a:cubicBezTo>
                <a:cubicBezTo>
                  <a:pt x="43113" y="40196"/>
                  <a:pt x="43673" y="40088"/>
                  <a:pt x="44125" y="40434"/>
                </a:cubicBezTo>
                <a:lnTo>
                  <a:pt x="44601" y="40434"/>
                </a:lnTo>
                <a:cubicBezTo>
                  <a:pt x="44816" y="40600"/>
                  <a:pt x="45090" y="40827"/>
                  <a:pt x="45090" y="41148"/>
                </a:cubicBezTo>
                <a:cubicBezTo>
                  <a:pt x="45090" y="41303"/>
                  <a:pt x="45018" y="41410"/>
                  <a:pt x="44911" y="41410"/>
                </a:cubicBezTo>
                <a:cubicBezTo>
                  <a:pt x="44685" y="41410"/>
                  <a:pt x="44470" y="41124"/>
                  <a:pt x="44399" y="41041"/>
                </a:cubicBezTo>
                <a:cubicBezTo>
                  <a:pt x="44328" y="41386"/>
                  <a:pt x="44161" y="42434"/>
                  <a:pt x="43911" y="42434"/>
                </a:cubicBezTo>
                <a:cubicBezTo>
                  <a:pt x="43732" y="42255"/>
                  <a:pt x="43732" y="42101"/>
                  <a:pt x="43661" y="41755"/>
                </a:cubicBezTo>
                <a:cubicBezTo>
                  <a:pt x="43470" y="41827"/>
                  <a:pt x="43506" y="41910"/>
                  <a:pt x="43292" y="41910"/>
                </a:cubicBezTo>
                <a:cubicBezTo>
                  <a:pt x="43351" y="41601"/>
                  <a:pt x="43494" y="41410"/>
                  <a:pt x="43494" y="41100"/>
                </a:cubicBezTo>
                <a:cubicBezTo>
                  <a:pt x="43494" y="40839"/>
                  <a:pt x="42827" y="40458"/>
                  <a:pt x="42673" y="40458"/>
                </a:cubicBezTo>
                <a:cubicBezTo>
                  <a:pt x="42375" y="40458"/>
                  <a:pt x="42685" y="40981"/>
                  <a:pt x="42018" y="41029"/>
                </a:cubicBezTo>
                <a:cubicBezTo>
                  <a:pt x="41815" y="41041"/>
                  <a:pt x="41827" y="41696"/>
                  <a:pt x="41827" y="41970"/>
                </a:cubicBezTo>
                <a:lnTo>
                  <a:pt x="41827" y="42672"/>
                </a:lnTo>
                <a:cubicBezTo>
                  <a:pt x="41827" y="42946"/>
                  <a:pt x="41732" y="43601"/>
                  <a:pt x="41458" y="43601"/>
                </a:cubicBezTo>
                <a:cubicBezTo>
                  <a:pt x="41268" y="43601"/>
                  <a:pt x="41041" y="43410"/>
                  <a:pt x="41041" y="43160"/>
                </a:cubicBezTo>
                <a:cubicBezTo>
                  <a:pt x="41041" y="42601"/>
                  <a:pt x="41184" y="41493"/>
                  <a:pt x="41494" y="41017"/>
                </a:cubicBezTo>
                <a:cubicBezTo>
                  <a:pt x="41315" y="41017"/>
                  <a:pt x="41244" y="41196"/>
                  <a:pt x="41065" y="41327"/>
                </a:cubicBezTo>
                <a:cubicBezTo>
                  <a:pt x="41101" y="40886"/>
                  <a:pt x="41827" y="40279"/>
                  <a:pt x="42220" y="40279"/>
                </a:cubicBezTo>
                <a:cubicBezTo>
                  <a:pt x="42315" y="40279"/>
                  <a:pt x="42527" y="40327"/>
                  <a:pt x="42739" y="40327"/>
                </a:cubicBezTo>
                <a:cubicBezTo>
                  <a:pt x="42845" y="40327"/>
                  <a:pt x="42950" y="40315"/>
                  <a:pt x="43042" y="40279"/>
                </a:cubicBezTo>
                <a:lnTo>
                  <a:pt x="43042" y="40017"/>
                </a:lnTo>
                <a:cubicBezTo>
                  <a:pt x="42661" y="40017"/>
                  <a:pt x="42446" y="39731"/>
                  <a:pt x="42006" y="39731"/>
                </a:cubicBezTo>
                <a:cubicBezTo>
                  <a:pt x="41803" y="39731"/>
                  <a:pt x="41732" y="39957"/>
                  <a:pt x="41494" y="39957"/>
                </a:cubicBezTo>
                <a:cubicBezTo>
                  <a:pt x="41375" y="39957"/>
                  <a:pt x="41208" y="39850"/>
                  <a:pt x="41184" y="39696"/>
                </a:cubicBezTo>
                <a:lnTo>
                  <a:pt x="40827" y="39696"/>
                </a:lnTo>
                <a:cubicBezTo>
                  <a:pt x="40899" y="39517"/>
                  <a:pt x="41030" y="39457"/>
                  <a:pt x="41030" y="39148"/>
                </a:cubicBezTo>
                <a:lnTo>
                  <a:pt x="41030" y="39148"/>
                </a:lnTo>
                <a:cubicBezTo>
                  <a:pt x="40756" y="39219"/>
                  <a:pt x="40434" y="39624"/>
                  <a:pt x="40232" y="39624"/>
                </a:cubicBezTo>
                <a:cubicBezTo>
                  <a:pt x="40065" y="39624"/>
                  <a:pt x="40053" y="39910"/>
                  <a:pt x="39744" y="39910"/>
                </a:cubicBezTo>
                <a:cubicBezTo>
                  <a:pt x="39601" y="39910"/>
                  <a:pt x="39541" y="39886"/>
                  <a:pt x="39470" y="39696"/>
                </a:cubicBezTo>
                <a:cubicBezTo>
                  <a:pt x="39339" y="39707"/>
                  <a:pt x="39267" y="39779"/>
                  <a:pt x="39148" y="39850"/>
                </a:cubicBezTo>
                <a:lnTo>
                  <a:pt x="38875" y="39850"/>
                </a:lnTo>
                <a:cubicBezTo>
                  <a:pt x="39291" y="39219"/>
                  <a:pt x="40065" y="38588"/>
                  <a:pt x="40232" y="38588"/>
                </a:cubicBezTo>
                <a:cubicBezTo>
                  <a:pt x="40289" y="38592"/>
                  <a:pt x="40341" y="38595"/>
                  <a:pt x="40391" y="38595"/>
                </a:cubicBezTo>
                <a:cubicBezTo>
                  <a:pt x="40508" y="38595"/>
                  <a:pt x="40614" y="38576"/>
                  <a:pt x="40756" y="38493"/>
                </a:cubicBezTo>
                <a:cubicBezTo>
                  <a:pt x="40934" y="38386"/>
                  <a:pt x="40863" y="38041"/>
                  <a:pt x="41041" y="38041"/>
                </a:cubicBezTo>
                <a:close/>
                <a:moveTo>
                  <a:pt x="91226" y="42541"/>
                </a:moveTo>
                <a:cubicBezTo>
                  <a:pt x="91131" y="42553"/>
                  <a:pt x="91060" y="42755"/>
                  <a:pt x="90941" y="42755"/>
                </a:cubicBezTo>
                <a:cubicBezTo>
                  <a:pt x="90905" y="42755"/>
                  <a:pt x="90845" y="42803"/>
                  <a:pt x="90810" y="42803"/>
                </a:cubicBezTo>
                <a:cubicBezTo>
                  <a:pt x="90905" y="42970"/>
                  <a:pt x="90952" y="43601"/>
                  <a:pt x="91131" y="43648"/>
                </a:cubicBezTo>
                <a:cubicBezTo>
                  <a:pt x="91191" y="43517"/>
                  <a:pt x="91238" y="43041"/>
                  <a:pt x="91298" y="42779"/>
                </a:cubicBezTo>
                <a:cubicBezTo>
                  <a:pt x="91238" y="42755"/>
                  <a:pt x="91226" y="42648"/>
                  <a:pt x="91226" y="42541"/>
                </a:cubicBezTo>
                <a:close/>
                <a:moveTo>
                  <a:pt x="44569" y="43040"/>
                </a:moveTo>
                <a:cubicBezTo>
                  <a:pt x="44620" y="43040"/>
                  <a:pt x="44670" y="43041"/>
                  <a:pt x="44720" y="43041"/>
                </a:cubicBezTo>
                <a:cubicBezTo>
                  <a:pt x="44918" y="43041"/>
                  <a:pt x="45025" y="43139"/>
                  <a:pt x="45110" y="43139"/>
                </a:cubicBezTo>
                <a:cubicBezTo>
                  <a:pt x="45127" y="43139"/>
                  <a:pt x="45142" y="43135"/>
                  <a:pt x="45158" y="43126"/>
                </a:cubicBezTo>
                <a:lnTo>
                  <a:pt x="45158" y="43126"/>
                </a:lnTo>
                <a:cubicBezTo>
                  <a:pt x="44741" y="43376"/>
                  <a:pt x="44136" y="43708"/>
                  <a:pt x="43768" y="43708"/>
                </a:cubicBezTo>
                <a:cubicBezTo>
                  <a:pt x="43589" y="43708"/>
                  <a:pt x="43506" y="43386"/>
                  <a:pt x="43506" y="43160"/>
                </a:cubicBezTo>
                <a:lnTo>
                  <a:pt x="43506" y="43160"/>
                </a:lnTo>
                <a:cubicBezTo>
                  <a:pt x="43566" y="43279"/>
                  <a:pt x="43673" y="43422"/>
                  <a:pt x="43780" y="43422"/>
                </a:cubicBezTo>
                <a:cubicBezTo>
                  <a:pt x="43947" y="43422"/>
                  <a:pt x="43958" y="43291"/>
                  <a:pt x="44042" y="43208"/>
                </a:cubicBezTo>
                <a:cubicBezTo>
                  <a:pt x="44166" y="43055"/>
                  <a:pt x="44366" y="43040"/>
                  <a:pt x="44569" y="43040"/>
                </a:cubicBezTo>
                <a:close/>
                <a:moveTo>
                  <a:pt x="88059" y="44779"/>
                </a:moveTo>
                <a:cubicBezTo>
                  <a:pt x="87940" y="44791"/>
                  <a:pt x="87869" y="44863"/>
                  <a:pt x="87762" y="44922"/>
                </a:cubicBezTo>
                <a:cubicBezTo>
                  <a:pt x="87785" y="44946"/>
                  <a:pt x="87928" y="45125"/>
                  <a:pt x="88000" y="45125"/>
                </a:cubicBezTo>
                <a:cubicBezTo>
                  <a:pt x="88059" y="45125"/>
                  <a:pt x="88143" y="45077"/>
                  <a:pt x="88143" y="45018"/>
                </a:cubicBezTo>
                <a:cubicBezTo>
                  <a:pt x="88143" y="44946"/>
                  <a:pt x="88059" y="44815"/>
                  <a:pt x="88059" y="44779"/>
                </a:cubicBezTo>
                <a:close/>
                <a:moveTo>
                  <a:pt x="91060" y="43803"/>
                </a:moveTo>
                <a:cubicBezTo>
                  <a:pt x="90905" y="43803"/>
                  <a:pt x="90881" y="44017"/>
                  <a:pt x="90679" y="44077"/>
                </a:cubicBezTo>
                <a:cubicBezTo>
                  <a:pt x="90702" y="44256"/>
                  <a:pt x="90857" y="44363"/>
                  <a:pt x="90857" y="44541"/>
                </a:cubicBezTo>
                <a:cubicBezTo>
                  <a:pt x="90857" y="44684"/>
                  <a:pt x="90774" y="44791"/>
                  <a:pt x="90750" y="44970"/>
                </a:cubicBezTo>
                <a:cubicBezTo>
                  <a:pt x="90750" y="45149"/>
                  <a:pt x="90750" y="45422"/>
                  <a:pt x="90941" y="45422"/>
                </a:cubicBezTo>
                <a:cubicBezTo>
                  <a:pt x="91083" y="45422"/>
                  <a:pt x="91405" y="45113"/>
                  <a:pt x="91405" y="44815"/>
                </a:cubicBezTo>
                <a:cubicBezTo>
                  <a:pt x="91405" y="44470"/>
                  <a:pt x="91453" y="44268"/>
                  <a:pt x="91298" y="43922"/>
                </a:cubicBezTo>
                <a:cubicBezTo>
                  <a:pt x="91238" y="43922"/>
                  <a:pt x="91191" y="43803"/>
                  <a:pt x="91060" y="43803"/>
                </a:cubicBezTo>
                <a:close/>
                <a:moveTo>
                  <a:pt x="112896" y="39255"/>
                </a:moveTo>
                <a:cubicBezTo>
                  <a:pt x="113884" y="39255"/>
                  <a:pt x="114039" y="39826"/>
                  <a:pt x="114408" y="40469"/>
                </a:cubicBezTo>
                <a:cubicBezTo>
                  <a:pt x="114311" y="40562"/>
                  <a:pt x="114201" y="40592"/>
                  <a:pt x="114087" y="40592"/>
                </a:cubicBezTo>
                <a:cubicBezTo>
                  <a:pt x="113878" y="40592"/>
                  <a:pt x="113651" y="40493"/>
                  <a:pt x="113443" y="40493"/>
                </a:cubicBezTo>
                <a:cubicBezTo>
                  <a:pt x="112965" y="40493"/>
                  <a:pt x="112258" y="41042"/>
                  <a:pt x="112174" y="41042"/>
                </a:cubicBezTo>
                <a:cubicBezTo>
                  <a:pt x="112172" y="41042"/>
                  <a:pt x="112171" y="41041"/>
                  <a:pt x="112169" y="41041"/>
                </a:cubicBezTo>
                <a:lnTo>
                  <a:pt x="112169" y="41041"/>
                </a:lnTo>
                <a:cubicBezTo>
                  <a:pt x="112193" y="41470"/>
                  <a:pt x="112479" y="41446"/>
                  <a:pt x="112586" y="41684"/>
                </a:cubicBezTo>
                <a:cubicBezTo>
                  <a:pt x="112931" y="42410"/>
                  <a:pt x="113420" y="42684"/>
                  <a:pt x="113420" y="43541"/>
                </a:cubicBezTo>
                <a:cubicBezTo>
                  <a:pt x="113574" y="43446"/>
                  <a:pt x="113920" y="43232"/>
                  <a:pt x="114039" y="43208"/>
                </a:cubicBezTo>
                <a:cubicBezTo>
                  <a:pt x="114063" y="43541"/>
                  <a:pt x="114348" y="43708"/>
                  <a:pt x="114348" y="44041"/>
                </a:cubicBezTo>
                <a:lnTo>
                  <a:pt x="113801" y="44041"/>
                </a:lnTo>
                <a:cubicBezTo>
                  <a:pt x="113646" y="44041"/>
                  <a:pt x="113479" y="44256"/>
                  <a:pt x="113443" y="44577"/>
                </a:cubicBezTo>
                <a:cubicBezTo>
                  <a:pt x="113824" y="44637"/>
                  <a:pt x="114074" y="45077"/>
                  <a:pt x="114074" y="45494"/>
                </a:cubicBezTo>
                <a:cubicBezTo>
                  <a:pt x="114074" y="45732"/>
                  <a:pt x="113955" y="45792"/>
                  <a:pt x="113955" y="45994"/>
                </a:cubicBezTo>
                <a:cubicBezTo>
                  <a:pt x="113955" y="46184"/>
                  <a:pt x="114110" y="46423"/>
                  <a:pt x="114134" y="46446"/>
                </a:cubicBezTo>
                <a:lnTo>
                  <a:pt x="114134" y="46839"/>
                </a:lnTo>
                <a:cubicBezTo>
                  <a:pt x="113920" y="46899"/>
                  <a:pt x="113586" y="46970"/>
                  <a:pt x="113277" y="46970"/>
                </a:cubicBezTo>
                <a:cubicBezTo>
                  <a:pt x="113209" y="46970"/>
                  <a:pt x="113120" y="46973"/>
                  <a:pt x="113024" y="46973"/>
                </a:cubicBezTo>
                <a:cubicBezTo>
                  <a:pt x="112801" y="46973"/>
                  <a:pt x="112543" y="46956"/>
                  <a:pt x="112443" y="46839"/>
                </a:cubicBezTo>
                <a:cubicBezTo>
                  <a:pt x="112336" y="46708"/>
                  <a:pt x="112300" y="46494"/>
                  <a:pt x="112134" y="46446"/>
                </a:cubicBezTo>
                <a:cubicBezTo>
                  <a:pt x="112098" y="46437"/>
                  <a:pt x="112061" y="46435"/>
                  <a:pt x="112023" y="46435"/>
                </a:cubicBezTo>
                <a:cubicBezTo>
                  <a:pt x="111967" y="46435"/>
                  <a:pt x="111910" y="46441"/>
                  <a:pt x="111856" y="46441"/>
                </a:cubicBezTo>
                <a:cubicBezTo>
                  <a:pt x="111753" y="46441"/>
                  <a:pt x="111661" y="46419"/>
                  <a:pt x="111610" y="46292"/>
                </a:cubicBezTo>
                <a:cubicBezTo>
                  <a:pt x="111503" y="46030"/>
                  <a:pt x="111669" y="45863"/>
                  <a:pt x="111526" y="45601"/>
                </a:cubicBezTo>
                <a:cubicBezTo>
                  <a:pt x="111431" y="45422"/>
                  <a:pt x="111217" y="45411"/>
                  <a:pt x="111276" y="45280"/>
                </a:cubicBezTo>
                <a:cubicBezTo>
                  <a:pt x="111302" y="45233"/>
                  <a:pt x="111342" y="45218"/>
                  <a:pt x="111384" y="45218"/>
                </a:cubicBezTo>
                <a:cubicBezTo>
                  <a:pt x="111459" y="45218"/>
                  <a:pt x="111538" y="45268"/>
                  <a:pt x="111538" y="45268"/>
                </a:cubicBezTo>
                <a:cubicBezTo>
                  <a:pt x="111753" y="44922"/>
                  <a:pt x="111753" y="44410"/>
                  <a:pt x="112050" y="44232"/>
                </a:cubicBezTo>
                <a:cubicBezTo>
                  <a:pt x="111562" y="43910"/>
                  <a:pt x="110812" y="42601"/>
                  <a:pt x="110812" y="41862"/>
                </a:cubicBezTo>
                <a:cubicBezTo>
                  <a:pt x="110812" y="41648"/>
                  <a:pt x="110419" y="41315"/>
                  <a:pt x="110419" y="40993"/>
                </a:cubicBezTo>
                <a:cubicBezTo>
                  <a:pt x="110419" y="40886"/>
                  <a:pt x="110764" y="40088"/>
                  <a:pt x="110848" y="39957"/>
                </a:cubicBezTo>
                <a:cubicBezTo>
                  <a:pt x="110855" y="39962"/>
                  <a:pt x="110865" y="39964"/>
                  <a:pt x="110876" y="39964"/>
                </a:cubicBezTo>
                <a:cubicBezTo>
                  <a:pt x="111022" y="39964"/>
                  <a:pt x="111494" y="39646"/>
                  <a:pt x="111538" y="39624"/>
                </a:cubicBezTo>
                <a:cubicBezTo>
                  <a:pt x="112015" y="39410"/>
                  <a:pt x="112300" y="39255"/>
                  <a:pt x="112896" y="39255"/>
                </a:cubicBezTo>
                <a:close/>
                <a:moveTo>
                  <a:pt x="94095" y="46051"/>
                </a:moveTo>
                <a:cubicBezTo>
                  <a:pt x="93896" y="46051"/>
                  <a:pt x="93788" y="46208"/>
                  <a:pt x="93584" y="46208"/>
                </a:cubicBezTo>
                <a:cubicBezTo>
                  <a:pt x="93393" y="46208"/>
                  <a:pt x="93259" y="46057"/>
                  <a:pt x="93054" y="46057"/>
                </a:cubicBezTo>
                <a:cubicBezTo>
                  <a:pt x="92977" y="46057"/>
                  <a:pt x="92890" y="46078"/>
                  <a:pt x="92786" y="46137"/>
                </a:cubicBezTo>
                <a:lnTo>
                  <a:pt x="92786" y="46292"/>
                </a:lnTo>
                <a:cubicBezTo>
                  <a:pt x="92834" y="46399"/>
                  <a:pt x="92988" y="46375"/>
                  <a:pt x="93036" y="46399"/>
                </a:cubicBezTo>
                <a:cubicBezTo>
                  <a:pt x="93322" y="46506"/>
                  <a:pt x="93560" y="46875"/>
                  <a:pt x="93870" y="46970"/>
                </a:cubicBezTo>
                <a:cubicBezTo>
                  <a:pt x="93870" y="47030"/>
                  <a:pt x="93965" y="47054"/>
                  <a:pt x="94012" y="47054"/>
                </a:cubicBezTo>
                <a:cubicBezTo>
                  <a:pt x="94072" y="47054"/>
                  <a:pt x="94120" y="46970"/>
                  <a:pt x="94120" y="46899"/>
                </a:cubicBezTo>
                <a:cubicBezTo>
                  <a:pt x="94120" y="46732"/>
                  <a:pt x="94036" y="46708"/>
                  <a:pt x="94036" y="46554"/>
                </a:cubicBezTo>
                <a:cubicBezTo>
                  <a:pt x="94036" y="46470"/>
                  <a:pt x="94120" y="46315"/>
                  <a:pt x="94120" y="46315"/>
                </a:cubicBezTo>
                <a:lnTo>
                  <a:pt x="94203" y="46065"/>
                </a:lnTo>
                <a:cubicBezTo>
                  <a:pt x="94164" y="46055"/>
                  <a:pt x="94128" y="46051"/>
                  <a:pt x="94095" y="46051"/>
                </a:cubicBezTo>
                <a:close/>
                <a:moveTo>
                  <a:pt x="98974" y="48000"/>
                </a:moveTo>
                <a:cubicBezTo>
                  <a:pt x="98872" y="48000"/>
                  <a:pt x="98769" y="48009"/>
                  <a:pt x="98668" y="48030"/>
                </a:cubicBezTo>
                <a:cubicBezTo>
                  <a:pt x="98870" y="48161"/>
                  <a:pt x="99215" y="48208"/>
                  <a:pt x="99358" y="48208"/>
                </a:cubicBezTo>
                <a:cubicBezTo>
                  <a:pt x="99434" y="48208"/>
                  <a:pt x="99498" y="48245"/>
                  <a:pt x="99583" y="48245"/>
                </a:cubicBezTo>
                <a:cubicBezTo>
                  <a:pt x="99644" y="48245"/>
                  <a:pt x="99716" y="48226"/>
                  <a:pt x="99811" y="48161"/>
                </a:cubicBezTo>
                <a:cubicBezTo>
                  <a:pt x="99579" y="48080"/>
                  <a:pt x="99279" y="48000"/>
                  <a:pt x="98974" y="48000"/>
                </a:cubicBezTo>
                <a:close/>
                <a:moveTo>
                  <a:pt x="104097" y="47768"/>
                </a:moveTo>
                <a:lnTo>
                  <a:pt x="104097" y="47768"/>
                </a:lnTo>
                <a:cubicBezTo>
                  <a:pt x="103787" y="47839"/>
                  <a:pt x="103311" y="48054"/>
                  <a:pt x="103037" y="48208"/>
                </a:cubicBezTo>
                <a:cubicBezTo>
                  <a:pt x="103037" y="48244"/>
                  <a:pt x="103097" y="48316"/>
                  <a:pt x="103133" y="48316"/>
                </a:cubicBezTo>
                <a:cubicBezTo>
                  <a:pt x="103133" y="48375"/>
                  <a:pt x="103204" y="48423"/>
                  <a:pt x="103264" y="48423"/>
                </a:cubicBezTo>
                <a:cubicBezTo>
                  <a:pt x="103418" y="48423"/>
                  <a:pt x="103764" y="48316"/>
                  <a:pt x="103823" y="48185"/>
                </a:cubicBezTo>
                <a:cubicBezTo>
                  <a:pt x="103835" y="48113"/>
                  <a:pt x="103799" y="47994"/>
                  <a:pt x="103859" y="47970"/>
                </a:cubicBezTo>
                <a:cubicBezTo>
                  <a:pt x="103966" y="47899"/>
                  <a:pt x="104061" y="47994"/>
                  <a:pt x="104097" y="47768"/>
                </a:cubicBezTo>
                <a:close/>
                <a:moveTo>
                  <a:pt x="159128" y="43494"/>
                </a:moveTo>
                <a:cubicBezTo>
                  <a:pt x="159080" y="43494"/>
                  <a:pt x="159104" y="43684"/>
                  <a:pt x="159163" y="43684"/>
                </a:cubicBezTo>
                <a:cubicBezTo>
                  <a:pt x="159187" y="43684"/>
                  <a:pt x="159199" y="43708"/>
                  <a:pt x="159223" y="43708"/>
                </a:cubicBezTo>
                <a:cubicBezTo>
                  <a:pt x="159159" y="43768"/>
                  <a:pt x="159115" y="43790"/>
                  <a:pt x="159084" y="43790"/>
                </a:cubicBezTo>
                <a:cubicBezTo>
                  <a:pt x="159005" y="43790"/>
                  <a:pt x="159010" y="43648"/>
                  <a:pt x="158985" y="43648"/>
                </a:cubicBezTo>
                <a:cubicBezTo>
                  <a:pt x="158747" y="43648"/>
                  <a:pt x="158568" y="44184"/>
                  <a:pt x="158568" y="44446"/>
                </a:cubicBezTo>
                <a:cubicBezTo>
                  <a:pt x="158568" y="44553"/>
                  <a:pt x="158640" y="44553"/>
                  <a:pt x="158640" y="44708"/>
                </a:cubicBezTo>
                <a:cubicBezTo>
                  <a:pt x="158640" y="45399"/>
                  <a:pt x="158020" y="46315"/>
                  <a:pt x="157639" y="46470"/>
                </a:cubicBezTo>
                <a:cubicBezTo>
                  <a:pt x="157425" y="46554"/>
                  <a:pt x="157389" y="46768"/>
                  <a:pt x="157116" y="46768"/>
                </a:cubicBezTo>
                <a:cubicBezTo>
                  <a:pt x="157080" y="46768"/>
                  <a:pt x="157020" y="46708"/>
                  <a:pt x="157020" y="46661"/>
                </a:cubicBezTo>
                <a:cubicBezTo>
                  <a:pt x="157020" y="46577"/>
                  <a:pt x="157068" y="46494"/>
                  <a:pt x="157115" y="46423"/>
                </a:cubicBezTo>
                <a:lnTo>
                  <a:pt x="157115" y="46423"/>
                </a:lnTo>
                <a:cubicBezTo>
                  <a:pt x="157068" y="46446"/>
                  <a:pt x="156830" y="46970"/>
                  <a:pt x="156806" y="46970"/>
                </a:cubicBezTo>
                <a:cubicBezTo>
                  <a:pt x="156639" y="46970"/>
                  <a:pt x="156532" y="47637"/>
                  <a:pt x="156234" y="47637"/>
                </a:cubicBezTo>
                <a:lnTo>
                  <a:pt x="155103" y="47637"/>
                </a:lnTo>
                <a:cubicBezTo>
                  <a:pt x="154627" y="47637"/>
                  <a:pt x="154472" y="48185"/>
                  <a:pt x="154091" y="48482"/>
                </a:cubicBezTo>
                <a:cubicBezTo>
                  <a:pt x="154020" y="48530"/>
                  <a:pt x="153853" y="48578"/>
                  <a:pt x="153853" y="48637"/>
                </a:cubicBezTo>
                <a:cubicBezTo>
                  <a:pt x="153853" y="48720"/>
                  <a:pt x="153984" y="48720"/>
                  <a:pt x="154103" y="48720"/>
                </a:cubicBezTo>
                <a:cubicBezTo>
                  <a:pt x="154484" y="48720"/>
                  <a:pt x="154818" y="48554"/>
                  <a:pt x="155056" y="48423"/>
                </a:cubicBezTo>
                <a:cubicBezTo>
                  <a:pt x="155103" y="48391"/>
                  <a:pt x="155147" y="48383"/>
                  <a:pt x="155189" y="48383"/>
                </a:cubicBezTo>
                <a:cubicBezTo>
                  <a:pt x="155232" y="48383"/>
                  <a:pt x="155273" y="48391"/>
                  <a:pt x="155315" y="48391"/>
                </a:cubicBezTo>
                <a:cubicBezTo>
                  <a:pt x="155357" y="48391"/>
                  <a:pt x="155401" y="48383"/>
                  <a:pt x="155449" y="48351"/>
                </a:cubicBezTo>
                <a:cubicBezTo>
                  <a:pt x="155496" y="48328"/>
                  <a:pt x="155520" y="48185"/>
                  <a:pt x="155627" y="48185"/>
                </a:cubicBezTo>
                <a:cubicBezTo>
                  <a:pt x="155853" y="48185"/>
                  <a:pt x="155961" y="48316"/>
                  <a:pt x="156175" y="48375"/>
                </a:cubicBezTo>
                <a:cubicBezTo>
                  <a:pt x="156175" y="48470"/>
                  <a:pt x="156115" y="48613"/>
                  <a:pt x="156115" y="48744"/>
                </a:cubicBezTo>
                <a:cubicBezTo>
                  <a:pt x="156115" y="48816"/>
                  <a:pt x="156068" y="48923"/>
                  <a:pt x="156115" y="48923"/>
                </a:cubicBezTo>
                <a:cubicBezTo>
                  <a:pt x="156246" y="48923"/>
                  <a:pt x="156234" y="49090"/>
                  <a:pt x="156377" y="49137"/>
                </a:cubicBezTo>
                <a:cubicBezTo>
                  <a:pt x="156461" y="48923"/>
                  <a:pt x="156687" y="48578"/>
                  <a:pt x="156806" y="48578"/>
                </a:cubicBezTo>
                <a:cubicBezTo>
                  <a:pt x="156865" y="48578"/>
                  <a:pt x="156937" y="48578"/>
                  <a:pt x="156985" y="48554"/>
                </a:cubicBezTo>
                <a:cubicBezTo>
                  <a:pt x="156973" y="48554"/>
                  <a:pt x="156806" y="48292"/>
                  <a:pt x="156806" y="48208"/>
                </a:cubicBezTo>
                <a:cubicBezTo>
                  <a:pt x="156806" y="48137"/>
                  <a:pt x="156865" y="48030"/>
                  <a:pt x="156913" y="48030"/>
                </a:cubicBezTo>
                <a:cubicBezTo>
                  <a:pt x="157080" y="48030"/>
                  <a:pt x="157068" y="48399"/>
                  <a:pt x="157437" y="48399"/>
                </a:cubicBezTo>
                <a:cubicBezTo>
                  <a:pt x="157592" y="48399"/>
                  <a:pt x="157699" y="48268"/>
                  <a:pt x="157806" y="48137"/>
                </a:cubicBezTo>
                <a:lnTo>
                  <a:pt x="157985" y="48137"/>
                </a:lnTo>
                <a:cubicBezTo>
                  <a:pt x="157985" y="48185"/>
                  <a:pt x="158044" y="48244"/>
                  <a:pt x="158080" y="48244"/>
                </a:cubicBezTo>
                <a:cubicBezTo>
                  <a:pt x="158151" y="47947"/>
                  <a:pt x="158318" y="47923"/>
                  <a:pt x="158568" y="47732"/>
                </a:cubicBezTo>
                <a:lnTo>
                  <a:pt x="158568" y="47732"/>
                </a:lnTo>
                <a:cubicBezTo>
                  <a:pt x="158544" y="47875"/>
                  <a:pt x="158473" y="47899"/>
                  <a:pt x="158544" y="48078"/>
                </a:cubicBezTo>
                <a:cubicBezTo>
                  <a:pt x="158770" y="47994"/>
                  <a:pt x="158770" y="47768"/>
                  <a:pt x="158985" y="47637"/>
                </a:cubicBezTo>
                <a:cubicBezTo>
                  <a:pt x="158949" y="47506"/>
                  <a:pt x="158890" y="47423"/>
                  <a:pt x="158890" y="47220"/>
                </a:cubicBezTo>
                <a:cubicBezTo>
                  <a:pt x="158890" y="46946"/>
                  <a:pt x="159092" y="46815"/>
                  <a:pt x="159092" y="46613"/>
                </a:cubicBezTo>
                <a:cubicBezTo>
                  <a:pt x="159092" y="46375"/>
                  <a:pt x="159032" y="45708"/>
                  <a:pt x="159223" y="45637"/>
                </a:cubicBezTo>
                <a:cubicBezTo>
                  <a:pt x="159231" y="45635"/>
                  <a:pt x="159239" y="45634"/>
                  <a:pt x="159248" y="45634"/>
                </a:cubicBezTo>
                <a:cubicBezTo>
                  <a:pt x="159265" y="45634"/>
                  <a:pt x="159282" y="45637"/>
                  <a:pt x="159300" y="45637"/>
                </a:cubicBezTo>
                <a:cubicBezTo>
                  <a:pt x="159327" y="45637"/>
                  <a:pt x="159354" y="45631"/>
                  <a:pt x="159378" y="45601"/>
                </a:cubicBezTo>
                <a:lnTo>
                  <a:pt x="159378" y="45470"/>
                </a:lnTo>
                <a:cubicBezTo>
                  <a:pt x="159378" y="45184"/>
                  <a:pt x="159640" y="45137"/>
                  <a:pt x="159640" y="44791"/>
                </a:cubicBezTo>
                <a:cubicBezTo>
                  <a:pt x="159640" y="44494"/>
                  <a:pt x="159378" y="44339"/>
                  <a:pt x="159378" y="44029"/>
                </a:cubicBezTo>
                <a:cubicBezTo>
                  <a:pt x="159378" y="43887"/>
                  <a:pt x="159402" y="43756"/>
                  <a:pt x="159342" y="43601"/>
                </a:cubicBezTo>
                <a:cubicBezTo>
                  <a:pt x="159330" y="43541"/>
                  <a:pt x="159259" y="43494"/>
                  <a:pt x="159128" y="43494"/>
                </a:cubicBezTo>
                <a:close/>
                <a:moveTo>
                  <a:pt x="155556" y="48470"/>
                </a:moveTo>
                <a:cubicBezTo>
                  <a:pt x="155340" y="48470"/>
                  <a:pt x="155266" y="48744"/>
                  <a:pt x="155052" y="48744"/>
                </a:cubicBezTo>
                <a:cubicBezTo>
                  <a:pt x="155018" y="48744"/>
                  <a:pt x="154980" y="48737"/>
                  <a:pt x="154937" y="48720"/>
                </a:cubicBezTo>
                <a:cubicBezTo>
                  <a:pt x="154937" y="48744"/>
                  <a:pt x="154603" y="49054"/>
                  <a:pt x="154603" y="49054"/>
                </a:cubicBezTo>
                <a:cubicBezTo>
                  <a:pt x="154603" y="49161"/>
                  <a:pt x="154639" y="49197"/>
                  <a:pt x="154746" y="49292"/>
                </a:cubicBezTo>
                <a:cubicBezTo>
                  <a:pt x="154722" y="49399"/>
                  <a:pt x="154758" y="49613"/>
                  <a:pt x="154853" y="49613"/>
                </a:cubicBezTo>
                <a:cubicBezTo>
                  <a:pt x="155091" y="49613"/>
                  <a:pt x="155127" y="49268"/>
                  <a:pt x="155282" y="49078"/>
                </a:cubicBezTo>
                <a:cubicBezTo>
                  <a:pt x="155341" y="49090"/>
                  <a:pt x="155413" y="49220"/>
                  <a:pt x="155556" y="49220"/>
                </a:cubicBezTo>
                <a:cubicBezTo>
                  <a:pt x="155734" y="49220"/>
                  <a:pt x="155961" y="48470"/>
                  <a:pt x="155556" y="48470"/>
                </a:cubicBezTo>
                <a:close/>
                <a:moveTo>
                  <a:pt x="153746" y="48899"/>
                </a:moveTo>
                <a:cubicBezTo>
                  <a:pt x="153687" y="48899"/>
                  <a:pt x="153186" y="49316"/>
                  <a:pt x="153186" y="49447"/>
                </a:cubicBezTo>
                <a:cubicBezTo>
                  <a:pt x="153186" y="49554"/>
                  <a:pt x="153270" y="49685"/>
                  <a:pt x="153365" y="49685"/>
                </a:cubicBezTo>
                <a:cubicBezTo>
                  <a:pt x="153425" y="49685"/>
                  <a:pt x="153496" y="49590"/>
                  <a:pt x="153579" y="49590"/>
                </a:cubicBezTo>
                <a:cubicBezTo>
                  <a:pt x="153544" y="49530"/>
                  <a:pt x="153579" y="49459"/>
                  <a:pt x="153579" y="49399"/>
                </a:cubicBezTo>
                <a:cubicBezTo>
                  <a:pt x="153603" y="49506"/>
                  <a:pt x="153615" y="49637"/>
                  <a:pt x="153722" y="49685"/>
                </a:cubicBezTo>
                <a:lnTo>
                  <a:pt x="153651" y="49982"/>
                </a:lnTo>
                <a:cubicBezTo>
                  <a:pt x="153651" y="49982"/>
                  <a:pt x="153472" y="50292"/>
                  <a:pt x="153472" y="50340"/>
                </a:cubicBezTo>
                <a:cubicBezTo>
                  <a:pt x="153472" y="50423"/>
                  <a:pt x="153579" y="50685"/>
                  <a:pt x="153722" y="50685"/>
                </a:cubicBezTo>
                <a:lnTo>
                  <a:pt x="153722" y="50554"/>
                </a:lnTo>
                <a:cubicBezTo>
                  <a:pt x="153722" y="50614"/>
                  <a:pt x="153722" y="50744"/>
                  <a:pt x="153782" y="50744"/>
                </a:cubicBezTo>
                <a:cubicBezTo>
                  <a:pt x="154032" y="50744"/>
                  <a:pt x="154187" y="50066"/>
                  <a:pt x="154234" y="49685"/>
                </a:cubicBezTo>
                <a:cubicBezTo>
                  <a:pt x="154254" y="49697"/>
                  <a:pt x="154273" y="49701"/>
                  <a:pt x="154291" y="49701"/>
                </a:cubicBezTo>
                <a:cubicBezTo>
                  <a:pt x="154327" y="49701"/>
                  <a:pt x="154361" y="49685"/>
                  <a:pt x="154401" y="49685"/>
                </a:cubicBezTo>
                <a:cubicBezTo>
                  <a:pt x="154365" y="49613"/>
                  <a:pt x="154401" y="49530"/>
                  <a:pt x="154401" y="49459"/>
                </a:cubicBezTo>
                <a:lnTo>
                  <a:pt x="154234" y="49292"/>
                </a:lnTo>
                <a:cubicBezTo>
                  <a:pt x="154187" y="49292"/>
                  <a:pt x="154222" y="49137"/>
                  <a:pt x="154222" y="49078"/>
                </a:cubicBezTo>
                <a:cubicBezTo>
                  <a:pt x="153996" y="49078"/>
                  <a:pt x="153889" y="48899"/>
                  <a:pt x="153746" y="48899"/>
                </a:cubicBezTo>
                <a:close/>
                <a:moveTo>
                  <a:pt x="46006" y="54019"/>
                </a:moveTo>
                <a:cubicBezTo>
                  <a:pt x="45923" y="54019"/>
                  <a:pt x="45792" y="54114"/>
                  <a:pt x="45756" y="54197"/>
                </a:cubicBezTo>
                <a:cubicBezTo>
                  <a:pt x="45828" y="54197"/>
                  <a:pt x="45936" y="54208"/>
                  <a:pt x="46054" y="54208"/>
                </a:cubicBezTo>
                <a:cubicBezTo>
                  <a:pt x="46112" y="54208"/>
                  <a:pt x="46173" y="54205"/>
                  <a:pt x="46233" y="54197"/>
                </a:cubicBezTo>
                <a:cubicBezTo>
                  <a:pt x="46197" y="54126"/>
                  <a:pt x="46137" y="54019"/>
                  <a:pt x="46006" y="54019"/>
                </a:cubicBezTo>
                <a:close/>
                <a:moveTo>
                  <a:pt x="46578" y="54281"/>
                </a:moveTo>
                <a:cubicBezTo>
                  <a:pt x="46556" y="54346"/>
                  <a:pt x="46604" y="54462"/>
                  <a:pt x="46649" y="54462"/>
                </a:cubicBezTo>
                <a:cubicBezTo>
                  <a:pt x="46653" y="54462"/>
                  <a:pt x="46657" y="54461"/>
                  <a:pt x="46661" y="54459"/>
                </a:cubicBezTo>
                <a:lnTo>
                  <a:pt x="46578" y="54281"/>
                </a:lnTo>
                <a:close/>
                <a:moveTo>
                  <a:pt x="46043" y="55252"/>
                </a:moveTo>
                <a:cubicBezTo>
                  <a:pt x="46035" y="55252"/>
                  <a:pt x="46030" y="55253"/>
                  <a:pt x="46030" y="55257"/>
                </a:cubicBezTo>
                <a:cubicBezTo>
                  <a:pt x="46030" y="55436"/>
                  <a:pt x="46030" y="55674"/>
                  <a:pt x="46209" y="55674"/>
                </a:cubicBezTo>
                <a:cubicBezTo>
                  <a:pt x="46244" y="55674"/>
                  <a:pt x="46304" y="55614"/>
                  <a:pt x="46304" y="55567"/>
                </a:cubicBezTo>
                <a:cubicBezTo>
                  <a:pt x="46304" y="55412"/>
                  <a:pt x="46244" y="55281"/>
                  <a:pt x="46102" y="55257"/>
                </a:cubicBezTo>
                <a:cubicBezTo>
                  <a:pt x="46086" y="55257"/>
                  <a:pt x="46059" y="55252"/>
                  <a:pt x="46043" y="55252"/>
                </a:cubicBezTo>
                <a:close/>
                <a:moveTo>
                  <a:pt x="148876" y="54721"/>
                </a:moveTo>
                <a:cubicBezTo>
                  <a:pt x="148614" y="54721"/>
                  <a:pt x="148233" y="55567"/>
                  <a:pt x="148233" y="56019"/>
                </a:cubicBezTo>
                <a:cubicBezTo>
                  <a:pt x="148233" y="56340"/>
                  <a:pt x="148186" y="56626"/>
                  <a:pt x="148507" y="56626"/>
                </a:cubicBezTo>
                <a:cubicBezTo>
                  <a:pt x="148924" y="56626"/>
                  <a:pt x="149329" y="54721"/>
                  <a:pt x="148876" y="54721"/>
                </a:cubicBezTo>
                <a:close/>
                <a:moveTo>
                  <a:pt x="43661" y="57281"/>
                </a:moveTo>
                <a:lnTo>
                  <a:pt x="43661" y="57436"/>
                </a:lnTo>
                <a:cubicBezTo>
                  <a:pt x="43601" y="57436"/>
                  <a:pt x="43494" y="57472"/>
                  <a:pt x="43494" y="57626"/>
                </a:cubicBezTo>
                <a:cubicBezTo>
                  <a:pt x="43494" y="57642"/>
                  <a:pt x="43521" y="57647"/>
                  <a:pt x="43556" y="57647"/>
                </a:cubicBezTo>
                <a:cubicBezTo>
                  <a:pt x="43628" y="57647"/>
                  <a:pt x="43736" y="57626"/>
                  <a:pt x="43744" y="57626"/>
                </a:cubicBezTo>
                <a:cubicBezTo>
                  <a:pt x="43780" y="57519"/>
                  <a:pt x="43768" y="57412"/>
                  <a:pt x="43744" y="57305"/>
                </a:cubicBezTo>
                <a:lnTo>
                  <a:pt x="43697" y="57281"/>
                </a:lnTo>
                <a:close/>
                <a:moveTo>
                  <a:pt x="48769" y="57543"/>
                </a:moveTo>
                <a:cubicBezTo>
                  <a:pt x="48709" y="57652"/>
                  <a:pt x="48591" y="57745"/>
                  <a:pt x="48471" y="57745"/>
                </a:cubicBezTo>
                <a:cubicBezTo>
                  <a:pt x="48447" y="57745"/>
                  <a:pt x="48423" y="57741"/>
                  <a:pt x="48400" y="57733"/>
                </a:cubicBezTo>
                <a:lnTo>
                  <a:pt x="48400" y="57864"/>
                </a:lnTo>
                <a:cubicBezTo>
                  <a:pt x="48400" y="57872"/>
                  <a:pt x="48406" y="57875"/>
                  <a:pt x="48415" y="57875"/>
                </a:cubicBezTo>
                <a:cubicBezTo>
                  <a:pt x="48434" y="57875"/>
                  <a:pt x="48463" y="57864"/>
                  <a:pt x="48471" y="57864"/>
                </a:cubicBezTo>
                <a:cubicBezTo>
                  <a:pt x="48566" y="57864"/>
                  <a:pt x="48697" y="57829"/>
                  <a:pt x="48769" y="57733"/>
                </a:cubicBezTo>
                <a:lnTo>
                  <a:pt x="48769" y="57543"/>
                </a:lnTo>
                <a:close/>
                <a:moveTo>
                  <a:pt x="44232" y="56459"/>
                </a:moveTo>
                <a:cubicBezTo>
                  <a:pt x="43423" y="56459"/>
                  <a:pt x="43042" y="56829"/>
                  <a:pt x="42744" y="57412"/>
                </a:cubicBezTo>
                <a:lnTo>
                  <a:pt x="42911" y="57412"/>
                </a:lnTo>
                <a:cubicBezTo>
                  <a:pt x="43089" y="57198"/>
                  <a:pt x="43589" y="56888"/>
                  <a:pt x="43923" y="56888"/>
                </a:cubicBezTo>
                <a:cubicBezTo>
                  <a:pt x="43955" y="56888"/>
                  <a:pt x="43986" y="56885"/>
                  <a:pt x="44017" y="56885"/>
                </a:cubicBezTo>
                <a:cubicBezTo>
                  <a:pt x="44079" y="56885"/>
                  <a:pt x="44137" y="56896"/>
                  <a:pt x="44185" y="56960"/>
                </a:cubicBezTo>
                <a:cubicBezTo>
                  <a:pt x="44125" y="57019"/>
                  <a:pt x="44113" y="57102"/>
                  <a:pt x="44220" y="57198"/>
                </a:cubicBezTo>
                <a:lnTo>
                  <a:pt x="44744" y="57198"/>
                </a:lnTo>
                <a:cubicBezTo>
                  <a:pt x="44994" y="57198"/>
                  <a:pt x="45125" y="57519"/>
                  <a:pt x="45375" y="57519"/>
                </a:cubicBezTo>
                <a:cubicBezTo>
                  <a:pt x="45459" y="57519"/>
                  <a:pt x="45527" y="57499"/>
                  <a:pt x="45597" y="57499"/>
                </a:cubicBezTo>
                <a:cubicBezTo>
                  <a:pt x="45647" y="57499"/>
                  <a:pt x="45697" y="57509"/>
                  <a:pt x="45756" y="57543"/>
                </a:cubicBezTo>
                <a:cubicBezTo>
                  <a:pt x="45828" y="57579"/>
                  <a:pt x="45816" y="57733"/>
                  <a:pt x="45959" y="57733"/>
                </a:cubicBezTo>
                <a:cubicBezTo>
                  <a:pt x="46006" y="58067"/>
                  <a:pt x="46304" y="58043"/>
                  <a:pt x="46578" y="58198"/>
                </a:cubicBezTo>
                <a:cubicBezTo>
                  <a:pt x="46554" y="58305"/>
                  <a:pt x="46483" y="58388"/>
                  <a:pt x="46387" y="58388"/>
                </a:cubicBezTo>
                <a:lnTo>
                  <a:pt x="46387" y="58519"/>
                </a:lnTo>
                <a:cubicBezTo>
                  <a:pt x="46733" y="58519"/>
                  <a:pt x="47030" y="58674"/>
                  <a:pt x="47447" y="58674"/>
                </a:cubicBezTo>
                <a:cubicBezTo>
                  <a:pt x="47661" y="58674"/>
                  <a:pt x="48007" y="58674"/>
                  <a:pt x="48126" y="58412"/>
                </a:cubicBezTo>
                <a:cubicBezTo>
                  <a:pt x="48007" y="58341"/>
                  <a:pt x="47911" y="58043"/>
                  <a:pt x="47709" y="57972"/>
                </a:cubicBezTo>
                <a:lnTo>
                  <a:pt x="47447" y="57948"/>
                </a:lnTo>
                <a:cubicBezTo>
                  <a:pt x="47423" y="57912"/>
                  <a:pt x="47447" y="57841"/>
                  <a:pt x="47447" y="57805"/>
                </a:cubicBezTo>
                <a:cubicBezTo>
                  <a:pt x="47030" y="57805"/>
                  <a:pt x="46578" y="57567"/>
                  <a:pt x="46316" y="57257"/>
                </a:cubicBezTo>
                <a:cubicBezTo>
                  <a:pt x="46280" y="57210"/>
                  <a:pt x="46137" y="56995"/>
                  <a:pt x="46006" y="56995"/>
                </a:cubicBezTo>
                <a:cubicBezTo>
                  <a:pt x="45411" y="56995"/>
                  <a:pt x="45030" y="56459"/>
                  <a:pt x="44232" y="56459"/>
                </a:cubicBezTo>
                <a:close/>
                <a:moveTo>
                  <a:pt x="143304" y="58079"/>
                </a:moveTo>
                <a:cubicBezTo>
                  <a:pt x="143078" y="58079"/>
                  <a:pt x="142459" y="58626"/>
                  <a:pt x="142316" y="58626"/>
                </a:cubicBezTo>
                <a:cubicBezTo>
                  <a:pt x="142221" y="58626"/>
                  <a:pt x="142316" y="58817"/>
                  <a:pt x="142316" y="58948"/>
                </a:cubicBezTo>
                <a:cubicBezTo>
                  <a:pt x="142316" y="59234"/>
                  <a:pt x="142435" y="59388"/>
                  <a:pt x="142709" y="59388"/>
                </a:cubicBezTo>
                <a:cubicBezTo>
                  <a:pt x="142983" y="59388"/>
                  <a:pt x="143530" y="58710"/>
                  <a:pt x="143530" y="58412"/>
                </a:cubicBezTo>
                <a:cubicBezTo>
                  <a:pt x="143530" y="58281"/>
                  <a:pt x="143400" y="58079"/>
                  <a:pt x="143304" y="58079"/>
                </a:cubicBezTo>
                <a:close/>
                <a:moveTo>
                  <a:pt x="52102" y="59424"/>
                </a:moveTo>
                <a:cubicBezTo>
                  <a:pt x="52043" y="59424"/>
                  <a:pt x="51900" y="59448"/>
                  <a:pt x="51900" y="59567"/>
                </a:cubicBezTo>
                <a:cubicBezTo>
                  <a:pt x="51900" y="59781"/>
                  <a:pt x="52138" y="59805"/>
                  <a:pt x="52352" y="59805"/>
                </a:cubicBezTo>
                <a:cubicBezTo>
                  <a:pt x="52460" y="59805"/>
                  <a:pt x="52591" y="59805"/>
                  <a:pt x="52650" y="59674"/>
                </a:cubicBezTo>
                <a:cubicBezTo>
                  <a:pt x="52591" y="59543"/>
                  <a:pt x="52150" y="59424"/>
                  <a:pt x="52102" y="59424"/>
                </a:cubicBezTo>
                <a:close/>
                <a:moveTo>
                  <a:pt x="46375" y="59472"/>
                </a:moveTo>
                <a:cubicBezTo>
                  <a:pt x="46304" y="59472"/>
                  <a:pt x="46197" y="59519"/>
                  <a:pt x="46197" y="59603"/>
                </a:cubicBezTo>
                <a:cubicBezTo>
                  <a:pt x="46197" y="59781"/>
                  <a:pt x="46340" y="59924"/>
                  <a:pt x="46483" y="59924"/>
                </a:cubicBezTo>
                <a:cubicBezTo>
                  <a:pt x="46697" y="59924"/>
                  <a:pt x="46864" y="59841"/>
                  <a:pt x="47078" y="59805"/>
                </a:cubicBezTo>
                <a:cubicBezTo>
                  <a:pt x="47066" y="59710"/>
                  <a:pt x="47030" y="59650"/>
                  <a:pt x="46923" y="59603"/>
                </a:cubicBezTo>
                <a:lnTo>
                  <a:pt x="46923" y="59603"/>
                </a:lnTo>
                <a:lnTo>
                  <a:pt x="46959" y="59650"/>
                </a:lnTo>
                <a:cubicBezTo>
                  <a:pt x="46852" y="59603"/>
                  <a:pt x="46590" y="59472"/>
                  <a:pt x="46375" y="59472"/>
                </a:cubicBezTo>
                <a:close/>
                <a:moveTo>
                  <a:pt x="48852" y="58519"/>
                </a:moveTo>
                <a:cubicBezTo>
                  <a:pt x="48804" y="58519"/>
                  <a:pt x="48709" y="58603"/>
                  <a:pt x="48709" y="58674"/>
                </a:cubicBezTo>
                <a:cubicBezTo>
                  <a:pt x="48709" y="58805"/>
                  <a:pt x="48840" y="58912"/>
                  <a:pt x="48947" y="58912"/>
                </a:cubicBezTo>
                <a:cubicBezTo>
                  <a:pt x="48947" y="59079"/>
                  <a:pt x="48971" y="59234"/>
                  <a:pt x="49078" y="59365"/>
                </a:cubicBezTo>
                <a:cubicBezTo>
                  <a:pt x="48992" y="59414"/>
                  <a:pt x="48913" y="59430"/>
                  <a:pt x="48826" y="59430"/>
                </a:cubicBezTo>
                <a:cubicBezTo>
                  <a:pt x="48682" y="59430"/>
                  <a:pt x="48515" y="59388"/>
                  <a:pt x="48257" y="59388"/>
                </a:cubicBezTo>
                <a:cubicBezTo>
                  <a:pt x="48245" y="59412"/>
                  <a:pt x="48209" y="59472"/>
                  <a:pt x="48173" y="59472"/>
                </a:cubicBezTo>
                <a:cubicBezTo>
                  <a:pt x="48173" y="59603"/>
                  <a:pt x="48280" y="59805"/>
                  <a:pt x="48388" y="59817"/>
                </a:cubicBezTo>
                <a:cubicBezTo>
                  <a:pt x="48388" y="59758"/>
                  <a:pt x="48400" y="59710"/>
                  <a:pt x="48400" y="59650"/>
                </a:cubicBezTo>
                <a:cubicBezTo>
                  <a:pt x="48431" y="59670"/>
                  <a:pt x="48452" y="59677"/>
                  <a:pt x="48471" y="59677"/>
                </a:cubicBezTo>
                <a:cubicBezTo>
                  <a:pt x="48509" y="59677"/>
                  <a:pt x="48538" y="59650"/>
                  <a:pt x="48626" y="59650"/>
                </a:cubicBezTo>
                <a:cubicBezTo>
                  <a:pt x="48738" y="59650"/>
                  <a:pt x="48908" y="59631"/>
                  <a:pt x="49069" y="59631"/>
                </a:cubicBezTo>
                <a:cubicBezTo>
                  <a:pt x="49216" y="59631"/>
                  <a:pt x="49356" y="59647"/>
                  <a:pt x="49435" y="59710"/>
                </a:cubicBezTo>
                <a:cubicBezTo>
                  <a:pt x="49531" y="59781"/>
                  <a:pt x="49495" y="59996"/>
                  <a:pt x="49650" y="59996"/>
                </a:cubicBezTo>
                <a:cubicBezTo>
                  <a:pt x="49852" y="59996"/>
                  <a:pt x="49840" y="59603"/>
                  <a:pt x="50066" y="59603"/>
                </a:cubicBezTo>
                <a:cubicBezTo>
                  <a:pt x="50162" y="59603"/>
                  <a:pt x="50138" y="59710"/>
                  <a:pt x="50257" y="59710"/>
                </a:cubicBezTo>
                <a:cubicBezTo>
                  <a:pt x="50376" y="59710"/>
                  <a:pt x="50447" y="59627"/>
                  <a:pt x="50578" y="59543"/>
                </a:cubicBezTo>
                <a:lnTo>
                  <a:pt x="51245" y="59543"/>
                </a:lnTo>
                <a:cubicBezTo>
                  <a:pt x="51126" y="59317"/>
                  <a:pt x="50936" y="59234"/>
                  <a:pt x="50757" y="59055"/>
                </a:cubicBezTo>
                <a:lnTo>
                  <a:pt x="50757" y="59055"/>
                </a:lnTo>
                <a:lnTo>
                  <a:pt x="50852" y="59150"/>
                </a:lnTo>
                <a:cubicBezTo>
                  <a:pt x="50519" y="58948"/>
                  <a:pt x="50412" y="58579"/>
                  <a:pt x="49840" y="58579"/>
                </a:cubicBezTo>
                <a:cubicBezTo>
                  <a:pt x="49638" y="58579"/>
                  <a:pt x="49531" y="58674"/>
                  <a:pt x="49292" y="58674"/>
                </a:cubicBezTo>
                <a:cubicBezTo>
                  <a:pt x="49126" y="58674"/>
                  <a:pt x="49019" y="58519"/>
                  <a:pt x="48852" y="58519"/>
                </a:cubicBezTo>
                <a:close/>
                <a:moveTo>
                  <a:pt x="149192" y="62555"/>
                </a:moveTo>
                <a:cubicBezTo>
                  <a:pt x="149159" y="62555"/>
                  <a:pt x="149126" y="62561"/>
                  <a:pt x="149115" y="62567"/>
                </a:cubicBezTo>
                <a:cubicBezTo>
                  <a:pt x="149125" y="62589"/>
                  <a:pt x="149153" y="62596"/>
                  <a:pt x="149183" y="62596"/>
                </a:cubicBezTo>
                <a:cubicBezTo>
                  <a:pt x="149218" y="62596"/>
                  <a:pt x="149256" y="62586"/>
                  <a:pt x="149269" y="62579"/>
                </a:cubicBezTo>
                <a:cubicBezTo>
                  <a:pt x="149257" y="62561"/>
                  <a:pt x="149225" y="62555"/>
                  <a:pt x="149192" y="62555"/>
                </a:cubicBezTo>
                <a:close/>
                <a:moveTo>
                  <a:pt x="148400" y="59234"/>
                </a:moveTo>
                <a:cubicBezTo>
                  <a:pt x="148257" y="59234"/>
                  <a:pt x="148233" y="59412"/>
                  <a:pt x="148222" y="59603"/>
                </a:cubicBezTo>
                <a:cubicBezTo>
                  <a:pt x="148222" y="59829"/>
                  <a:pt x="148305" y="59984"/>
                  <a:pt x="148293" y="60210"/>
                </a:cubicBezTo>
                <a:cubicBezTo>
                  <a:pt x="148293" y="60389"/>
                  <a:pt x="148257" y="60650"/>
                  <a:pt x="148186" y="60781"/>
                </a:cubicBezTo>
                <a:cubicBezTo>
                  <a:pt x="148177" y="60779"/>
                  <a:pt x="148170" y="60778"/>
                  <a:pt x="148162" y="60778"/>
                </a:cubicBezTo>
                <a:cubicBezTo>
                  <a:pt x="148037" y="60778"/>
                  <a:pt x="148090" y="61155"/>
                  <a:pt x="148079" y="61436"/>
                </a:cubicBezTo>
                <a:cubicBezTo>
                  <a:pt x="148079" y="61555"/>
                  <a:pt x="148376" y="61782"/>
                  <a:pt x="148448" y="61782"/>
                </a:cubicBezTo>
                <a:cubicBezTo>
                  <a:pt x="148495" y="61782"/>
                  <a:pt x="148531" y="61710"/>
                  <a:pt x="148567" y="61651"/>
                </a:cubicBezTo>
                <a:lnTo>
                  <a:pt x="148662" y="61651"/>
                </a:lnTo>
                <a:lnTo>
                  <a:pt x="148662" y="61841"/>
                </a:lnTo>
                <a:cubicBezTo>
                  <a:pt x="148626" y="61889"/>
                  <a:pt x="148555" y="61936"/>
                  <a:pt x="148555" y="62055"/>
                </a:cubicBezTo>
                <a:cubicBezTo>
                  <a:pt x="148555" y="62151"/>
                  <a:pt x="148686" y="62317"/>
                  <a:pt x="148793" y="62317"/>
                </a:cubicBezTo>
                <a:cubicBezTo>
                  <a:pt x="148798" y="62318"/>
                  <a:pt x="148803" y="62318"/>
                  <a:pt x="148808" y="62318"/>
                </a:cubicBezTo>
                <a:cubicBezTo>
                  <a:pt x="148906" y="62318"/>
                  <a:pt x="148965" y="62210"/>
                  <a:pt x="149067" y="62210"/>
                </a:cubicBezTo>
                <a:cubicBezTo>
                  <a:pt x="149293" y="62222"/>
                  <a:pt x="149305" y="62627"/>
                  <a:pt x="149543" y="62639"/>
                </a:cubicBezTo>
                <a:cubicBezTo>
                  <a:pt x="149496" y="62484"/>
                  <a:pt x="149436" y="62413"/>
                  <a:pt x="149531" y="62282"/>
                </a:cubicBezTo>
                <a:lnTo>
                  <a:pt x="149531" y="62282"/>
                </a:lnTo>
                <a:cubicBezTo>
                  <a:pt x="149626" y="62448"/>
                  <a:pt x="150019" y="62627"/>
                  <a:pt x="150115" y="62853"/>
                </a:cubicBezTo>
                <a:cubicBezTo>
                  <a:pt x="150127" y="62913"/>
                  <a:pt x="150138" y="63008"/>
                  <a:pt x="150198" y="63008"/>
                </a:cubicBezTo>
                <a:cubicBezTo>
                  <a:pt x="150222" y="63008"/>
                  <a:pt x="150258" y="62936"/>
                  <a:pt x="150258" y="62901"/>
                </a:cubicBezTo>
                <a:cubicBezTo>
                  <a:pt x="150258" y="62841"/>
                  <a:pt x="150258" y="62805"/>
                  <a:pt x="150258" y="62746"/>
                </a:cubicBezTo>
                <a:cubicBezTo>
                  <a:pt x="150150" y="62746"/>
                  <a:pt x="150043" y="62663"/>
                  <a:pt x="150055" y="62520"/>
                </a:cubicBezTo>
                <a:lnTo>
                  <a:pt x="150055" y="62520"/>
                </a:lnTo>
                <a:cubicBezTo>
                  <a:pt x="150033" y="62527"/>
                  <a:pt x="149994" y="62539"/>
                  <a:pt x="149967" y="62539"/>
                </a:cubicBezTo>
                <a:cubicBezTo>
                  <a:pt x="149949" y="62539"/>
                  <a:pt x="149936" y="62534"/>
                  <a:pt x="149936" y="62520"/>
                </a:cubicBezTo>
                <a:cubicBezTo>
                  <a:pt x="149936" y="62413"/>
                  <a:pt x="150019" y="62401"/>
                  <a:pt x="150043" y="62294"/>
                </a:cubicBezTo>
                <a:cubicBezTo>
                  <a:pt x="150007" y="62294"/>
                  <a:pt x="149972" y="62246"/>
                  <a:pt x="149936" y="62246"/>
                </a:cubicBezTo>
                <a:cubicBezTo>
                  <a:pt x="149877" y="62246"/>
                  <a:pt x="149853" y="62377"/>
                  <a:pt x="149793" y="62377"/>
                </a:cubicBezTo>
                <a:cubicBezTo>
                  <a:pt x="149686" y="62377"/>
                  <a:pt x="149650" y="61948"/>
                  <a:pt x="149448" y="61936"/>
                </a:cubicBezTo>
                <a:cubicBezTo>
                  <a:pt x="149353" y="61936"/>
                  <a:pt x="149269" y="62008"/>
                  <a:pt x="149269" y="62079"/>
                </a:cubicBezTo>
                <a:cubicBezTo>
                  <a:pt x="149269" y="62103"/>
                  <a:pt x="149269" y="62163"/>
                  <a:pt x="149257" y="62174"/>
                </a:cubicBezTo>
                <a:cubicBezTo>
                  <a:pt x="149079" y="62079"/>
                  <a:pt x="148853" y="61603"/>
                  <a:pt x="148864" y="61317"/>
                </a:cubicBezTo>
                <a:cubicBezTo>
                  <a:pt x="148864" y="60924"/>
                  <a:pt x="149162" y="60889"/>
                  <a:pt x="149174" y="60472"/>
                </a:cubicBezTo>
                <a:cubicBezTo>
                  <a:pt x="149174" y="60150"/>
                  <a:pt x="148960" y="59865"/>
                  <a:pt x="148972" y="59627"/>
                </a:cubicBezTo>
                <a:cubicBezTo>
                  <a:pt x="148972" y="59591"/>
                  <a:pt x="148936" y="59531"/>
                  <a:pt x="148936" y="59484"/>
                </a:cubicBezTo>
                <a:cubicBezTo>
                  <a:pt x="148936" y="59472"/>
                  <a:pt x="148912" y="59412"/>
                  <a:pt x="148912" y="59400"/>
                </a:cubicBezTo>
                <a:cubicBezTo>
                  <a:pt x="148841" y="59424"/>
                  <a:pt x="148793" y="59579"/>
                  <a:pt x="148686" y="59579"/>
                </a:cubicBezTo>
                <a:cubicBezTo>
                  <a:pt x="148543" y="59579"/>
                  <a:pt x="148579" y="59234"/>
                  <a:pt x="148400" y="59234"/>
                </a:cubicBezTo>
                <a:close/>
                <a:moveTo>
                  <a:pt x="148472" y="62448"/>
                </a:moveTo>
                <a:cubicBezTo>
                  <a:pt x="148460" y="62448"/>
                  <a:pt x="148841" y="63175"/>
                  <a:pt x="148936" y="63175"/>
                </a:cubicBezTo>
                <a:cubicBezTo>
                  <a:pt x="149007" y="63175"/>
                  <a:pt x="149091" y="62948"/>
                  <a:pt x="149055" y="62794"/>
                </a:cubicBezTo>
                <a:cubicBezTo>
                  <a:pt x="149007" y="62567"/>
                  <a:pt x="148829" y="62603"/>
                  <a:pt x="148626" y="62448"/>
                </a:cubicBezTo>
                <a:close/>
                <a:moveTo>
                  <a:pt x="114313" y="63079"/>
                </a:moveTo>
                <a:cubicBezTo>
                  <a:pt x="114074" y="63079"/>
                  <a:pt x="113955" y="63115"/>
                  <a:pt x="113789" y="63186"/>
                </a:cubicBezTo>
                <a:cubicBezTo>
                  <a:pt x="113801" y="63294"/>
                  <a:pt x="113932" y="63341"/>
                  <a:pt x="113991" y="63341"/>
                </a:cubicBezTo>
                <a:cubicBezTo>
                  <a:pt x="114134" y="63341"/>
                  <a:pt x="114277" y="63163"/>
                  <a:pt x="114313" y="63079"/>
                </a:cubicBezTo>
                <a:close/>
                <a:moveTo>
                  <a:pt x="149841" y="63044"/>
                </a:moveTo>
                <a:cubicBezTo>
                  <a:pt x="149841" y="63115"/>
                  <a:pt x="149841" y="63186"/>
                  <a:pt x="149841" y="63329"/>
                </a:cubicBezTo>
                <a:cubicBezTo>
                  <a:pt x="149896" y="63329"/>
                  <a:pt x="149947" y="63319"/>
                  <a:pt x="149999" y="63319"/>
                </a:cubicBezTo>
                <a:cubicBezTo>
                  <a:pt x="150025" y="63319"/>
                  <a:pt x="150051" y="63321"/>
                  <a:pt x="150079" y="63329"/>
                </a:cubicBezTo>
                <a:cubicBezTo>
                  <a:pt x="150069" y="63406"/>
                  <a:pt x="150192" y="63546"/>
                  <a:pt x="150239" y="63546"/>
                </a:cubicBezTo>
                <a:cubicBezTo>
                  <a:pt x="150251" y="63546"/>
                  <a:pt x="150258" y="63538"/>
                  <a:pt x="150258" y="63520"/>
                </a:cubicBezTo>
                <a:cubicBezTo>
                  <a:pt x="150258" y="63282"/>
                  <a:pt x="150043" y="63210"/>
                  <a:pt x="149996" y="63044"/>
                </a:cubicBezTo>
                <a:close/>
                <a:moveTo>
                  <a:pt x="137565" y="63474"/>
                </a:moveTo>
                <a:lnTo>
                  <a:pt x="137565" y="63474"/>
                </a:lnTo>
                <a:cubicBezTo>
                  <a:pt x="137458" y="63735"/>
                  <a:pt x="137399" y="63937"/>
                  <a:pt x="137327" y="64139"/>
                </a:cubicBezTo>
                <a:cubicBezTo>
                  <a:pt x="137399" y="63925"/>
                  <a:pt x="137458" y="63735"/>
                  <a:pt x="137565" y="63474"/>
                </a:cubicBezTo>
                <a:close/>
                <a:moveTo>
                  <a:pt x="149365" y="63448"/>
                </a:moveTo>
                <a:cubicBezTo>
                  <a:pt x="149329" y="63448"/>
                  <a:pt x="149257" y="63496"/>
                  <a:pt x="149257" y="63532"/>
                </a:cubicBezTo>
                <a:cubicBezTo>
                  <a:pt x="149257" y="63710"/>
                  <a:pt x="149317" y="64068"/>
                  <a:pt x="149317" y="64389"/>
                </a:cubicBezTo>
                <a:cubicBezTo>
                  <a:pt x="149460" y="64282"/>
                  <a:pt x="149853" y="64115"/>
                  <a:pt x="149853" y="63794"/>
                </a:cubicBezTo>
                <a:cubicBezTo>
                  <a:pt x="149853" y="63651"/>
                  <a:pt x="149567" y="63579"/>
                  <a:pt x="149436" y="63508"/>
                </a:cubicBezTo>
                <a:cubicBezTo>
                  <a:pt x="149412" y="63484"/>
                  <a:pt x="149388" y="63448"/>
                  <a:pt x="149365" y="63448"/>
                </a:cubicBezTo>
                <a:close/>
                <a:moveTo>
                  <a:pt x="150496" y="63056"/>
                </a:moveTo>
                <a:cubicBezTo>
                  <a:pt x="150436" y="63056"/>
                  <a:pt x="150388" y="63115"/>
                  <a:pt x="150341" y="63127"/>
                </a:cubicBezTo>
                <a:cubicBezTo>
                  <a:pt x="150365" y="63282"/>
                  <a:pt x="150734" y="63413"/>
                  <a:pt x="150734" y="63687"/>
                </a:cubicBezTo>
                <a:cubicBezTo>
                  <a:pt x="150734" y="63722"/>
                  <a:pt x="150674" y="63794"/>
                  <a:pt x="150650" y="63794"/>
                </a:cubicBezTo>
                <a:lnTo>
                  <a:pt x="150424" y="63794"/>
                </a:lnTo>
                <a:lnTo>
                  <a:pt x="150424" y="63901"/>
                </a:lnTo>
                <a:cubicBezTo>
                  <a:pt x="150448" y="63960"/>
                  <a:pt x="150555" y="64151"/>
                  <a:pt x="150674" y="64151"/>
                </a:cubicBezTo>
                <a:lnTo>
                  <a:pt x="150674" y="64270"/>
                </a:lnTo>
                <a:cubicBezTo>
                  <a:pt x="150603" y="64377"/>
                  <a:pt x="150639" y="64532"/>
                  <a:pt x="150746" y="64532"/>
                </a:cubicBezTo>
                <a:lnTo>
                  <a:pt x="150900" y="64532"/>
                </a:lnTo>
                <a:lnTo>
                  <a:pt x="150900" y="64425"/>
                </a:lnTo>
                <a:cubicBezTo>
                  <a:pt x="150841" y="64389"/>
                  <a:pt x="150769" y="64199"/>
                  <a:pt x="150758" y="64044"/>
                </a:cubicBezTo>
                <a:lnTo>
                  <a:pt x="151008" y="64044"/>
                </a:lnTo>
                <a:cubicBezTo>
                  <a:pt x="151020" y="63972"/>
                  <a:pt x="151055" y="63913"/>
                  <a:pt x="151079" y="63806"/>
                </a:cubicBezTo>
                <a:cubicBezTo>
                  <a:pt x="151055" y="63806"/>
                  <a:pt x="150948" y="63627"/>
                  <a:pt x="150948" y="63627"/>
                </a:cubicBezTo>
                <a:cubicBezTo>
                  <a:pt x="150948" y="63627"/>
                  <a:pt x="150960" y="63437"/>
                  <a:pt x="150948" y="63329"/>
                </a:cubicBezTo>
                <a:lnTo>
                  <a:pt x="150853" y="63329"/>
                </a:lnTo>
                <a:cubicBezTo>
                  <a:pt x="150865" y="63270"/>
                  <a:pt x="150853" y="63198"/>
                  <a:pt x="150853" y="63139"/>
                </a:cubicBezTo>
                <a:cubicBezTo>
                  <a:pt x="150722" y="63139"/>
                  <a:pt x="150627" y="63056"/>
                  <a:pt x="150496" y="63056"/>
                </a:cubicBezTo>
                <a:close/>
                <a:moveTo>
                  <a:pt x="150246" y="64091"/>
                </a:moveTo>
                <a:cubicBezTo>
                  <a:pt x="150234" y="64425"/>
                  <a:pt x="150138" y="64580"/>
                  <a:pt x="150091" y="64806"/>
                </a:cubicBezTo>
                <a:lnTo>
                  <a:pt x="150162" y="64806"/>
                </a:lnTo>
                <a:cubicBezTo>
                  <a:pt x="150174" y="64520"/>
                  <a:pt x="150388" y="64437"/>
                  <a:pt x="150388" y="64091"/>
                </a:cubicBezTo>
                <a:close/>
                <a:moveTo>
                  <a:pt x="54924" y="64449"/>
                </a:moveTo>
                <a:cubicBezTo>
                  <a:pt x="54817" y="64449"/>
                  <a:pt x="54710" y="64663"/>
                  <a:pt x="54710" y="64877"/>
                </a:cubicBezTo>
                <a:cubicBezTo>
                  <a:pt x="54710" y="64901"/>
                  <a:pt x="54722" y="64909"/>
                  <a:pt x="54740" y="64909"/>
                </a:cubicBezTo>
                <a:cubicBezTo>
                  <a:pt x="54776" y="64909"/>
                  <a:pt x="54837" y="64877"/>
                  <a:pt x="54877" y="64877"/>
                </a:cubicBezTo>
                <a:cubicBezTo>
                  <a:pt x="54984" y="64877"/>
                  <a:pt x="55055" y="64687"/>
                  <a:pt x="55091" y="64603"/>
                </a:cubicBezTo>
                <a:lnTo>
                  <a:pt x="55091" y="64449"/>
                </a:lnTo>
                <a:close/>
                <a:moveTo>
                  <a:pt x="150388" y="64568"/>
                </a:moveTo>
                <a:cubicBezTo>
                  <a:pt x="150329" y="64675"/>
                  <a:pt x="150234" y="64734"/>
                  <a:pt x="150234" y="64841"/>
                </a:cubicBezTo>
                <a:cubicBezTo>
                  <a:pt x="150234" y="64877"/>
                  <a:pt x="150293" y="64937"/>
                  <a:pt x="150329" y="64937"/>
                </a:cubicBezTo>
                <a:cubicBezTo>
                  <a:pt x="150334" y="64937"/>
                  <a:pt x="150339" y="64937"/>
                  <a:pt x="150344" y="64937"/>
                </a:cubicBezTo>
                <a:cubicBezTo>
                  <a:pt x="150492" y="64937"/>
                  <a:pt x="150603" y="64775"/>
                  <a:pt x="150603" y="64568"/>
                </a:cubicBezTo>
                <a:lnTo>
                  <a:pt x="150603" y="64568"/>
                </a:lnTo>
                <a:cubicBezTo>
                  <a:pt x="150583" y="64598"/>
                  <a:pt x="150556" y="64609"/>
                  <a:pt x="150526" y="64609"/>
                </a:cubicBezTo>
                <a:cubicBezTo>
                  <a:pt x="150485" y="64609"/>
                  <a:pt x="150437" y="64588"/>
                  <a:pt x="150388" y="64568"/>
                </a:cubicBezTo>
                <a:close/>
                <a:moveTo>
                  <a:pt x="150006" y="64054"/>
                </a:moveTo>
                <a:cubicBezTo>
                  <a:pt x="149985" y="64054"/>
                  <a:pt x="149961" y="64058"/>
                  <a:pt x="149936" y="64068"/>
                </a:cubicBezTo>
                <a:cubicBezTo>
                  <a:pt x="149853" y="64079"/>
                  <a:pt x="149757" y="64556"/>
                  <a:pt x="149757" y="64603"/>
                </a:cubicBezTo>
                <a:cubicBezTo>
                  <a:pt x="149710" y="64603"/>
                  <a:pt x="149603" y="64663"/>
                  <a:pt x="149603" y="64722"/>
                </a:cubicBezTo>
                <a:cubicBezTo>
                  <a:pt x="149603" y="64853"/>
                  <a:pt x="149900" y="65211"/>
                  <a:pt x="149960" y="65222"/>
                </a:cubicBezTo>
                <a:cubicBezTo>
                  <a:pt x="149996" y="65222"/>
                  <a:pt x="150067" y="65163"/>
                  <a:pt x="150067" y="65127"/>
                </a:cubicBezTo>
                <a:cubicBezTo>
                  <a:pt x="150067" y="65008"/>
                  <a:pt x="149984" y="65044"/>
                  <a:pt x="149984" y="64877"/>
                </a:cubicBezTo>
                <a:cubicBezTo>
                  <a:pt x="149984" y="64651"/>
                  <a:pt x="150174" y="64508"/>
                  <a:pt x="150174" y="64282"/>
                </a:cubicBezTo>
                <a:cubicBezTo>
                  <a:pt x="150174" y="64181"/>
                  <a:pt x="150123" y="64054"/>
                  <a:pt x="150006" y="64054"/>
                </a:cubicBezTo>
                <a:close/>
                <a:moveTo>
                  <a:pt x="148174" y="63984"/>
                </a:moveTo>
                <a:cubicBezTo>
                  <a:pt x="148126" y="64044"/>
                  <a:pt x="148126" y="64139"/>
                  <a:pt x="148091" y="64234"/>
                </a:cubicBezTo>
                <a:cubicBezTo>
                  <a:pt x="147900" y="64639"/>
                  <a:pt x="147340" y="64865"/>
                  <a:pt x="147162" y="65425"/>
                </a:cubicBezTo>
                <a:lnTo>
                  <a:pt x="147281" y="65425"/>
                </a:lnTo>
                <a:cubicBezTo>
                  <a:pt x="147483" y="65282"/>
                  <a:pt x="147793" y="65044"/>
                  <a:pt x="147876" y="64603"/>
                </a:cubicBezTo>
                <a:cubicBezTo>
                  <a:pt x="148007" y="64603"/>
                  <a:pt x="148126" y="64568"/>
                  <a:pt x="148162" y="64401"/>
                </a:cubicBezTo>
                <a:cubicBezTo>
                  <a:pt x="148233" y="64401"/>
                  <a:pt x="148257" y="64353"/>
                  <a:pt x="148329" y="64294"/>
                </a:cubicBezTo>
                <a:cubicBezTo>
                  <a:pt x="148257" y="64222"/>
                  <a:pt x="148174" y="64175"/>
                  <a:pt x="148174" y="63984"/>
                </a:cubicBezTo>
                <a:close/>
                <a:moveTo>
                  <a:pt x="151278" y="66519"/>
                </a:moveTo>
                <a:lnTo>
                  <a:pt x="151281" y="66532"/>
                </a:lnTo>
                <a:cubicBezTo>
                  <a:pt x="151281" y="66528"/>
                  <a:pt x="151279" y="66523"/>
                  <a:pt x="151278" y="66519"/>
                </a:cubicBezTo>
                <a:close/>
                <a:moveTo>
                  <a:pt x="127636" y="64794"/>
                </a:moveTo>
                <a:cubicBezTo>
                  <a:pt x="127636" y="65449"/>
                  <a:pt x="127374" y="65925"/>
                  <a:pt x="127374" y="66556"/>
                </a:cubicBezTo>
                <a:cubicBezTo>
                  <a:pt x="127374" y="66854"/>
                  <a:pt x="127576" y="67163"/>
                  <a:pt x="127838" y="67163"/>
                </a:cubicBezTo>
                <a:cubicBezTo>
                  <a:pt x="128171" y="67163"/>
                  <a:pt x="128410" y="66663"/>
                  <a:pt x="128410" y="66270"/>
                </a:cubicBezTo>
                <a:cubicBezTo>
                  <a:pt x="128410" y="65580"/>
                  <a:pt x="127886" y="65318"/>
                  <a:pt x="127636" y="64794"/>
                </a:cubicBezTo>
                <a:close/>
                <a:moveTo>
                  <a:pt x="151031" y="64675"/>
                </a:moveTo>
                <a:cubicBezTo>
                  <a:pt x="151008" y="64722"/>
                  <a:pt x="151020" y="64996"/>
                  <a:pt x="150972" y="65127"/>
                </a:cubicBezTo>
                <a:cubicBezTo>
                  <a:pt x="150924" y="65234"/>
                  <a:pt x="150627" y="65151"/>
                  <a:pt x="150627" y="65413"/>
                </a:cubicBezTo>
                <a:cubicBezTo>
                  <a:pt x="150519" y="65437"/>
                  <a:pt x="150472" y="65532"/>
                  <a:pt x="150472" y="65663"/>
                </a:cubicBezTo>
                <a:lnTo>
                  <a:pt x="150365" y="65663"/>
                </a:lnTo>
                <a:cubicBezTo>
                  <a:pt x="150258" y="65651"/>
                  <a:pt x="150293" y="65353"/>
                  <a:pt x="150079" y="65353"/>
                </a:cubicBezTo>
                <a:cubicBezTo>
                  <a:pt x="150075" y="65353"/>
                  <a:pt x="150071" y="65353"/>
                  <a:pt x="150067" y="65353"/>
                </a:cubicBezTo>
                <a:cubicBezTo>
                  <a:pt x="149783" y="65353"/>
                  <a:pt x="149848" y="65758"/>
                  <a:pt x="149507" y="65758"/>
                </a:cubicBezTo>
                <a:cubicBezTo>
                  <a:pt x="149472" y="65949"/>
                  <a:pt x="149400" y="66056"/>
                  <a:pt x="149400" y="66246"/>
                </a:cubicBezTo>
                <a:cubicBezTo>
                  <a:pt x="149400" y="66306"/>
                  <a:pt x="149472" y="66377"/>
                  <a:pt x="149460" y="66437"/>
                </a:cubicBezTo>
                <a:cubicBezTo>
                  <a:pt x="149460" y="66508"/>
                  <a:pt x="149329" y="66866"/>
                  <a:pt x="149460" y="66866"/>
                </a:cubicBezTo>
                <a:cubicBezTo>
                  <a:pt x="149638" y="66866"/>
                  <a:pt x="149615" y="66246"/>
                  <a:pt x="149781" y="66068"/>
                </a:cubicBezTo>
                <a:cubicBezTo>
                  <a:pt x="149781" y="66068"/>
                  <a:pt x="149900" y="66211"/>
                  <a:pt x="149948" y="66234"/>
                </a:cubicBezTo>
                <a:cubicBezTo>
                  <a:pt x="149960" y="66223"/>
                  <a:pt x="149996" y="66139"/>
                  <a:pt x="149996" y="66139"/>
                </a:cubicBezTo>
                <a:cubicBezTo>
                  <a:pt x="150031" y="66175"/>
                  <a:pt x="150067" y="66234"/>
                  <a:pt x="150162" y="66234"/>
                </a:cubicBezTo>
                <a:cubicBezTo>
                  <a:pt x="150150" y="66187"/>
                  <a:pt x="150162" y="66127"/>
                  <a:pt x="150162" y="66068"/>
                </a:cubicBezTo>
                <a:lnTo>
                  <a:pt x="150400" y="66080"/>
                </a:lnTo>
                <a:cubicBezTo>
                  <a:pt x="150412" y="66127"/>
                  <a:pt x="150448" y="66211"/>
                  <a:pt x="150460" y="66270"/>
                </a:cubicBezTo>
                <a:cubicBezTo>
                  <a:pt x="150412" y="66306"/>
                  <a:pt x="150377" y="66365"/>
                  <a:pt x="150377" y="66485"/>
                </a:cubicBezTo>
                <a:cubicBezTo>
                  <a:pt x="150365" y="66854"/>
                  <a:pt x="150567" y="67151"/>
                  <a:pt x="150793" y="67163"/>
                </a:cubicBezTo>
                <a:cubicBezTo>
                  <a:pt x="150817" y="67163"/>
                  <a:pt x="150847" y="67166"/>
                  <a:pt x="150877" y="67166"/>
                </a:cubicBezTo>
                <a:cubicBezTo>
                  <a:pt x="150906" y="67166"/>
                  <a:pt x="150936" y="67163"/>
                  <a:pt x="150960" y="67151"/>
                </a:cubicBezTo>
                <a:cubicBezTo>
                  <a:pt x="150960" y="67199"/>
                  <a:pt x="150996" y="67294"/>
                  <a:pt x="151043" y="67294"/>
                </a:cubicBezTo>
                <a:cubicBezTo>
                  <a:pt x="151049" y="67295"/>
                  <a:pt x="151054" y="67295"/>
                  <a:pt x="151059" y="67295"/>
                </a:cubicBezTo>
                <a:cubicBezTo>
                  <a:pt x="151168" y="67295"/>
                  <a:pt x="151222" y="67180"/>
                  <a:pt x="151222" y="67032"/>
                </a:cubicBezTo>
                <a:cubicBezTo>
                  <a:pt x="151234" y="66830"/>
                  <a:pt x="151031" y="66770"/>
                  <a:pt x="151031" y="66639"/>
                </a:cubicBezTo>
                <a:cubicBezTo>
                  <a:pt x="151031" y="66520"/>
                  <a:pt x="151115" y="66485"/>
                  <a:pt x="151186" y="66377"/>
                </a:cubicBezTo>
                <a:cubicBezTo>
                  <a:pt x="151219" y="66432"/>
                  <a:pt x="151263" y="66467"/>
                  <a:pt x="151278" y="66519"/>
                </a:cubicBezTo>
                <a:lnTo>
                  <a:pt x="151278" y="66519"/>
                </a:lnTo>
                <a:lnTo>
                  <a:pt x="151270" y="66485"/>
                </a:lnTo>
                <a:lnTo>
                  <a:pt x="151270" y="66485"/>
                </a:lnTo>
                <a:cubicBezTo>
                  <a:pt x="151305" y="66592"/>
                  <a:pt x="151412" y="66913"/>
                  <a:pt x="151472" y="66925"/>
                </a:cubicBezTo>
                <a:cubicBezTo>
                  <a:pt x="151484" y="66604"/>
                  <a:pt x="151686" y="66496"/>
                  <a:pt x="151686" y="66294"/>
                </a:cubicBezTo>
                <a:cubicBezTo>
                  <a:pt x="151686" y="66127"/>
                  <a:pt x="151424" y="64996"/>
                  <a:pt x="151293" y="64841"/>
                </a:cubicBezTo>
                <a:cubicBezTo>
                  <a:pt x="151222" y="64770"/>
                  <a:pt x="151150" y="64675"/>
                  <a:pt x="151031" y="64675"/>
                </a:cubicBezTo>
                <a:close/>
                <a:moveTo>
                  <a:pt x="136732" y="70092"/>
                </a:moveTo>
                <a:lnTo>
                  <a:pt x="136637" y="70140"/>
                </a:lnTo>
                <a:lnTo>
                  <a:pt x="136661" y="70140"/>
                </a:lnTo>
                <a:cubicBezTo>
                  <a:pt x="136672" y="70271"/>
                  <a:pt x="136911" y="70616"/>
                  <a:pt x="136982" y="70616"/>
                </a:cubicBezTo>
                <a:cubicBezTo>
                  <a:pt x="137125" y="70616"/>
                  <a:pt x="136839" y="70175"/>
                  <a:pt x="136732" y="70092"/>
                </a:cubicBezTo>
                <a:close/>
                <a:moveTo>
                  <a:pt x="152210" y="69354"/>
                </a:moveTo>
                <a:cubicBezTo>
                  <a:pt x="152055" y="69437"/>
                  <a:pt x="152043" y="69616"/>
                  <a:pt x="152043" y="69794"/>
                </a:cubicBezTo>
                <a:cubicBezTo>
                  <a:pt x="152043" y="70068"/>
                  <a:pt x="152186" y="70152"/>
                  <a:pt x="152186" y="70390"/>
                </a:cubicBezTo>
                <a:lnTo>
                  <a:pt x="152186" y="70676"/>
                </a:lnTo>
                <a:cubicBezTo>
                  <a:pt x="152186" y="70806"/>
                  <a:pt x="152246" y="71092"/>
                  <a:pt x="152424" y="71092"/>
                </a:cubicBezTo>
                <a:cubicBezTo>
                  <a:pt x="152329" y="70937"/>
                  <a:pt x="152293" y="70854"/>
                  <a:pt x="152222" y="70723"/>
                </a:cubicBezTo>
                <a:lnTo>
                  <a:pt x="152222" y="70568"/>
                </a:lnTo>
                <a:cubicBezTo>
                  <a:pt x="152365" y="70568"/>
                  <a:pt x="152567" y="70545"/>
                  <a:pt x="152639" y="70521"/>
                </a:cubicBezTo>
                <a:cubicBezTo>
                  <a:pt x="152627" y="70354"/>
                  <a:pt x="152496" y="70306"/>
                  <a:pt x="152496" y="70199"/>
                </a:cubicBezTo>
                <a:cubicBezTo>
                  <a:pt x="152496" y="70068"/>
                  <a:pt x="152674" y="70044"/>
                  <a:pt x="152674" y="69914"/>
                </a:cubicBezTo>
                <a:cubicBezTo>
                  <a:pt x="152365" y="69830"/>
                  <a:pt x="152246" y="69663"/>
                  <a:pt x="152210" y="69354"/>
                </a:cubicBezTo>
                <a:close/>
                <a:moveTo>
                  <a:pt x="137292" y="71414"/>
                </a:moveTo>
                <a:lnTo>
                  <a:pt x="137292" y="71497"/>
                </a:lnTo>
                <a:cubicBezTo>
                  <a:pt x="137292" y="71652"/>
                  <a:pt x="137530" y="71997"/>
                  <a:pt x="137613" y="72021"/>
                </a:cubicBezTo>
                <a:cubicBezTo>
                  <a:pt x="137637" y="71807"/>
                  <a:pt x="137554" y="71676"/>
                  <a:pt x="137434" y="71521"/>
                </a:cubicBezTo>
                <a:lnTo>
                  <a:pt x="137434" y="71414"/>
                </a:lnTo>
                <a:close/>
                <a:moveTo>
                  <a:pt x="60711" y="71009"/>
                </a:moveTo>
                <a:cubicBezTo>
                  <a:pt x="60496" y="71009"/>
                  <a:pt x="60341" y="71223"/>
                  <a:pt x="60341" y="71545"/>
                </a:cubicBezTo>
                <a:cubicBezTo>
                  <a:pt x="60341" y="71747"/>
                  <a:pt x="60818" y="72128"/>
                  <a:pt x="61092" y="72128"/>
                </a:cubicBezTo>
                <a:cubicBezTo>
                  <a:pt x="61306" y="72128"/>
                  <a:pt x="61580" y="71628"/>
                  <a:pt x="61580" y="71438"/>
                </a:cubicBezTo>
                <a:cubicBezTo>
                  <a:pt x="61580" y="71390"/>
                  <a:pt x="61520" y="71247"/>
                  <a:pt x="61449" y="71247"/>
                </a:cubicBezTo>
                <a:cubicBezTo>
                  <a:pt x="61397" y="71247"/>
                  <a:pt x="61312" y="71340"/>
                  <a:pt x="61247" y="71340"/>
                </a:cubicBezTo>
                <a:cubicBezTo>
                  <a:pt x="61208" y="71340"/>
                  <a:pt x="61176" y="71307"/>
                  <a:pt x="61163" y="71199"/>
                </a:cubicBezTo>
                <a:cubicBezTo>
                  <a:pt x="61020" y="71199"/>
                  <a:pt x="60889" y="71092"/>
                  <a:pt x="60782" y="71009"/>
                </a:cubicBezTo>
                <a:cubicBezTo>
                  <a:pt x="60782" y="71013"/>
                  <a:pt x="60775" y="71014"/>
                  <a:pt x="60766" y="71014"/>
                </a:cubicBezTo>
                <a:cubicBezTo>
                  <a:pt x="60748" y="71014"/>
                  <a:pt x="60719" y="71009"/>
                  <a:pt x="60711" y="71009"/>
                </a:cubicBezTo>
                <a:close/>
                <a:moveTo>
                  <a:pt x="158985" y="72283"/>
                </a:moveTo>
                <a:lnTo>
                  <a:pt x="158985" y="72283"/>
                </a:lnTo>
                <a:cubicBezTo>
                  <a:pt x="158989" y="72291"/>
                  <a:pt x="158995" y="72298"/>
                  <a:pt x="159001" y="72304"/>
                </a:cubicBezTo>
                <a:lnTo>
                  <a:pt x="159001" y="72304"/>
                </a:lnTo>
                <a:lnTo>
                  <a:pt x="158985" y="72283"/>
                </a:lnTo>
                <a:close/>
                <a:moveTo>
                  <a:pt x="140971" y="71652"/>
                </a:moveTo>
                <a:cubicBezTo>
                  <a:pt x="140840" y="71676"/>
                  <a:pt x="140590" y="71830"/>
                  <a:pt x="140590" y="71938"/>
                </a:cubicBezTo>
                <a:cubicBezTo>
                  <a:pt x="140590" y="72116"/>
                  <a:pt x="140875" y="71997"/>
                  <a:pt x="140947" y="72176"/>
                </a:cubicBezTo>
                <a:cubicBezTo>
                  <a:pt x="140971" y="72247"/>
                  <a:pt x="141042" y="72485"/>
                  <a:pt x="141078" y="72485"/>
                </a:cubicBezTo>
                <a:cubicBezTo>
                  <a:pt x="141149" y="72485"/>
                  <a:pt x="141209" y="72604"/>
                  <a:pt x="141316" y="72604"/>
                </a:cubicBezTo>
                <a:lnTo>
                  <a:pt x="141435" y="72604"/>
                </a:lnTo>
                <a:cubicBezTo>
                  <a:pt x="141423" y="72545"/>
                  <a:pt x="141423" y="72461"/>
                  <a:pt x="141423" y="72390"/>
                </a:cubicBezTo>
                <a:cubicBezTo>
                  <a:pt x="141173" y="72390"/>
                  <a:pt x="141066" y="71985"/>
                  <a:pt x="140971" y="71652"/>
                </a:cubicBezTo>
                <a:close/>
                <a:moveTo>
                  <a:pt x="141899" y="72366"/>
                </a:moveTo>
                <a:cubicBezTo>
                  <a:pt x="141876" y="72366"/>
                  <a:pt x="141899" y="72461"/>
                  <a:pt x="141899" y="72485"/>
                </a:cubicBezTo>
                <a:cubicBezTo>
                  <a:pt x="141899" y="72592"/>
                  <a:pt x="141935" y="72735"/>
                  <a:pt x="142042" y="72735"/>
                </a:cubicBezTo>
                <a:cubicBezTo>
                  <a:pt x="142149" y="72735"/>
                  <a:pt x="142221" y="72616"/>
                  <a:pt x="142245" y="72485"/>
                </a:cubicBezTo>
                <a:cubicBezTo>
                  <a:pt x="142185" y="72461"/>
                  <a:pt x="142126" y="72366"/>
                  <a:pt x="142078" y="72366"/>
                </a:cubicBezTo>
                <a:close/>
                <a:moveTo>
                  <a:pt x="152401" y="72604"/>
                </a:moveTo>
                <a:cubicBezTo>
                  <a:pt x="152365" y="72652"/>
                  <a:pt x="152282" y="72700"/>
                  <a:pt x="152282" y="72807"/>
                </a:cubicBezTo>
                <a:cubicBezTo>
                  <a:pt x="152282" y="72807"/>
                  <a:pt x="152532" y="72890"/>
                  <a:pt x="152603" y="72890"/>
                </a:cubicBezTo>
                <a:lnTo>
                  <a:pt x="153020" y="72890"/>
                </a:lnTo>
                <a:cubicBezTo>
                  <a:pt x="153270" y="72890"/>
                  <a:pt x="153401" y="73104"/>
                  <a:pt x="153651" y="73104"/>
                </a:cubicBezTo>
                <a:cubicBezTo>
                  <a:pt x="153687" y="73104"/>
                  <a:pt x="153758" y="73104"/>
                  <a:pt x="153758" y="73069"/>
                </a:cubicBezTo>
                <a:cubicBezTo>
                  <a:pt x="153758" y="72890"/>
                  <a:pt x="153567" y="72854"/>
                  <a:pt x="153544" y="72676"/>
                </a:cubicBezTo>
                <a:lnTo>
                  <a:pt x="153496" y="72700"/>
                </a:lnTo>
                <a:cubicBezTo>
                  <a:pt x="153449" y="72700"/>
                  <a:pt x="153398" y="72711"/>
                  <a:pt x="153353" y="72711"/>
                </a:cubicBezTo>
                <a:cubicBezTo>
                  <a:pt x="153293" y="72711"/>
                  <a:pt x="153242" y="72692"/>
                  <a:pt x="153222" y="72604"/>
                </a:cubicBezTo>
                <a:close/>
                <a:moveTo>
                  <a:pt x="151485" y="72676"/>
                </a:moveTo>
                <a:cubicBezTo>
                  <a:pt x="151404" y="72676"/>
                  <a:pt x="151341" y="72714"/>
                  <a:pt x="151341" y="72807"/>
                </a:cubicBezTo>
                <a:cubicBezTo>
                  <a:pt x="151341" y="72973"/>
                  <a:pt x="151555" y="73212"/>
                  <a:pt x="151662" y="73212"/>
                </a:cubicBezTo>
                <a:cubicBezTo>
                  <a:pt x="151722" y="73212"/>
                  <a:pt x="151841" y="72973"/>
                  <a:pt x="151841" y="72938"/>
                </a:cubicBezTo>
                <a:cubicBezTo>
                  <a:pt x="151841" y="72800"/>
                  <a:pt x="151633" y="72676"/>
                  <a:pt x="151485" y="72676"/>
                </a:cubicBezTo>
                <a:close/>
                <a:moveTo>
                  <a:pt x="146709" y="66425"/>
                </a:moveTo>
                <a:cubicBezTo>
                  <a:pt x="146424" y="66425"/>
                  <a:pt x="146031" y="67247"/>
                  <a:pt x="145876" y="67592"/>
                </a:cubicBezTo>
                <a:cubicBezTo>
                  <a:pt x="145805" y="67770"/>
                  <a:pt x="145388" y="67663"/>
                  <a:pt x="145233" y="67854"/>
                </a:cubicBezTo>
                <a:cubicBezTo>
                  <a:pt x="145197" y="67901"/>
                  <a:pt x="145174" y="68009"/>
                  <a:pt x="145114" y="68032"/>
                </a:cubicBezTo>
                <a:cubicBezTo>
                  <a:pt x="145031" y="68068"/>
                  <a:pt x="145043" y="68116"/>
                  <a:pt x="144935" y="68175"/>
                </a:cubicBezTo>
                <a:cubicBezTo>
                  <a:pt x="144935" y="68175"/>
                  <a:pt x="144745" y="68354"/>
                  <a:pt x="144816" y="68437"/>
                </a:cubicBezTo>
                <a:cubicBezTo>
                  <a:pt x="144662" y="68616"/>
                  <a:pt x="144662" y="68830"/>
                  <a:pt x="144400" y="68901"/>
                </a:cubicBezTo>
                <a:cubicBezTo>
                  <a:pt x="144197" y="68937"/>
                  <a:pt x="144019" y="68937"/>
                  <a:pt x="143888" y="69092"/>
                </a:cubicBezTo>
                <a:cubicBezTo>
                  <a:pt x="143638" y="69402"/>
                  <a:pt x="143709" y="70068"/>
                  <a:pt x="143149" y="70068"/>
                </a:cubicBezTo>
                <a:cubicBezTo>
                  <a:pt x="143030" y="70068"/>
                  <a:pt x="142886" y="70036"/>
                  <a:pt x="142764" y="70036"/>
                </a:cubicBezTo>
                <a:cubicBezTo>
                  <a:pt x="142619" y="70036"/>
                  <a:pt x="142507" y="70082"/>
                  <a:pt x="142507" y="70283"/>
                </a:cubicBezTo>
                <a:cubicBezTo>
                  <a:pt x="142507" y="70390"/>
                  <a:pt x="142697" y="71176"/>
                  <a:pt x="142780" y="71199"/>
                </a:cubicBezTo>
                <a:cubicBezTo>
                  <a:pt x="142876" y="71223"/>
                  <a:pt x="142983" y="71223"/>
                  <a:pt x="143019" y="71330"/>
                </a:cubicBezTo>
                <a:cubicBezTo>
                  <a:pt x="143019" y="71354"/>
                  <a:pt x="142995" y="71414"/>
                  <a:pt x="142995" y="71438"/>
                </a:cubicBezTo>
                <a:cubicBezTo>
                  <a:pt x="143233" y="71878"/>
                  <a:pt x="142947" y="72628"/>
                  <a:pt x="143614" y="72628"/>
                </a:cubicBezTo>
                <a:cubicBezTo>
                  <a:pt x="143745" y="72628"/>
                  <a:pt x="143836" y="72518"/>
                  <a:pt x="143960" y="72518"/>
                </a:cubicBezTo>
                <a:cubicBezTo>
                  <a:pt x="143971" y="72518"/>
                  <a:pt x="143983" y="72519"/>
                  <a:pt x="143995" y="72521"/>
                </a:cubicBezTo>
                <a:cubicBezTo>
                  <a:pt x="144019" y="72604"/>
                  <a:pt x="143995" y="72854"/>
                  <a:pt x="144031" y="72854"/>
                </a:cubicBezTo>
                <a:cubicBezTo>
                  <a:pt x="144090" y="72854"/>
                  <a:pt x="144126" y="72962"/>
                  <a:pt x="144173" y="72962"/>
                </a:cubicBezTo>
                <a:cubicBezTo>
                  <a:pt x="144400" y="72962"/>
                  <a:pt x="144483" y="72723"/>
                  <a:pt x="144626" y="72723"/>
                </a:cubicBezTo>
                <a:cubicBezTo>
                  <a:pt x="144935" y="72723"/>
                  <a:pt x="145138" y="72973"/>
                  <a:pt x="145424" y="73069"/>
                </a:cubicBezTo>
                <a:cubicBezTo>
                  <a:pt x="145424" y="73200"/>
                  <a:pt x="145483" y="73366"/>
                  <a:pt x="145662" y="73366"/>
                </a:cubicBezTo>
                <a:cubicBezTo>
                  <a:pt x="145900" y="73366"/>
                  <a:pt x="145936" y="73104"/>
                  <a:pt x="146221" y="73021"/>
                </a:cubicBezTo>
                <a:cubicBezTo>
                  <a:pt x="146221" y="72783"/>
                  <a:pt x="146448" y="72461"/>
                  <a:pt x="146448" y="72283"/>
                </a:cubicBezTo>
                <a:cubicBezTo>
                  <a:pt x="146448" y="72176"/>
                  <a:pt x="146352" y="72128"/>
                  <a:pt x="146352" y="71985"/>
                </a:cubicBezTo>
                <a:cubicBezTo>
                  <a:pt x="146352" y="71854"/>
                  <a:pt x="146531" y="71521"/>
                  <a:pt x="146745" y="71485"/>
                </a:cubicBezTo>
                <a:cubicBezTo>
                  <a:pt x="146745" y="71116"/>
                  <a:pt x="146900" y="70985"/>
                  <a:pt x="146983" y="70509"/>
                </a:cubicBezTo>
                <a:lnTo>
                  <a:pt x="147079" y="70283"/>
                </a:lnTo>
                <a:cubicBezTo>
                  <a:pt x="147126" y="70271"/>
                  <a:pt x="147210" y="70247"/>
                  <a:pt x="147257" y="70247"/>
                </a:cubicBezTo>
                <a:cubicBezTo>
                  <a:pt x="147336" y="70247"/>
                  <a:pt x="147406" y="70263"/>
                  <a:pt x="147466" y="70263"/>
                </a:cubicBezTo>
                <a:cubicBezTo>
                  <a:pt x="147559" y="70263"/>
                  <a:pt x="147626" y="70224"/>
                  <a:pt x="147662" y="70021"/>
                </a:cubicBezTo>
                <a:cubicBezTo>
                  <a:pt x="147329" y="70021"/>
                  <a:pt x="146840" y="68937"/>
                  <a:pt x="146840" y="68616"/>
                </a:cubicBezTo>
                <a:cubicBezTo>
                  <a:pt x="146840" y="68544"/>
                  <a:pt x="146912" y="68485"/>
                  <a:pt x="146971" y="68461"/>
                </a:cubicBezTo>
                <a:cubicBezTo>
                  <a:pt x="146948" y="68401"/>
                  <a:pt x="146912" y="68330"/>
                  <a:pt x="146900" y="68270"/>
                </a:cubicBezTo>
                <a:cubicBezTo>
                  <a:pt x="146900" y="68270"/>
                  <a:pt x="147388" y="68032"/>
                  <a:pt x="147424" y="67961"/>
                </a:cubicBezTo>
                <a:cubicBezTo>
                  <a:pt x="147388" y="67961"/>
                  <a:pt x="147352" y="67901"/>
                  <a:pt x="147352" y="67854"/>
                </a:cubicBezTo>
                <a:cubicBezTo>
                  <a:pt x="147352" y="67663"/>
                  <a:pt x="147745" y="67794"/>
                  <a:pt x="147745" y="67592"/>
                </a:cubicBezTo>
                <a:cubicBezTo>
                  <a:pt x="147745" y="67163"/>
                  <a:pt x="146983" y="67425"/>
                  <a:pt x="146983" y="66961"/>
                </a:cubicBezTo>
                <a:cubicBezTo>
                  <a:pt x="146983" y="66639"/>
                  <a:pt x="147019" y="66425"/>
                  <a:pt x="146709" y="66425"/>
                </a:cubicBezTo>
                <a:close/>
                <a:moveTo>
                  <a:pt x="164402" y="72366"/>
                </a:moveTo>
                <a:cubicBezTo>
                  <a:pt x="164450" y="72545"/>
                  <a:pt x="164581" y="72521"/>
                  <a:pt x="164724" y="72628"/>
                </a:cubicBezTo>
                <a:cubicBezTo>
                  <a:pt x="164962" y="72807"/>
                  <a:pt x="164926" y="73045"/>
                  <a:pt x="165164" y="73176"/>
                </a:cubicBezTo>
                <a:cubicBezTo>
                  <a:pt x="165128" y="73390"/>
                  <a:pt x="165128" y="73545"/>
                  <a:pt x="165343" y="73593"/>
                </a:cubicBezTo>
                <a:cubicBezTo>
                  <a:pt x="165355" y="73604"/>
                  <a:pt x="165367" y="73608"/>
                  <a:pt x="165378" y="73608"/>
                </a:cubicBezTo>
                <a:cubicBezTo>
                  <a:pt x="165402" y="73608"/>
                  <a:pt x="165426" y="73593"/>
                  <a:pt x="165450" y="73593"/>
                </a:cubicBezTo>
                <a:cubicBezTo>
                  <a:pt x="165438" y="73545"/>
                  <a:pt x="165450" y="73473"/>
                  <a:pt x="165450" y="73438"/>
                </a:cubicBezTo>
                <a:cubicBezTo>
                  <a:pt x="165450" y="73128"/>
                  <a:pt x="165259" y="73176"/>
                  <a:pt x="165105" y="72997"/>
                </a:cubicBezTo>
                <a:cubicBezTo>
                  <a:pt x="164914" y="72759"/>
                  <a:pt x="164747" y="72497"/>
                  <a:pt x="164402" y="72366"/>
                </a:cubicBezTo>
                <a:close/>
                <a:moveTo>
                  <a:pt x="150734" y="69747"/>
                </a:moveTo>
                <a:cubicBezTo>
                  <a:pt x="150519" y="69914"/>
                  <a:pt x="150269" y="70116"/>
                  <a:pt x="150162" y="70247"/>
                </a:cubicBezTo>
                <a:lnTo>
                  <a:pt x="150007" y="70247"/>
                </a:lnTo>
                <a:lnTo>
                  <a:pt x="148745" y="69985"/>
                </a:lnTo>
                <a:cubicBezTo>
                  <a:pt x="148269" y="69985"/>
                  <a:pt x="148055" y="70699"/>
                  <a:pt x="148055" y="71223"/>
                </a:cubicBezTo>
                <a:cubicBezTo>
                  <a:pt x="148055" y="71354"/>
                  <a:pt x="147912" y="71461"/>
                  <a:pt x="147888" y="71545"/>
                </a:cubicBezTo>
                <a:cubicBezTo>
                  <a:pt x="147769" y="72045"/>
                  <a:pt x="147567" y="72247"/>
                  <a:pt x="147567" y="72723"/>
                </a:cubicBezTo>
                <a:cubicBezTo>
                  <a:pt x="147567" y="72985"/>
                  <a:pt x="147817" y="72985"/>
                  <a:pt x="147924" y="72997"/>
                </a:cubicBezTo>
                <a:lnTo>
                  <a:pt x="147924" y="74045"/>
                </a:lnTo>
                <a:cubicBezTo>
                  <a:pt x="147924" y="74176"/>
                  <a:pt x="148079" y="74319"/>
                  <a:pt x="148222" y="74319"/>
                </a:cubicBezTo>
                <a:cubicBezTo>
                  <a:pt x="148424" y="74319"/>
                  <a:pt x="148495" y="73569"/>
                  <a:pt x="148495" y="73462"/>
                </a:cubicBezTo>
                <a:cubicBezTo>
                  <a:pt x="148495" y="73176"/>
                  <a:pt x="148329" y="73021"/>
                  <a:pt x="148329" y="72735"/>
                </a:cubicBezTo>
                <a:cubicBezTo>
                  <a:pt x="148329" y="72592"/>
                  <a:pt x="148472" y="72485"/>
                  <a:pt x="148603" y="72485"/>
                </a:cubicBezTo>
                <a:cubicBezTo>
                  <a:pt x="148634" y="72485"/>
                  <a:pt x="148661" y="72491"/>
                  <a:pt x="148692" y="72491"/>
                </a:cubicBezTo>
                <a:cubicBezTo>
                  <a:pt x="148708" y="72491"/>
                  <a:pt x="148726" y="72489"/>
                  <a:pt x="148745" y="72485"/>
                </a:cubicBezTo>
                <a:lnTo>
                  <a:pt x="148745" y="72485"/>
                </a:lnTo>
                <a:lnTo>
                  <a:pt x="148674" y="72938"/>
                </a:lnTo>
                <a:cubicBezTo>
                  <a:pt x="148674" y="73212"/>
                  <a:pt x="148960" y="73331"/>
                  <a:pt x="148960" y="73604"/>
                </a:cubicBezTo>
                <a:cubicBezTo>
                  <a:pt x="148960" y="73676"/>
                  <a:pt x="148984" y="73735"/>
                  <a:pt x="148960" y="73807"/>
                </a:cubicBezTo>
                <a:lnTo>
                  <a:pt x="149198" y="73807"/>
                </a:lnTo>
                <a:cubicBezTo>
                  <a:pt x="149198" y="73569"/>
                  <a:pt x="149591" y="73593"/>
                  <a:pt x="149591" y="73354"/>
                </a:cubicBezTo>
                <a:cubicBezTo>
                  <a:pt x="149519" y="73331"/>
                  <a:pt x="149341" y="73092"/>
                  <a:pt x="149341" y="72962"/>
                </a:cubicBezTo>
                <a:cubicBezTo>
                  <a:pt x="149341" y="72914"/>
                  <a:pt x="149400" y="72866"/>
                  <a:pt x="149412" y="72831"/>
                </a:cubicBezTo>
                <a:cubicBezTo>
                  <a:pt x="149305" y="72759"/>
                  <a:pt x="148960" y="71985"/>
                  <a:pt x="148960" y="71914"/>
                </a:cubicBezTo>
                <a:cubicBezTo>
                  <a:pt x="149472" y="71914"/>
                  <a:pt x="149507" y="71438"/>
                  <a:pt x="149924" y="71283"/>
                </a:cubicBezTo>
                <a:lnTo>
                  <a:pt x="149924" y="71116"/>
                </a:lnTo>
                <a:cubicBezTo>
                  <a:pt x="149921" y="71115"/>
                  <a:pt x="149916" y="71115"/>
                  <a:pt x="149911" y="71115"/>
                </a:cubicBezTo>
                <a:cubicBezTo>
                  <a:pt x="149756" y="71115"/>
                  <a:pt x="148876" y="71431"/>
                  <a:pt x="148830" y="71495"/>
                </a:cubicBezTo>
                <a:lnTo>
                  <a:pt x="148830" y="71495"/>
                </a:lnTo>
                <a:lnTo>
                  <a:pt x="148876" y="71414"/>
                </a:lnTo>
                <a:lnTo>
                  <a:pt x="148876" y="71414"/>
                </a:lnTo>
                <a:cubicBezTo>
                  <a:pt x="148805" y="71521"/>
                  <a:pt x="148781" y="71628"/>
                  <a:pt x="148674" y="71628"/>
                </a:cubicBezTo>
                <a:cubicBezTo>
                  <a:pt x="148400" y="71628"/>
                  <a:pt x="148293" y="71223"/>
                  <a:pt x="148293" y="70890"/>
                </a:cubicBezTo>
                <a:cubicBezTo>
                  <a:pt x="148293" y="70581"/>
                  <a:pt x="148441" y="70538"/>
                  <a:pt x="148640" y="70538"/>
                </a:cubicBezTo>
                <a:cubicBezTo>
                  <a:pt x="148717" y="70538"/>
                  <a:pt x="148802" y="70545"/>
                  <a:pt x="148888" y="70545"/>
                </a:cubicBezTo>
                <a:cubicBezTo>
                  <a:pt x="149198" y="70545"/>
                  <a:pt x="149329" y="70461"/>
                  <a:pt x="149579" y="70461"/>
                </a:cubicBezTo>
                <a:cubicBezTo>
                  <a:pt x="149817" y="70461"/>
                  <a:pt x="149972" y="70616"/>
                  <a:pt x="150210" y="70616"/>
                </a:cubicBezTo>
                <a:cubicBezTo>
                  <a:pt x="150579" y="70616"/>
                  <a:pt x="150698" y="70247"/>
                  <a:pt x="150758" y="69914"/>
                </a:cubicBezTo>
                <a:cubicBezTo>
                  <a:pt x="150805" y="69914"/>
                  <a:pt x="150829" y="69806"/>
                  <a:pt x="150841" y="69747"/>
                </a:cubicBezTo>
                <a:close/>
                <a:moveTo>
                  <a:pt x="135446" y="67306"/>
                </a:moveTo>
                <a:lnTo>
                  <a:pt x="135446" y="67485"/>
                </a:lnTo>
                <a:cubicBezTo>
                  <a:pt x="135494" y="67699"/>
                  <a:pt x="135791" y="68306"/>
                  <a:pt x="135934" y="68354"/>
                </a:cubicBezTo>
                <a:cubicBezTo>
                  <a:pt x="136101" y="68401"/>
                  <a:pt x="136280" y="68354"/>
                  <a:pt x="136351" y="68544"/>
                </a:cubicBezTo>
                <a:cubicBezTo>
                  <a:pt x="136458" y="68806"/>
                  <a:pt x="136518" y="68937"/>
                  <a:pt x="136625" y="69199"/>
                </a:cubicBezTo>
                <a:cubicBezTo>
                  <a:pt x="136744" y="69509"/>
                  <a:pt x="137161" y="69413"/>
                  <a:pt x="137292" y="69914"/>
                </a:cubicBezTo>
                <a:cubicBezTo>
                  <a:pt x="137327" y="70092"/>
                  <a:pt x="137458" y="70616"/>
                  <a:pt x="137542" y="70676"/>
                </a:cubicBezTo>
                <a:cubicBezTo>
                  <a:pt x="137601" y="70723"/>
                  <a:pt x="137815" y="70747"/>
                  <a:pt x="137839" y="70783"/>
                </a:cubicBezTo>
                <a:cubicBezTo>
                  <a:pt x="137875" y="70854"/>
                  <a:pt x="137839" y="70985"/>
                  <a:pt x="137887" y="70985"/>
                </a:cubicBezTo>
                <a:cubicBezTo>
                  <a:pt x="137946" y="70985"/>
                  <a:pt x="138161" y="71414"/>
                  <a:pt x="138196" y="71521"/>
                </a:cubicBezTo>
                <a:cubicBezTo>
                  <a:pt x="138399" y="72021"/>
                  <a:pt x="138542" y="72414"/>
                  <a:pt x="138899" y="72854"/>
                </a:cubicBezTo>
                <a:cubicBezTo>
                  <a:pt x="139232" y="73235"/>
                  <a:pt x="139554" y="73414"/>
                  <a:pt x="139899" y="73831"/>
                </a:cubicBezTo>
                <a:cubicBezTo>
                  <a:pt x="139923" y="73843"/>
                  <a:pt x="140244" y="74414"/>
                  <a:pt x="140340" y="74414"/>
                </a:cubicBezTo>
                <a:cubicBezTo>
                  <a:pt x="140459" y="74414"/>
                  <a:pt x="140828" y="74343"/>
                  <a:pt x="140828" y="74105"/>
                </a:cubicBezTo>
                <a:cubicBezTo>
                  <a:pt x="140828" y="73890"/>
                  <a:pt x="140733" y="73593"/>
                  <a:pt x="140923" y="73497"/>
                </a:cubicBezTo>
                <a:lnTo>
                  <a:pt x="140923" y="72569"/>
                </a:lnTo>
                <a:cubicBezTo>
                  <a:pt x="140923" y="72354"/>
                  <a:pt x="140661" y="72283"/>
                  <a:pt x="140554" y="72152"/>
                </a:cubicBezTo>
                <a:cubicBezTo>
                  <a:pt x="140352" y="71914"/>
                  <a:pt x="140137" y="71783"/>
                  <a:pt x="140137" y="71330"/>
                </a:cubicBezTo>
                <a:cubicBezTo>
                  <a:pt x="139935" y="71330"/>
                  <a:pt x="139792" y="71271"/>
                  <a:pt x="139792" y="70985"/>
                </a:cubicBezTo>
                <a:lnTo>
                  <a:pt x="139863" y="70771"/>
                </a:lnTo>
                <a:cubicBezTo>
                  <a:pt x="139828" y="70676"/>
                  <a:pt x="139768" y="70568"/>
                  <a:pt x="139697" y="70568"/>
                </a:cubicBezTo>
                <a:lnTo>
                  <a:pt x="139554" y="70568"/>
                </a:lnTo>
                <a:cubicBezTo>
                  <a:pt x="139554" y="70545"/>
                  <a:pt x="139590" y="70485"/>
                  <a:pt x="139590" y="70461"/>
                </a:cubicBezTo>
                <a:cubicBezTo>
                  <a:pt x="139590" y="70140"/>
                  <a:pt x="139280" y="70033"/>
                  <a:pt x="139018" y="69914"/>
                </a:cubicBezTo>
                <a:cubicBezTo>
                  <a:pt x="138506" y="69723"/>
                  <a:pt x="138304" y="69437"/>
                  <a:pt x="137958" y="69032"/>
                </a:cubicBezTo>
                <a:cubicBezTo>
                  <a:pt x="137780" y="68806"/>
                  <a:pt x="137649" y="68544"/>
                  <a:pt x="137387" y="68437"/>
                </a:cubicBezTo>
                <a:cubicBezTo>
                  <a:pt x="137315" y="68425"/>
                  <a:pt x="137220" y="68437"/>
                  <a:pt x="137184" y="68330"/>
                </a:cubicBezTo>
                <a:cubicBezTo>
                  <a:pt x="137042" y="67985"/>
                  <a:pt x="136911" y="67663"/>
                  <a:pt x="136518" y="67508"/>
                </a:cubicBezTo>
                <a:lnTo>
                  <a:pt x="135910" y="67508"/>
                </a:lnTo>
                <a:cubicBezTo>
                  <a:pt x="135768" y="67425"/>
                  <a:pt x="135732" y="67306"/>
                  <a:pt x="135553" y="67306"/>
                </a:cubicBezTo>
                <a:close/>
                <a:moveTo>
                  <a:pt x="164843" y="73354"/>
                </a:moveTo>
                <a:cubicBezTo>
                  <a:pt x="164581" y="73354"/>
                  <a:pt x="164688" y="73831"/>
                  <a:pt x="164438" y="73974"/>
                </a:cubicBezTo>
                <a:cubicBezTo>
                  <a:pt x="164271" y="74057"/>
                  <a:pt x="164009" y="74045"/>
                  <a:pt x="163735" y="74152"/>
                </a:cubicBezTo>
                <a:cubicBezTo>
                  <a:pt x="163735" y="74152"/>
                  <a:pt x="163590" y="74225"/>
                  <a:pt x="163542" y="74225"/>
                </a:cubicBezTo>
                <a:cubicBezTo>
                  <a:pt x="163538" y="74225"/>
                  <a:pt x="163535" y="74224"/>
                  <a:pt x="163533" y="74224"/>
                </a:cubicBezTo>
                <a:lnTo>
                  <a:pt x="162985" y="74224"/>
                </a:lnTo>
                <a:cubicBezTo>
                  <a:pt x="163033" y="74474"/>
                  <a:pt x="163307" y="74450"/>
                  <a:pt x="163462" y="74593"/>
                </a:cubicBezTo>
                <a:cubicBezTo>
                  <a:pt x="163473" y="74605"/>
                  <a:pt x="163473" y="74605"/>
                  <a:pt x="163473" y="74605"/>
                </a:cubicBezTo>
                <a:cubicBezTo>
                  <a:pt x="163485" y="74616"/>
                  <a:pt x="163497" y="74640"/>
                  <a:pt x="163509" y="74652"/>
                </a:cubicBezTo>
                <a:lnTo>
                  <a:pt x="163485" y="74616"/>
                </a:lnTo>
                <a:lnTo>
                  <a:pt x="163485" y="74616"/>
                </a:lnTo>
                <a:cubicBezTo>
                  <a:pt x="163557" y="74676"/>
                  <a:pt x="163700" y="74759"/>
                  <a:pt x="163747" y="74759"/>
                </a:cubicBezTo>
                <a:cubicBezTo>
                  <a:pt x="164128" y="74759"/>
                  <a:pt x="164295" y="74521"/>
                  <a:pt x="164616" y="74438"/>
                </a:cubicBezTo>
                <a:cubicBezTo>
                  <a:pt x="164616" y="74045"/>
                  <a:pt x="164997" y="74128"/>
                  <a:pt x="164997" y="73676"/>
                </a:cubicBezTo>
                <a:cubicBezTo>
                  <a:pt x="164997" y="73545"/>
                  <a:pt x="164950" y="73354"/>
                  <a:pt x="164843" y="73354"/>
                </a:cubicBezTo>
                <a:close/>
                <a:moveTo>
                  <a:pt x="167152" y="74807"/>
                </a:moveTo>
                <a:cubicBezTo>
                  <a:pt x="167185" y="74834"/>
                  <a:pt x="167217" y="74855"/>
                  <a:pt x="167246" y="74873"/>
                </a:cubicBezTo>
                <a:lnTo>
                  <a:pt x="167246" y="74873"/>
                </a:lnTo>
                <a:cubicBezTo>
                  <a:pt x="167247" y="74871"/>
                  <a:pt x="167248" y="74869"/>
                  <a:pt x="167248" y="74867"/>
                </a:cubicBezTo>
                <a:lnTo>
                  <a:pt x="167152" y="74807"/>
                </a:lnTo>
                <a:close/>
                <a:moveTo>
                  <a:pt x="166283" y="74152"/>
                </a:moveTo>
                <a:cubicBezTo>
                  <a:pt x="166248" y="74366"/>
                  <a:pt x="166319" y="74593"/>
                  <a:pt x="166545" y="74628"/>
                </a:cubicBezTo>
                <a:lnTo>
                  <a:pt x="166545" y="74807"/>
                </a:lnTo>
                <a:cubicBezTo>
                  <a:pt x="166545" y="74867"/>
                  <a:pt x="166593" y="74950"/>
                  <a:pt x="166652" y="74950"/>
                </a:cubicBezTo>
                <a:cubicBezTo>
                  <a:pt x="166700" y="74950"/>
                  <a:pt x="166771" y="74843"/>
                  <a:pt x="166771" y="74783"/>
                </a:cubicBezTo>
                <a:cubicBezTo>
                  <a:pt x="166771" y="74712"/>
                  <a:pt x="166390" y="74235"/>
                  <a:pt x="166283" y="74152"/>
                </a:cubicBezTo>
                <a:close/>
                <a:moveTo>
                  <a:pt x="167246" y="74873"/>
                </a:moveTo>
                <a:cubicBezTo>
                  <a:pt x="167235" y="74890"/>
                  <a:pt x="167174" y="74890"/>
                  <a:pt x="167152" y="74890"/>
                </a:cubicBezTo>
                <a:lnTo>
                  <a:pt x="167426" y="75105"/>
                </a:lnTo>
                <a:lnTo>
                  <a:pt x="167593" y="75105"/>
                </a:lnTo>
                <a:cubicBezTo>
                  <a:pt x="167503" y="74945"/>
                  <a:pt x="167397" y="74961"/>
                  <a:pt x="167246" y="74873"/>
                </a:cubicBezTo>
                <a:close/>
                <a:moveTo>
                  <a:pt x="155734" y="74224"/>
                </a:moveTo>
                <a:cubicBezTo>
                  <a:pt x="155615" y="74235"/>
                  <a:pt x="155627" y="74438"/>
                  <a:pt x="155627" y="74593"/>
                </a:cubicBezTo>
                <a:cubicBezTo>
                  <a:pt x="155627" y="74712"/>
                  <a:pt x="155449" y="74736"/>
                  <a:pt x="155449" y="74950"/>
                </a:cubicBezTo>
                <a:cubicBezTo>
                  <a:pt x="155449" y="75021"/>
                  <a:pt x="155496" y="75128"/>
                  <a:pt x="155556" y="75128"/>
                </a:cubicBezTo>
                <a:cubicBezTo>
                  <a:pt x="155699" y="75128"/>
                  <a:pt x="155663" y="74890"/>
                  <a:pt x="155663" y="74676"/>
                </a:cubicBezTo>
                <a:cubicBezTo>
                  <a:pt x="155758" y="74676"/>
                  <a:pt x="155818" y="74593"/>
                  <a:pt x="155818" y="74450"/>
                </a:cubicBezTo>
                <a:cubicBezTo>
                  <a:pt x="155818" y="74307"/>
                  <a:pt x="155782" y="74390"/>
                  <a:pt x="155734" y="74224"/>
                </a:cubicBezTo>
                <a:close/>
                <a:moveTo>
                  <a:pt x="168045" y="75343"/>
                </a:moveTo>
                <a:lnTo>
                  <a:pt x="168010" y="75414"/>
                </a:lnTo>
                <a:lnTo>
                  <a:pt x="167974" y="75414"/>
                </a:lnTo>
                <a:cubicBezTo>
                  <a:pt x="167974" y="75652"/>
                  <a:pt x="168391" y="75819"/>
                  <a:pt x="168534" y="75819"/>
                </a:cubicBezTo>
                <a:cubicBezTo>
                  <a:pt x="168593" y="75819"/>
                  <a:pt x="168641" y="75807"/>
                  <a:pt x="168676" y="75783"/>
                </a:cubicBezTo>
                <a:cubicBezTo>
                  <a:pt x="168569" y="75581"/>
                  <a:pt x="168212" y="75450"/>
                  <a:pt x="168045" y="75343"/>
                </a:cubicBezTo>
                <a:close/>
                <a:moveTo>
                  <a:pt x="141602" y="74414"/>
                </a:moveTo>
                <a:cubicBezTo>
                  <a:pt x="141495" y="74414"/>
                  <a:pt x="141423" y="74545"/>
                  <a:pt x="141316" y="74545"/>
                </a:cubicBezTo>
                <a:cubicBezTo>
                  <a:pt x="141256" y="74545"/>
                  <a:pt x="141221" y="74450"/>
                  <a:pt x="141173" y="74450"/>
                </a:cubicBezTo>
                <a:cubicBezTo>
                  <a:pt x="141054" y="74450"/>
                  <a:pt x="140733" y="74843"/>
                  <a:pt x="140721" y="74914"/>
                </a:cubicBezTo>
                <a:cubicBezTo>
                  <a:pt x="140983" y="74914"/>
                  <a:pt x="141137" y="75176"/>
                  <a:pt x="141316" y="75390"/>
                </a:cubicBezTo>
                <a:cubicBezTo>
                  <a:pt x="141382" y="75470"/>
                  <a:pt x="141461" y="75490"/>
                  <a:pt x="141548" y="75490"/>
                </a:cubicBezTo>
                <a:cubicBezTo>
                  <a:pt x="141643" y="75490"/>
                  <a:pt x="141749" y="75465"/>
                  <a:pt x="141857" y="75465"/>
                </a:cubicBezTo>
                <a:cubicBezTo>
                  <a:pt x="141918" y="75465"/>
                  <a:pt x="141980" y="75473"/>
                  <a:pt x="142042" y="75498"/>
                </a:cubicBezTo>
                <a:cubicBezTo>
                  <a:pt x="142399" y="75629"/>
                  <a:pt x="142697" y="75652"/>
                  <a:pt x="143030" y="75652"/>
                </a:cubicBezTo>
                <a:cubicBezTo>
                  <a:pt x="143221" y="75652"/>
                  <a:pt x="143269" y="75938"/>
                  <a:pt x="143495" y="75938"/>
                </a:cubicBezTo>
                <a:cubicBezTo>
                  <a:pt x="144197" y="75938"/>
                  <a:pt x="144816" y="75974"/>
                  <a:pt x="145412" y="76260"/>
                </a:cubicBezTo>
                <a:cubicBezTo>
                  <a:pt x="145388" y="76188"/>
                  <a:pt x="145352" y="76045"/>
                  <a:pt x="145412" y="76045"/>
                </a:cubicBezTo>
                <a:cubicBezTo>
                  <a:pt x="145626" y="76045"/>
                  <a:pt x="145614" y="76188"/>
                  <a:pt x="145793" y="76188"/>
                </a:cubicBezTo>
                <a:cubicBezTo>
                  <a:pt x="145828" y="76188"/>
                  <a:pt x="145959" y="76045"/>
                  <a:pt x="145983" y="75950"/>
                </a:cubicBezTo>
                <a:cubicBezTo>
                  <a:pt x="145864" y="75890"/>
                  <a:pt x="145864" y="75819"/>
                  <a:pt x="145697" y="75759"/>
                </a:cubicBezTo>
                <a:cubicBezTo>
                  <a:pt x="145669" y="75747"/>
                  <a:pt x="145641" y="75742"/>
                  <a:pt x="145614" y="75742"/>
                </a:cubicBezTo>
                <a:cubicBezTo>
                  <a:pt x="145537" y="75742"/>
                  <a:pt x="145463" y="75777"/>
                  <a:pt x="145395" y="75777"/>
                </a:cubicBezTo>
                <a:cubicBezTo>
                  <a:pt x="145350" y="75777"/>
                  <a:pt x="145307" y="75762"/>
                  <a:pt x="145269" y="75712"/>
                </a:cubicBezTo>
                <a:cubicBezTo>
                  <a:pt x="145233" y="75676"/>
                  <a:pt x="145233" y="75521"/>
                  <a:pt x="145114" y="75521"/>
                </a:cubicBezTo>
                <a:cubicBezTo>
                  <a:pt x="144793" y="75521"/>
                  <a:pt x="144554" y="75474"/>
                  <a:pt x="144364" y="75236"/>
                </a:cubicBezTo>
                <a:lnTo>
                  <a:pt x="144364" y="75236"/>
                </a:lnTo>
                <a:cubicBezTo>
                  <a:pt x="144369" y="75239"/>
                  <a:pt x="144386" y="75241"/>
                  <a:pt x="144412" y="75241"/>
                </a:cubicBezTo>
                <a:cubicBezTo>
                  <a:pt x="144564" y="75241"/>
                  <a:pt x="145010" y="75183"/>
                  <a:pt x="145031" y="75081"/>
                </a:cubicBezTo>
                <a:lnTo>
                  <a:pt x="144888" y="75081"/>
                </a:lnTo>
                <a:lnTo>
                  <a:pt x="144340" y="75176"/>
                </a:lnTo>
                <a:cubicBezTo>
                  <a:pt x="144019" y="75176"/>
                  <a:pt x="143888" y="74783"/>
                  <a:pt x="143530" y="74783"/>
                </a:cubicBezTo>
                <a:cubicBezTo>
                  <a:pt x="143304" y="74783"/>
                  <a:pt x="143257" y="75105"/>
                  <a:pt x="142983" y="75105"/>
                </a:cubicBezTo>
                <a:cubicBezTo>
                  <a:pt x="142387" y="75105"/>
                  <a:pt x="142149" y="74414"/>
                  <a:pt x="141602" y="74414"/>
                </a:cubicBezTo>
                <a:close/>
                <a:moveTo>
                  <a:pt x="146174" y="75950"/>
                </a:moveTo>
                <a:lnTo>
                  <a:pt x="146174" y="76176"/>
                </a:lnTo>
                <a:cubicBezTo>
                  <a:pt x="146174" y="76236"/>
                  <a:pt x="146257" y="76319"/>
                  <a:pt x="146317" y="76319"/>
                </a:cubicBezTo>
                <a:cubicBezTo>
                  <a:pt x="146400" y="76319"/>
                  <a:pt x="146483" y="76236"/>
                  <a:pt x="146495" y="76105"/>
                </a:cubicBezTo>
                <a:cubicBezTo>
                  <a:pt x="146424" y="76069"/>
                  <a:pt x="146424" y="75950"/>
                  <a:pt x="146328" y="75950"/>
                </a:cubicBezTo>
                <a:close/>
                <a:moveTo>
                  <a:pt x="149746" y="75890"/>
                </a:moveTo>
                <a:lnTo>
                  <a:pt x="149746" y="75890"/>
                </a:lnTo>
                <a:cubicBezTo>
                  <a:pt x="149579" y="75974"/>
                  <a:pt x="149484" y="76105"/>
                  <a:pt x="149222" y="76105"/>
                </a:cubicBezTo>
                <a:cubicBezTo>
                  <a:pt x="148948" y="76105"/>
                  <a:pt x="148817" y="75950"/>
                  <a:pt x="148495" y="75950"/>
                </a:cubicBezTo>
                <a:cubicBezTo>
                  <a:pt x="148468" y="75950"/>
                  <a:pt x="148437" y="75949"/>
                  <a:pt x="148406" y="75949"/>
                </a:cubicBezTo>
                <a:cubicBezTo>
                  <a:pt x="148288" y="75949"/>
                  <a:pt x="148162" y="75964"/>
                  <a:pt x="148162" y="76105"/>
                </a:cubicBezTo>
                <a:cubicBezTo>
                  <a:pt x="148162" y="76303"/>
                  <a:pt x="148352" y="76320"/>
                  <a:pt x="148491" y="76320"/>
                </a:cubicBezTo>
                <a:cubicBezTo>
                  <a:pt x="148519" y="76320"/>
                  <a:pt x="148545" y="76319"/>
                  <a:pt x="148567" y="76319"/>
                </a:cubicBezTo>
                <a:lnTo>
                  <a:pt x="149222" y="76319"/>
                </a:lnTo>
                <a:cubicBezTo>
                  <a:pt x="149448" y="76236"/>
                  <a:pt x="149615" y="76176"/>
                  <a:pt x="149746" y="75890"/>
                </a:cubicBezTo>
                <a:close/>
                <a:moveTo>
                  <a:pt x="147257" y="75974"/>
                </a:moveTo>
                <a:cubicBezTo>
                  <a:pt x="147257" y="76045"/>
                  <a:pt x="147245" y="76081"/>
                  <a:pt x="147245" y="76152"/>
                </a:cubicBezTo>
                <a:cubicBezTo>
                  <a:pt x="147150" y="76105"/>
                  <a:pt x="147055" y="76069"/>
                  <a:pt x="146900" y="76069"/>
                </a:cubicBezTo>
                <a:cubicBezTo>
                  <a:pt x="146872" y="76069"/>
                  <a:pt x="146845" y="76068"/>
                  <a:pt x="146819" y="76068"/>
                </a:cubicBezTo>
                <a:cubicBezTo>
                  <a:pt x="146690" y="76068"/>
                  <a:pt x="146590" y="76085"/>
                  <a:pt x="146590" y="76283"/>
                </a:cubicBezTo>
                <a:cubicBezTo>
                  <a:pt x="146590" y="76367"/>
                  <a:pt x="146805" y="76438"/>
                  <a:pt x="146948" y="76438"/>
                </a:cubicBezTo>
                <a:cubicBezTo>
                  <a:pt x="147126" y="76438"/>
                  <a:pt x="147210" y="76307"/>
                  <a:pt x="147388" y="76212"/>
                </a:cubicBezTo>
                <a:lnTo>
                  <a:pt x="147531" y="76307"/>
                </a:lnTo>
                <a:lnTo>
                  <a:pt x="147698" y="76307"/>
                </a:lnTo>
                <a:cubicBezTo>
                  <a:pt x="147662" y="76260"/>
                  <a:pt x="147698" y="76152"/>
                  <a:pt x="147698" y="75974"/>
                </a:cubicBezTo>
                <a:close/>
                <a:moveTo>
                  <a:pt x="169081" y="75867"/>
                </a:moveTo>
                <a:lnTo>
                  <a:pt x="169081" y="75867"/>
                </a:lnTo>
                <a:cubicBezTo>
                  <a:pt x="169093" y="76045"/>
                  <a:pt x="169427" y="76557"/>
                  <a:pt x="169605" y="76557"/>
                </a:cubicBezTo>
                <a:cubicBezTo>
                  <a:pt x="169510" y="76236"/>
                  <a:pt x="169331" y="76045"/>
                  <a:pt x="169081" y="75867"/>
                </a:cubicBezTo>
                <a:close/>
                <a:moveTo>
                  <a:pt x="168986" y="76712"/>
                </a:moveTo>
                <a:cubicBezTo>
                  <a:pt x="168986" y="76974"/>
                  <a:pt x="169272" y="77057"/>
                  <a:pt x="169498" y="77057"/>
                </a:cubicBezTo>
                <a:cubicBezTo>
                  <a:pt x="169510" y="77057"/>
                  <a:pt x="169569" y="77022"/>
                  <a:pt x="169581" y="77022"/>
                </a:cubicBezTo>
                <a:cubicBezTo>
                  <a:pt x="169462" y="76795"/>
                  <a:pt x="169272" y="76712"/>
                  <a:pt x="168986" y="76712"/>
                </a:cubicBezTo>
                <a:close/>
                <a:moveTo>
                  <a:pt x="147982" y="76578"/>
                </a:moveTo>
                <a:cubicBezTo>
                  <a:pt x="147874" y="76578"/>
                  <a:pt x="147769" y="76595"/>
                  <a:pt x="147769" y="76712"/>
                </a:cubicBezTo>
                <a:cubicBezTo>
                  <a:pt x="147769" y="76926"/>
                  <a:pt x="148055" y="76950"/>
                  <a:pt x="148233" y="76950"/>
                </a:cubicBezTo>
                <a:cubicBezTo>
                  <a:pt x="148233" y="77022"/>
                  <a:pt x="148257" y="77236"/>
                  <a:pt x="148341" y="77236"/>
                </a:cubicBezTo>
                <a:lnTo>
                  <a:pt x="148424" y="77236"/>
                </a:lnTo>
                <a:cubicBezTo>
                  <a:pt x="148472" y="77236"/>
                  <a:pt x="148567" y="77152"/>
                  <a:pt x="148567" y="77081"/>
                </a:cubicBezTo>
                <a:cubicBezTo>
                  <a:pt x="148567" y="76819"/>
                  <a:pt x="148293" y="76891"/>
                  <a:pt x="148293" y="76581"/>
                </a:cubicBezTo>
                <a:lnTo>
                  <a:pt x="148114" y="76581"/>
                </a:lnTo>
                <a:cubicBezTo>
                  <a:pt x="148075" y="76581"/>
                  <a:pt x="148028" y="76578"/>
                  <a:pt x="147982" y="76578"/>
                </a:cubicBezTo>
                <a:close/>
                <a:moveTo>
                  <a:pt x="151568" y="76066"/>
                </a:moveTo>
                <a:cubicBezTo>
                  <a:pt x="151270" y="76066"/>
                  <a:pt x="150863" y="76154"/>
                  <a:pt x="150734" y="76307"/>
                </a:cubicBezTo>
                <a:cubicBezTo>
                  <a:pt x="150698" y="76343"/>
                  <a:pt x="150698" y="76474"/>
                  <a:pt x="150650" y="76498"/>
                </a:cubicBezTo>
                <a:cubicBezTo>
                  <a:pt x="150377" y="76605"/>
                  <a:pt x="150031" y="76605"/>
                  <a:pt x="150031" y="77081"/>
                </a:cubicBezTo>
                <a:cubicBezTo>
                  <a:pt x="150031" y="77176"/>
                  <a:pt x="150091" y="77283"/>
                  <a:pt x="150162" y="77283"/>
                </a:cubicBezTo>
                <a:cubicBezTo>
                  <a:pt x="150353" y="77283"/>
                  <a:pt x="150662" y="77022"/>
                  <a:pt x="150758" y="76914"/>
                </a:cubicBezTo>
                <a:cubicBezTo>
                  <a:pt x="150805" y="76843"/>
                  <a:pt x="150722" y="76629"/>
                  <a:pt x="150805" y="76629"/>
                </a:cubicBezTo>
                <a:cubicBezTo>
                  <a:pt x="151103" y="76629"/>
                  <a:pt x="151698" y="76450"/>
                  <a:pt x="151877" y="76129"/>
                </a:cubicBezTo>
                <a:cubicBezTo>
                  <a:pt x="151827" y="76086"/>
                  <a:pt x="151710" y="76066"/>
                  <a:pt x="151568" y="76066"/>
                </a:cubicBezTo>
                <a:close/>
                <a:moveTo>
                  <a:pt x="154675" y="70937"/>
                </a:moveTo>
                <a:cubicBezTo>
                  <a:pt x="154341" y="70937"/>
                  <a:pt x="154222" y="71307"/>
                  <a:pt x="153996" y="71307"/>
                </a:cubicBezTo>
                <a:cubicBezTo>
                  <a:pt x="153889" y="71307"/>
                  <a:pt x="153746" y="71378"/>
                  <a:pt x="153746" y="71497"/>
                </a:cubicBezTo>
                <a:cubicBezTo>
                  <a:pt x="153746" y="71807"/>
                  <a:pt x="154187" y="71676"/>
                  <a:pt x="154306" y="71985"/>
                </a:cubicBezTo>
                <a:cubicBezTo>
                  <a:pt x="154329" y="72045"/>
                  <a:pt x="154365" y="72152"/>
                  <a:pt x="154413" y="72176"/>
                </a:cubicBezTo>
                <a:cubicBezTo>
                  <a:pt x="154508" y="72200"/>
                  <a:pt x="154579" y="72247"/>
                  <a:pt x="154675" y="72247"/>
                </a:cubicBezTo>
                <a:cubicBezTo>
                  <a:pt x="154865" y="72247"/>
                  <a:pt x="154996" y="72223"/>
                  <a:pt x="155199" y="72152"/>
                </a:cubicBezTo>
                <a:lnTo>
                  <a:pt x="155318" y="72152"/>
                </a:lnTo>
                <a:cubicBezTo>
                  <a:pt x="155199" y="72414"/>
                  <a:pt x="154651" y="72366"/>
                  <a:pt x="154401" y="72521"/>
                </a:cubicBezTo>
                <a:cubicBezTo>
                  <a:pt x="154437" y="72700"/>
                  <a:pt x="154639" y="72604"/>
                  <a:pt x="154722" y="72783"/>
                </a:cubicBezTo>
                <a:cubicBezTo>
                  <a:pt x="154818" y="72962"/>
                  <a:pt x="154722" y="73045"/>
                  <a:pt x="154818" y="73259"/>
                </a:cubicBezTo>
                <a:cubicBezTo>
                  <a:pt x="154830" y="73331"/>
                  <a:pt x="154937" y="73331"/>
                  <a:pt x="154996" y="73331"/>
                </a:cubicBezTo>
                <a:cubicBezTo>
                  <a:pt x="155139" y="73331"/>
                  <a:pt x="155211" y="73104"/>
                  <a:pt x="155270" y="72938"/>
                </a:cubicBezTo>
                <a:lnTo>
                  <a:pt x="155270" y="73128"/>
                </a:lnTo>
                <a:cubicBezTo>
                  <a:pt x="155295" y="73119"/>
                  <a:pt x="155318" y="73115"/>
                  <a:pt x="155340" y="73115"/>
                </a:cubicBezTo>
                <a:cubicBezTo>
                  <a:pt x="155575" y="73115"/>
                  <a:pt x="155686" y="73593"/>
                  <a:pt x="155937" y="73593"/>
                </a:cubicBezTo>
                <a:cubicBezTo>
                  <a:pt x="156234" y="73593"/>
                  <a:pt x="156723" y="73700"/>
                  <a:pt x="156913" y="73807"/>
                </a:cubicBezTo>
                <a:cubicBezTo>
                  <a:pt x="157104" y="73914"/>
                  <a:pt x="157604" y="74152"/>
                  <a:pt x="157675" y="74414"/>
                </a:cubicBezTo>
                <a:cubicBezTo>
                  <a:pt x="157770" y="74736"/>
                  <a:pt x="157663" y="75045"/>
                  <a:pt x="157913" y="75343"/>
                </a:cubicBezTo>
                <a:cubicBezTo>
                  <a:pt x="157806" y="75414"/>
                  <a:pt x="157461" y="75521"/>
                  <a:pt x="157461" y="75783"/>
                </a:cubicBezTo>
                <a:cubicBezTo>
                  <a:pt x="157461" y="75950"/>
                  <a:pt x="157627" y="75950"/>
                  <a:pt x="157747" y="75950"/>
                </a:cubicBezTo>
                <a:lnTo>
                  <a:pt x="158128" y="75950"/>
                </a:lnTo>
                <a:cubicBezTo>
                  <a:pt x="158128" y="75843"/>
                  <a:pt x="158330" y="75819"/>
                  <a:pt x="158401" y="75819"/>
                </a:cubicBezTo>
                <a:cubicBezTo>
                  <a:pt x="158878" y="75819"/>
                  <a:pt x="158997" y="76498"/>
                  <a:pt x="159473" y="76498"/>
                </a:cubicBezTo>
                <a:lnTo>
                  <a:pt x="160164" y="76498"/>
                </a:lnTo>
                <a:cubicBezTo>
                  <a:pt x="160164" y="76343"/>
                  <a:pt x="160318" y="76260"/>
                  <a:pt x="160247" y="75974"/>
                </a:cubicBezTo>
                <a:cubicBezTo>
                  <a:pt x="160509" y="75819"/>
                  <a:pt x="160473" y="75438"/>
                  <a:pt x="160926" y="75438"/>
                </a:cubicBezTo>
                <a:cubicBezTo>
                  <a:pt x="161521" y="75438"/>
                  <a:pt x="161842" y="76045"/>
                  <a:pt x="162211" y="76474"/>
                </a:cubicBezTo>
                <a:cubicBezTo>
                  <a:pt x="162247" y="76521"/>
                  <a:pt x="162390" y="76557"/>
                  <a:pt x="162390" y="76652"/>
                </a:cubicBezTo>
                <a:cubicBezTo>
                  <a:pt x="162390" y="76891"/>
                  <a:pt x="162807" y="77129"/>
                  <a:pt x="163081" y="77188"/>
                </a:cubicBezTo>
                <a:lnTo>
                  <a:pt x="163545" y="77188"/>
                </a:lnTo>
                <a:cubicBezTo>
                  <a:pt x="163593" y="77236"/>
                  <a:pt x="163854" y="77450"/>
                  <a:pt x="163890" y="77450"/>
                </a:cubicBezTo>
                <a:lnTo>
                  <a:pt x="163997" y="77450"/>
                </a:lnTo>
                <a:cubicBezTo>
                  <a:pt x="163997" y="77295"/>
                  <a:pt x="164128" y="77188"/>
                  <a:pt x="164235" y="77105"/>
                </a:cubicBezTo>
                <a:cubicBezTo>
                  <a:pt x="164188" y="77081"/>
                  <a:pt x="163914" y="77129"/>
                  <a:pt x="163878" y="77022"/>
                </a:cubicBezTo>
                <a:cubicBezTo>
                  <a:pt x="163843" y="76926"/>
                  <a:pt x="163807" y="76795"/>
                  <a:pt x="163700" y="76760"/>
                </a:cubicBezTo>
                <a:cubicBezTo>
                  <a:pt x="163690" y="76756"/>
                  <a:pt x="163679" y="76755"/>
                  <a:pt x="163668" y="76755"/>
                </a:cubicBezTo>
                <a:cubicBezTo>
                  <a:pt x="163633" y="76755"/>
                  <a:pt x="163593" y="76768"/>
                  <a:pt x="163557" y="76768"/>
                </a:cubicBezTo>
                <a:cubicBezTo>
                  <a:pt x="163524" y="76768"/>
                  <a:pt x="163493" y="76757"/>
                  <a:pt x="163473" y="76712"/>
                </a:cubicBezTo>
                <a:cubicBezTo>
                  <a:pt x="163438" y="76629"/>
                  <a:pt x="163390" y="76474"/>
                  <a:pt x="163331" y="76474"/>
                </a:cubicBezTo>
                <a:cubicBezTo>
                  <a:pt x="163200" y="76474"/>
                  <a:pt x="162985" y="76367"/>
                  <a:pt x="162938" y="76260"/>
                </a:cubicBezTo>
                <a:cubicBezTo>
                  <a:pt x="162795" y="75998"/>
                  <a:pt x="162831" y="75843"/>
                  <a:pt x="162640" y="75629"/>
                </a:cubicBezTo>
                <a:cubicBezTo>
                  <a:pt x="162604" y="75581"/>
                  <a:pt x="162295" y="75212"/>
                  <a:pt x="162295" y="75105"/>
                </a:cubicBezTo>
                <a:cubicBezTo>
                  <a:pt x="162295" y="74914"/>
                  <a:pt x="162640" y="74997"/>
                  <a:pt x="162640" y="74759"/>
                </a:cubicBezTo>
                <a:cubicBezTo>
                  <a:pt x="162640" y="74472"/>
                  <a:pt x="162501" y="74445"/>
                  <a:pt x="162352" y="74445"/>
                </a:cubicBezTo>
                <a:cubicBezTo>
                  <a:pt x="162317" y="74445"/>
                  <a:pt x="162281" y="74446"/>
                  <a:pt x="162247" y="74446"/>
                </a:cubicBezTo>
                <a:cubicBezTo>
                  <a:pt x="162185" y="74446"/>
                  <a:pt x="162126" y="74441"/>
                  <a:pt x="162080" y="74414"/>
                </a:cubicBezTo>
                <a:cubicBezTo>
                  <a:pt x="161652" y="74152"/>
                  <a:pt x="161664" y="73569"/>
                  <a:pt x="161080" y="73354"/>
                </a:cubicBezTo>
                <a:cubicBezTo>
                  <a:pt x="160997" y="73331"/>
                  <a:pt x="160854" y="73307"/>
                  <a:pt x="160854" y="73128"/>
                </a:cubicBezTo>
                <a:cubicBezTo>
                  <a:pt x="160628" y="73128"/>
                  <a:pt x="160521" y="72831"/>
                  <a:pt x="160306" y="72831"/>
                </a:cubicBezTo>
                <a:cubicBezTo>
                  <a:pt x="159902" y="72831"/>
                  <a:pt x="159342" y="72604"/>
                  <a:pt x="159080" y="72366"/>
                </a:cubicBezTo>
                <a:lnTo>
                  <a:pt x="159080" y="72342"/>
                </a:lnTo>
                <a:cubicBezTo>
                  <a:pt x="159068" y="72342"/>
                  <a:pt x="159056" y="72342"/>
                  <a:pt x="159032" y="72330"/>
                </a:cubicBezTo>
                <a:cubicBezTo>
                  <a:pt x="159025" y="72323"/>
                  <a:pt x="159012" y="72315"/>
                  <a:pt x="159001" y="72304"/>
                </a:cubicBezTo>
                <a:lnTo>
                  <a:pt x="159001" y="72304"/>
                </a:lnTo>
                <a:lnTo>
                  <a:pt x="159021" y="72330"/>
                </a:lnTo>
                <a:cubicBezTo>
                  <a:pt x="158937" y="72307"/>
                  <a:pt x="158782" y="72247"/>
                  <a:pt x="158711" y="72152"/>
                </a:cubicBezTo>
                <a:lnTo>
                  <a:pt x="158223" y="72152"/>
                </a:lnTo>
                <a:cubicBezTo>
                  <a:pt x="158116" y="72092"/>
                  <a:pt x="157973" y="71830"/>
                  <a:pt x="157747" y="71747"/>
                </a:cubicBezTo>
                <a:cubicBezTo>
                  <a:pt x="157699" y="71723"/>
                  <a:pt x="157556" y="71747"/>
                  <a:pt x="157532" y="71628"/>
                </a:cubicBezTo>
                <a:cubicBezTo>
                  <a:pt x="157318" y="71676"/>
                  <a:pt x="157104" y="72069"/>
                  <a:pt x="156937" y="72128"/>
                </a:cubicBezTo>
                <a:cubicBezTo>
                  <a:pt x="156687" y="72223"/>
                  <a:pt x="156639" y="72247"/>
                  <a:pt x="156496" y="72414"/>
                </a:cubicBezTo>
                <a:cubicBezTo>
                  <a:pt x="156461" y="72461"/>
                  <a:pt x="156306" y="72783"/>
                  <a:pt x="156175" y="72783"/>
                </a:cubicBezTo>
                <a:cubicBezTo>
                  <a:pt x="156068" y="72783"/>
                  <a:pt x="155818" y="72438"/>
                  <a:pt x="155818" y="72342"/>
                </a:cubicBezTo>
                <a:cubicBezTo>
                  <a:pt x="155651" y="72342"/>
                  <a:pt x="155544" y="72259"/>
                  <a:pt x="155544" y="72152"/>
                </a:cubicBezTo>
                <a:lnTo>
                  <a:pt x="155544" y="71378"/>
                </a:lnTo>
                <a:cubicBezTo>
                  <a:pt x="155211" y="71283"/>
                  <a:pt x="154972" y="70937"/>
                  <a:pt x="154675" y="70937"/>
                </a:cubicBezTo>
                <a:close/>
                <a:moveTo>
                  <a:pt x="169784" y="77057"/>
                </a:moveTo>
                <a:cubicBezTo>
                  <a:pt x="169772" y="77188"/>
                  <a:pt x="169891" y="77522"/>
                  <a:pt x="170070" y="77522"/>
                </a:cubicBezTo>
                <a:cubicBezTo>
                  <a:pt x="170058" y="77474"/>
                  <a:pt x="170070" y="77426"/>
                  <a:pt x="170070" y="77391"/>
                </a:cubicBezTo>
                <a:cubicBezTo>
                  <a:pt x="170070" y="77212"/>
                  <a:pt x="169927" y="77176"/>
                  <a:pt x="169784" y="77057"/>
                </a:cubicBezTo>
                <a:close/>
                <a:moveTo>
                  <a:pt x="153959" y="77837"/>
                </a:moveTo>
                <a:cubicBezTo>
                  <a:pt x="153766" y="77837"/>
                  <a:pt x="153630" y="77881"/>
                  <a:pt x="153365" y="77950"/>
                </a:cubicBezTo>
                <a:cubicBezTo>
                  <a:pt x="153436" y="78045"/>
                  <a:pt x="153687" y="78165"/>
                  <a:pt x="153913" y="78165"/>
                </a:cubicBezTo>
                <a:lnTo>
                  <a:pt x="154091" y="78165"/>
                </a:lnTo>
                <a:lnTo>
                  <a:pt x="154091" y="77843"/>
                </a:lnTo>
                <a:cubicBezTo>
                  <a:pt x="154044" y="77839"/>
                  <a:pt x="154000" y="77837"/>
                  <a:pt x="153959" y="77837"/>
                </a:cubicBezTo>
                <a:close/>
                <a:moveTo>
                  <a:pt x="178940" y="80986"/>
                </a:moveTo>
                <a:cubicBezTo>
                  <a:pt x="178821" y="80986"/>
                  <a:pt x="178368" y="81010"/>
                  <a:pt x="178368" y="81272"/>
                </a:cubicBezTo>
                <a:cubicBezTo>
                  <a:pt x="178368" y="81332"/>
                  <a:pt x="178428" y="81474"/>
                  <a:pt x="178487" y="81474"/>
                </a:cubicBezTo>
                <a:cubicBezTo>
                  <a:pt x="178666" y="81474"/>
                  <a:pt x="178713" y="81248"/>
                  <a:pt x="178940" y="81189"/>
                </a:cubicBezTo>
                <a:lnTo>
                  <a:pt x="178940" y="80986"/>
                </a:lnTo>
                <a:close/>
                <a:moveTo>
                  <a:pt x="178071" y="81617"/>
                </a:moveTo>
                <a:cubicBezTo>
                  <a:pt x="177904" y="81689"/>
                  <a:pt x="177654" y="81748"/>
                  <a:pt x="177654" y="82034"/>
                </a:cubicBezTo>
                <a:cubicBezTo>
                  <a:pt x="177654" y="82117"/>
                  <a:pt x="177880" y="82165"/>
                  <a:pt x="178035" y="82165"/>
                </a:cubicBezTo>
                <a:cubicBezTo>
                  <a:pt x="178085" y="82165"/>
                  <a:pt x="178118" y="82169"/>
                  <a:pt x="178144" y="82169"/>
                </a:cubicBezTo>
                <a:cubicBezTo>
                  <a:pt x="178191" y="82169"/>
                  <a:pt x="178215" y="82155"/>
                  <a:pt x="178285" y="82070"/>
                </a:cubicBezTo>
                <a:lnTo>
                  <a:pt x="178285" y="81820"/>
                </a:lnTo>
                <a:cubicBezTo>
                  <a:pt x="178190" y="81796"/>
                  <a:pt x="178118" y="81724"/>
                  <a:pt x="178071" y="81617"/>
                </a:cubicBezTo>
                <a:close/>
                <a:moveTo>
                  <a:pt x="111526" y="78557"/>
                </a:moveTo>
                <a:cubicBezTo>
                  <a:pt x="111443" y="78736"/>
                  <a:pt x="111503" y="79105"/>
                  <a:pt x="111419" y="79212"/>
                </a:cubicBezTo>
                <a:cubicBezTo>
                  <a:pt x="111122" y="79558"/>
                  <a:pt x="110562" y="80379"/>
                  <a:pt x="110145" y="80665"/>
                </a:cubicBezTo>
                <a:cubicBezTo>
                  <a:pt x="109621" y="81034"/>
                  <a:pt x="108967" y="80974"/>
                  <a:pt x="108967" y="82034"/>
                </a:cubicBezTo>
                <a:cubicBezTo>
                  <a:pt x="108967" y="82379"/>
                  <a:pt x="109240" y="82927"/>
                  <a:pt x="109240" y="83165"/>
                </a:cubicBezTo>
                <a:cubicBezTo>
                  <a:pt x="109240" y="83201"/>
                  <a:pt x="108883" y="84141"/>
                  <a:pt x="108883" y="84141"/>
                </a:cubicBezTo>
                <a:cubicBezTo>
                  <a:pt x="108836" y="84141"/>
                  <a:pt x="108514" y="84487"/>
                  <a:pt x="108514" y="84570"/>
                </a:cubicBezTo>
                <a:cubicBezTo>
                  <a:pt x="108514" y="84903"/>
                  <a:pt x="108514" y="85249"/>
                  <a:pt x="108729" y="85439"/>
                </a:cubicBezTo>
                <a:cubicBezTo>
                  <a:pt x="108752" y="85594"/>
                  <a:pt x="108693" y="85701"/>
                  <a:pt x="108693" y="85987"/>
                </a:cubicBezTo>
                <a:cubicBezTo>
                  <a:pt x="108693" y="86547"/>
                  <a:pt x="109098" y="87178"/>
                  <a:pt x="109550" y="87178"/>
                </a:cubicBezTo>
                <a:cubicBezTo>
                  <a:pt x="110657" y="87178"/>
                  <a:pt x="110812" y="85725"/>
                  <a:pt x="111145" y="84749"/>
                </a:cubicBezTo>
                <a:cubicBezTo>
                  <a:pt x="111538" y="83510"/>
                  <a:pt x="111955" y="82427"/>
                  <a:pt x="111955" y="80843"/>
                </a:cubicBezTo>
                <a:cubicBezTo>
                  <a:pt x="111991" y="80843"/>
                  <a:pt x="112169" y="80903"/>
                  <a:pt x="112265" y="80951"/>
                </a:cubicBezTo>
                <a:lnTo>
                  <a:pt x="112265" y="80617"/>
                </a:lnTo>
                <a:cubicBezTo>
                  <a:pt x="112086" y="80058"/>
                  <a:pt x="112134" y="78653"/>
                  <a:pt x="111526" y="78557"/>
                </a:cubicBezTo>
                <a:close/>
                <a:moveTo>
                  <a:pt x="140078" y="8751"/>
                </a:moveTo>
                <a:cubicBezTo>
                  <a:pt x="139137" y="8751"/>
                  <a:pt x="138756" y="9597"/>
                  <a:pt x="138268" y="10049"/>
                </a:cubicBezTo>
                <a:cubicBezTo>
                  <a:pt x="138017" y="10283"/>
                  <a:pt x="136789" y="10909"/>
                  <a:pt x="136147" y="10909"/>
                </a:cubicBezTo>
                <a:cubicBezTo>
                  <a:pt x="135874" y="10909"/>
                  <a:pt x="135707" y="10795"/>
                  <a:pt x="135768" y="10490"/>
                </a:cubicBezTo>
                <a:lnTo>
                  <a:pt x="135768" y="10490"/>
                </a:lnTo>
                <a:cubicBezTo>
                  <a:pt x="135172" y="10704"/>
                  <a:pt x="132624" y="10906"/>
                  <a:pt x="131291" y="12335"/>
                </a:cubicBezTo>
                <a:cubicBezTo>
                  <a:pt x="131017" y="12633"/>
                  <a:pt x="130934" y="13526"/>
                  <a:pt x="130517" y="13526"/>
                </a:cubicBezTo>
                <a:cubicBezTo>
                  <a:pt x="130336" y="13526"/>
                  <a:pt x="130012" y="13502"/>
                  <a:pt x="129645" y="13502"/>
                </a:cubicBezTo>
                <a:cubicBezTo>
                  <a:pt x="128777" y="13502"/>
                  <a:pt x="127671" y="13632"/>
                  <a:pt x="127671" y="14502"/>
                </a:cubicBezTo>
                <a:cubicBezTo>
                  <a:pt x="127671" y="14764"/>
                  <a:pt x="127874" y="15026"/>
                  <a:pt x="127933" y="15371"/>
                </a:cubicBezTo>
                <a:cubicBezTo>
                  <a:pt x="127802" y="15474"/>
                  <a:pt x="127699" y="15509"/>
                  <a:pt x="127573" y="15509"/>
                </a:cubicBezTo>
                <a:cubicBezTo>
                  <a:pt x="127319" y="15509"/>
                  <a:pt x="126973" y="15371"/>
                  <a:pt x="126124" y="15371"/>
                </a:cubicBezTo>
                <a:cubicBezTo>
                  <a:pt x="125808" y="15879"/>
                  <a:pt x="125594" y="16065"/>
                  <a:pt x="125442" y="16065"/>
                </a:cubicBezTo>
                <a:cubicBezTo>
                  <a:pt x="125078" y="16065"/>
                  <a:pt x="125074" y="14994"/>
                  <a:pt x="124897" y="14716"/>
                </a:cubicBezTo>
                <a:cubicBezTo>
                  <a:pt x="124802" y="15419"/>
                  <a:pt x="124421" y="15716"/>
                  <a:pt x="123957" y="16026"/>
                </a:cubicBezTo>
                <a:cubicBezTo>
                  <a:pt x="124099" y="16633"/>
                  <a:pt x="124873" y="17264"/>
                  <a:pt x="124314" y="17979"/>
                </a:cubicBezTo>
                <a:cubicBezTo>
                  <a:pt x="123933" y="18467"/>
                  <a:pt x="125052" y="20086"/>
                  <a:pt x="124469" y="20086"/>
                </a:cubicBezTo>
                <a:cubicBezTo>
                  <a:pt x="123707" y="20086"/>
                  <a:pt x="123504" y="16800"/>
                  <a:pt x="123504" y="16133"/>
                </a:cubicBezTo>
                <a:cubicBezTo>
                  <a:pt x="123504" y="15395"/>
                  <a:pt x="124504" y="15097"/>
                  <a:pt x="122956" y="14716"/>
                </a:cubicBezTo>
                <a:cubicBezTo>
                  <a:pt x="122914" y="14707"/>
                  <a:pt x="122869" y="14702"/>
                  <a:pt x="122823" y="14702"/>
                </a:cubicBezTo>
                <a:cubicBezTo>
                  <a:pt x="122015" y="14702"/>
                  <a:pt x="120694" y="16118"/>
                  <a:pt x="120694" y="16895"/>
                </a:cubicBezTo>
                <a:cubicBezTo>
                  <a:pt x="120694" y="17895"/>
                  <a:pt x="121075" y="18538"/>
                  <a:pt x="121504" y="19062"/>
                </a:cubicBezTo>
                <a:cubicBezTo>
                  <a:pt x="121811" y="19637"/>
                  <a:pt x="121803" y="19843"/>
                  <a:pt x="121618" y="19843"/>
                </a:cubicBezTo>
                <a:cubicBezTo>
                  <a:pt x="121193" y="19843"/>
                  <a:pt x="119836" y="18761"/>
                  <a:pt x="119206" y="18562"/>
                </a:cubicBezTo>
                <a:cubicBezTo>
                  <a:pt x="118537" y="18356"/>
                  <a:pt x="118107" y="18279"/>
                  <a:pt x="117835" y="18279"/>
                </a:cubicBezTo>
                <a:cubicBezTo>
                  <a:pt x="117102" y="18279"/>
                  <a:pt x="117524" y="18842"/>
                  <a:pt x="117515" y="18955"/>
                </a:cubicBezTo>
                <a:cubicBezTo>
                  <a:pt x="117488" y="19596"/>
                  <a:pt x="117384" y="19795"/>
                  <a:pt x="117248" y="19795"/>
                </a:cubicBezTo>
                <a:cubicBezTo>
                  <a:pt x="117029" y="19795"/>
                  <a:pt x="116726" y="19276"/>
                  <a:pt x="116527" y="19276"/>
                </a:cubicBezTo>
                <a:cubicBezTo>
                  <a:pt x="116073" y="19276"/>
                  <a:pt x="115260" y="19854"/>
                  <a:pt x="114532" y="19854"/>
                </a:cubicBezTo>
                <a:cubicBezTo>
                  <a:pt x="114344" y="19854"/>
                  <a:pt x="114160" y="19815"/>
                  <a:pt x="113991" y="19717"/>
                </a:cubicBezTo>
                <a:cubicBezTo>
                  <a:pt x="113916" y="19485"/>
                  <a:pt x="113765" y="19389"/>
                  <a:pt x="113565" y="19389"/>
                </a:cubicBezTo>
                <a:cubicBezTo>
                  <a:pt x="112657" y="19389"/>
                  <a:pt x="110727" y="21348"/>
                  <a:pt x="110181" y="21348"/>
                </a:cubicBezTo>
                <a:cubicBezTo>
                  <a:pt x="109967" y="21348"/>
                  <a:pt x="109645" y="21158"/>
                  <a:pt x="109729" y="20907"/>
                </a:cubicBezTo>
                <a:cubicBezTo>
                  <a:pt x="109901" y="20377"/>
                  <a:pt x="109818" y="19478"/>
                  <a:pt x="109556" y="19478"/>
                </a:cubicBezTo>
                <a:cubicBezTo>
                  <a:pt x="109383" y="19478"/>
                  <a:pt x="109131" y="19869"/>
                  <a:pt x="108824" y="21015"/>
                </a:cubicBezTo>
                <a:cubicBezTo>
                  <a:pt x="108776" y="21205"/>
                  <a:pt x="109098" y="21277"/>
                  <a:pt x="109098" y="21669"/>
                </a:cubicBezTo>
                <a:cubicBezTo>
                  <a:pt x="109098" y="22022"/>
                  <a:pt x="108896" y="22099"/>
                  <a:pt x="108628" y="22099"/>
                </a:cubicBezTo>
                <a:cubicBezTo>
                  <a:pt x="108421" y="22099"/>
                  <a:pt x="108174" y="22053"/>
                  <a:pt x="107950" y="22053"/>
                </a:cubicBezTo>
                <a:cubicBezTo>
                  <a:pt x="107840" y="22053"/>
                  <a:pt x="107736" y="22064"/>
                  <a:pt x="107645" y="22098"/>
                </a:cubicBezTo>
                <a:cubicBezTo>
                  <a:pt x="107237" y="22259"/>
                  <a:pt x="107313" y="23607"/>
                  <a:pt x="106302" y="23607"/>
                </a:cubicBezTo>
                <a:cubicBezTo>
                  <a:pt x="106043" y="23607"/>
                  <a:pt x="105714" y="23519"/>
                  <a:pt x="105288" y="23301"/>
                </a:cubicBezTo>
                <a:lnTo>
                  <a:pt x="105288" y="24170"/>
                </a:lnTo>
                <a:cubicBezTo>
                  <a:pt x="104252" y="24063"/>
                  <a:pt x="104383" y="22729"/>
                  <a:pt x="104026" y="22098"/>
                </a:cubicBezTo>
                <a:cubicBezTo>
                  <a:pt x="104155" y="22098"/>
                  <a:pt x="104274" y="22097"/>
                  <a:pt x="104387" y="22097"/>
                </a:cubicBezTo>
                <a:cubicBezTo>
                  <a:pt x="104951" y="22097"/>
                  <a:pt x="105353" y="22114"/>
                  <a:pt x="105978" y="22312"/>
                </a:cubicBezTo>
                <a:cubicBezTo>
                  <a:pt x="106070" y="22340"/>
                  <a:pt x="106169" y="22354"/>
                  <a:pt x="106273" y="22354"/>
                </a:cubicBezTo>
                <a:cubicBezTo>
                  <a:pt x="107314" y="22354"/>
                  <a:pt x="108735" y="21014"/>
                  <a:pt x="105919" y="19931"/>
                </a:cubicBezTo>
                <a:cubicBezTo>
                  <a:pt x="105038" y="19598"/>
                  <a:pt x="103073" y="18407"/>
                  <a:pt x="102478" y="18407"/>
                </a:cubicBezTo>
                <a:cubicBezTo>
                  <a:pt x="102444" y="18407"/>
                  <a:pt x="102423" y="18366"/>
                  <a:pt x="102270" y="18366"/>
                </a:cubicBezTo>
                <a:cubicBezTo>
                  <a:pt x="102204" y="18366"/>
                  <a:pt x="102115" y="18374"/>
                  <a:pt x="101990" y="18395"/>
                </a:cubicBezTo>
                <a:cubicBezTo>
                  <a:pt x="101930" y="18395"/>
                  <a:pt x="101549" y="18324"/>
                  <a:pt x="101394" y="18300"/>
                </a:cubicBezTo>
                <a:cubicBezTo>
                  <a:pt x="101394" y="18169"/>
                  <a:pt x="101263" y="18157"/>
                  <a:pt x="101085" y="17979"/>
                </a:cubicBezTo>
                <a:cubicBezTo>
                  <a:pt x="101501" y="17800"/>
                  <a:pt x="101644" y="17979"/>
                  <a:pt x="101811" y="17455"/>
                </a:cubicBezTo>
                <a:cubicBezTo>
                  <a:pt x="101668" y="17371"/>
                  <a:pt x="101263" y="17109"/>
                  <a:pt x="101180" y="17109"/>
                </a:cubicBezTo>
                <a:cubicBezTo>
                  <a:pt x="101025" y="17109"/>
                  <a:pt x="100954" y="17264"/>
                  <a:pt x="100906" y="17431"/>
                </a:cubicBezTo>
                <a:cubicBezTo>
                  <a:pt x="100704" y="17407"/>
                  <a:pt x="100739" y="17217"/>
                  <a:pt x="100716" y="16931"/>
                </a:cubicBezTo>
                <a:lnTo>
                  <a:pt x="100716" y="16931"/>
                </a:lnTo>
                <a:cubicBezTo>
                  <a:pt x="100430" y="17157"/>
                  <a:pt x="100287" y="17240"/>
                  <a:pt x="100037" y="17538"/>
                </a:cubicBezTo>
                <a:cubicBezTo>
                  <a:pt x="100013" y="17407"/>
                  <a:pt x="100013" y="17300"/>
                  <a:pt x="99942" y="17157"/>
                </a:cubicBezTo>
                <a:cubicBezTo>
                  <a:pt x="99646" y="17339"/>
                  <a:pt x="99535" y="17803"/>
                  <a:pt x="99215" y="17803"/>
                </a:cubicBezTo>
                <a:cubicBezTo>
                  <a:pt x="99199" y="17803"/>
                  <a:pt x="99184" y="17802"/>
                  <a:pt x="99168" y="17800"/>
                </a:cubicBezTo>
                <a:cubicBezTo>
                  <a:pt x="99239" y="17502"/>
                  <a:pt x="99549" y="17407"/>
                  <a:pt x="99549" y="17109"/>
                </a:cubicBezTo>
                <a:cubicBezTo>
                  <a:pt x="99549" y="17050"/>
                  <a:pt x="99519" y="17027"/>
                  <a:pt x="99470" y="17027"/>
                </a:cubicBezTo>
                <a:cubicBezTo>
                  <a:pt x="99281" y="17027"/>
                  <a:pt x="98802" y="17371"/>
                  <a:pt x="98584" y="17371"/>
                </a:cubicBezTo>
                <a:cubicBezTo>
                  <a:pt x="98418" y="17371"/>
                  <a:pt x="98311" y="17193"/>
                  <a:pt x="98203" y="17038"/>
                </a:cubicBezTo>
                <a:cubicBezTo>
                  <a:pt x="98144" y="17169"/>
                  <a:pt x="97822" y="17264"/>
                  <a:pt x="97822" y="17371"/>
                </a:cubicBezTo>
                <a:cubicBezTo>
                  <a:pt x="97822" y="17526"/>
                  <a:pt x="97953" y="17562"/>
                  <a:pt x="98096" y="17633"/>
                </a:cubicBezTo>
                <a:cubicBezTo>
                  <a:pt x="97763" y="17848"/>
                  <a:pt x="97465" y="17717"/>
                  <a:pt x="97227" y="18241"/>
                </a:cubicBezTo>
                <a:lnTo>
                  <a:pt x="97227" y="17871"/>
                </a:lnTo>
                <a:cubicBezTo>
                  <a:pt x="96846" y="17895"/>
                  <a:pt x="96787" y="18395"/>
                  <a:pt x="96548" y="18455"/>
                </a:cubicBezTo>
                <a:lnTo>
                  <a:pt x="96548" y="18193"/>
                </a:lnTo>
                <a:cubicBezTo>
                  <a:pt x="96286" y="18264"/>
                  <a:pt x="95953" y="18241"/>
                  <a:pt x="95775" y="18455"/>
                </a:cubicBezTo>
                <a:cubicBezTo>
                  <a:pt x="95846" y="18538"/>
                  <a:pt x="95834" y="18514"/>
                  <a:pt x="95917" y="18633"/>
                </a:cubicBezTo>
                <a:cubicBezTo>
                  <a:pt x="95856" y="18672"/>
                  <a:pt x="95800" y="18683"/>
                  <a:pt x="95746" y="18683"/>
                </a:cubicBezTo>
                <a:cubicBezTo>
                  <a:pt x="95684" y="18683"/>
                  <a:pt x="95624" y="18669"/>
                  <a:pt x="95560" y="18669"/>
                </a:cubicBezTo>
                <a:cubicBezTo>
                  <a:pt x="95370" y="18669"/>
                  <a:pt x="95227" y="18848"/>
                  <a:pt x="95143" y="19014"/>
                </a:cubicBezTo>
                <a:cubicBezTo>
                  <a:pt x="95180" y="19012"/>
                  <a:pt x="95208" y="19010"/>
                  <a:pt x="95231" y="19010"/>
                </a:cubicBezTo>
                <a:cubicBezTo>
                  <a:pt x="95306" y="19010"/>
                  <a:pt x="95329" y="19026"/>
                  <a:pt x="95429" y="19062"/>
                </a:cubicBezTo>
                <a:cubicBezTo>
                  <a:pt x="95394" y="19086"/>
                  <a:pt x="95191" y="19610"/>
                  <a:pt x="95108" y="19610"/>
                </a:cubicBezTo>
                <a:cubicBezTo>
                  <a:pt x="94870" y="19610"/>
                  <a:pt x="94798" y="19383"/>
                  <a:pt x="94501" y="19383"/>
                </a:cubicBezTo>
                <a:cubicBezTo>
                  <a:pt x="94560" y="19241"/>
                  <a:pt x="94536" y="19133"/>
                  <a:pt x="94453" y="19003"/>
                </a:cubicBezTo>
                <a:cubicBezTo>
                  <a:pt x="94393" y="19062"/>
                  <a:pt x="94346" y="19145"/>
                  <a:pt x="94286" y="19276"/>
                </a:cubicBezTo>
                <a:cubicBezTo>
                  <a:pt x="94239" y="19276"/>
                  <a:pt x="94203" y="19217"/>
                  <a:pt x="94143" y="19217"/>
                </a:cubicBezTo>
                <a:cubicBezTo>
                  <a:pt x="94000" y="19217"/>
                  <a:pt x="93905" y="19348"/>
                  <a:pt x="93870" y="19562"/>
                </a:cubicBezTo>
                <a:cubicBezTo>
                  <a:pt x="93870" y="19562"/>
                  <a:pt x="94048" y="19634"/>
                  <a:pt x="94143" y="19634"/>
                </a:cubicBezTo>
                <a:cubicBezTo>
                  <a:pt x="94072" y="19669"/>
                  <a:pt x="93870" y="19776"/>
                  <a:pt x="93774" y="19931"/>
                </a:cubicBezTo>
                <a:cubicBezTo>
                  <a:pt x="94215" y="19931"/>
                  <a:pt x="94393" y="19645"/>
                  <a:pt x="94846" y="19538"/>
                </a:cubicBezTo>
                <a:lnTo>
                  <a:pt x="94846" y="19538"/>
                </a:lnTo>
                <a:cubicBezTo>
                  <a:pt x="94762" y="20003"/>
                  <a:pt x="94250" y="20741"/>
                  <a:pt x="93870" y="20907"/>
                </a:cubicBezTo>
                <a:cubicBezTo>
                  <a:pt x="93489" y="21086"/>
                  <a:pt x="93238" y="21384"/>
                  <a:pt x="93024" y="21824"/>
                </a:cubicBezTo>
                <a:cubicBezTo>
                  <a:pt x="93024" y="21848"/>
                  <a:pt x="92834" y="22324"/>
                  <a:pt x="92834" y="22324"/>
                </a:cubicBezTo>
                <a:cubicBezTo>
                  <a:pt x="92691" y="22324"/>
                  <a:pt x="92727" y="22991"/>
                  <a:pt x="92512" y="23193"/>
                </a:cubicBezTo>
                <a:cubicBezTo>
                  <a:pt x="91965" y="23705"/>
                  <a:pt x="91655" y="24467"/>
                  <a:pt x="90857" y="24706"/>
                </a:cubicBezTo>
                <a:cubicBezTo>
                  <a:pt x="91024" y="24753"/>
                  <a:pt x="91095" y="24801"/>
                  <a:pt x="91298" y="24860"/>
                </a:cubicBezTo>
                <a:cubicBezTo>
                  <a:pt x="91250" y="24854"/>
                  <a:pt x="91205" y="24851"/>
                  <a:pt x="91163" y="24851"/>
                </a:cubicBezTo>
                <a:cubicBezTo>
                  <a:pt x="90631" y="24851"/>
                  <a:pt x="90548" y="25309"/>
                  <a:pt x="90250" y="25408"/>
                </a:cubicBezTo>
                <a:cubicBezTo>
                  <a:pt x="89845" y="25527"/>
                  <a:pt x="89643" y="25801"/>
                  <a:pt x="89428" y="26158"/>
                </a:cubicBezTo>
                <a:cubicBezTo>
                  <a:pt x="89321" y="26361"/>
                  <a:pt x="89036" y="26337"/>
                  <a:pt x="89036" y="26658"/>
                </a:cubicBezTo>
                <a:cubicBezTo>
                  <a:pt x="89036" y="27277"/>
                  <a:pt x="89071" y="27813"/>
                  <a:pt x="89345" y="28206"/>
                </a:cubicBezTo>
                <a:cubicBezTo>
                  <a:pt x="89250" y="28361"/>
                  <a:pt x="89047" y="28623"/>
                  <a:pt x="89047" y="28766"/>
                </a:cubicBezTo>
                <a:cubicBezTo>
                  <a:pt x="89274" y="28658"/>
                  <a:pt x="89274" y="28658"/>
                  <a:pt x="89524" y="28658"/>
                </a:cubicBezTo>
                <a:lnTo>
                  <a:pt x="89524" y="28992"/>
                </a:lnTo>
                <a:cubicBezTo>
                  <a:pt x="89452" y="29028"/>
                  <a:pt x="89214" y="29135"/>
                  <a:pt x="89214" y="29313"/>
                </a:cubicBezTo>
                <a:cubicBezTo>
                  <a:pt x="89214" y="29397"/>
                  <a:pt x="89917" y="29921"/>
                  <a:pt x="90024" y="29921"/>
                </a:cubicBezTo>
                <a:cubicBezTo>
                  <a:pt x="90786" y="29921"/>
                  <a:pt x="91369" y="29099"/>
                  <a:pt x="91750" y="28444"/>
                </a:cubicBezTo>
                <a:cubicBezTo>
                  <a:pt x="91869" y="28647"/>
                  <a:pt x="91917" y="28825"/>
                  <a:pt x="92107" y="28956"/>
                </a:cubicBezTo>
                <a:cubicBezTo>
                  <a:pt x="92072" y="29039"/>
                  <a:pt x="92024" y="29159"/>
                  <a:pt x="92024" y="29266"/>
                </a:cubicBezTo>
                <a:cubicBezTo>
                  <a:pt x="92024" y="29659"/>
                  <a:pt x="92298" y="29742"/>
                  <a:pt x="92381" y="30075"/>
                </a:cubicBezTo>
                <a:cubicBezTo>
                  <a:pt x="92512" y="30552"/>
                  <a:pt x="92476" y="30849"/>
                  <a:pt x="92786" y="31218"/>
                </a:cubicBezTo>
                <a:cubicBezTo>
                  <a:pt x="92786" y="31290"/>
                  <a:pt x="92750" y="31373"/>
                  <a:pt x="92750" y="31445"/>
                </a:cubicBezTo>
                <a:cubicBezTo>
                  <a:pt x="92750" y="31552"/>
                  <a:pt x="93000" y="32457"/>
                  <a:pt x="93143" y="32457"/>
                </a:cubicBezTo>
                <a:cubicBezTo>
                  <a:pt x="93596" y="32457"/>
                  <a:pt x="93703" y="31766"/>
                  <a:pt x="94012" y="31766"/>
                </a:cubicBezTo>
                <a:lnTo>
                  <a:pt x="94501" y="31766"/>
                </a:lnTo>
                <a:cubicBezTo>
                  <a:pt x="94560" y="31349"/>
                  <a:pt x="94989" y="31314"/>
                  <a:pt x="95048" y="30718"/>
                </a:cubicBezTo>
                <a:cubicBezTo>
                  <a:pt x="94941" y="30706"/>
                  <a:pt x="94774" y="30611"/>
                  <a:pt x="94774" y="30361"/>
                </a:cubicBezTo>
                <a:cubicBezTo>
                  <a:pt x="94774" y="29897"/>
                  <a:pt x="94917" y="29266"/>
                  <a:pt x="95286" y="29266"/>
                </a:cubicBezTo>
                <a:cubicBezTo>
                  <a:pt x="95465" y="29266"/>
                  <a:pt x="96013" y="28730"/>
                  <a:pt x="96013" y="28397"/>
                </a:cubicBezTo>
                <a:cubicBezTo>
                  <a:pt x="96013" y="27992"/>
                  <a:pt x="95524" y="27599"/>
                  <a:pt x="95191" y="27527"/>
                </a:cubicBezTo>
                <a:cubicBezTo>
                  <a:pt x="95191" y="27384"/>
                  <a:pt x="95143" y="27230"/>
                  <a:pt x="95048" y="27146"/>
                </a:cubicBezTo>
                <a:lnTo>
                  <a:pt x="95048" y="26706"/>
                </a:lnTo>
                <a:cubicBezTo>
                  <a:pt x="95322" y="26551"/>
                  <a:pt x="95143" y="26146"/>
                  <a:pt x="95286" y="25837"/>
                </a:cubicBezTo>
                <a:cubicBezTo>
                  <a:pt x="95465" y="25444"/>
                  <a:pt x="95786" y="25360"/>
                  <a:pt x="96096" y="25146"/>
                </a:cubicBezTo>
                <a:cubicBezTo>
                  <a:pt x="96477" y="24884"/>
                  <a:pt x="97310" y="24444"/>
                  <a:pt x="97310" y="23955"/>
                </a:cubicBezTo>
                <a:cubicBezTo>
                  <a:pt x="97370" y="23813"/>
                  <a:pt x="97310" y="23705"/>
                  <a:pt x="97310" y="23444"/>
                </a:cubicBezTo>
                <a:cubicBezTo>
                  <a:pt x="97310" y="22836"/>
                  <a:pt x="97799" y="22586"/>
                  <a:pt x="98406" y="22586"/>
                </a:cubicBezTo>
                <a:cubicBezTo>
                  <a:pt x="98858" y="22586"/>
                  <a:pt x="99454" y="22693"/>
                  <a:pt x="99454" y="23229"/>
                </a:cubicBezTo>
                <a:cubicBezTo>
                  <a:pt x="99454" y="23598"/>
                  <a:pt x="99013" y="23705"/>
                  <a:pt x="98763" y="23884"/>
                </a:cubicBezTo>
                <a:cubicBezTo>
                  <a:pt x="98299" y="24206"/>
                  <a:pt x="97894" y="25408"/>
                  <a:pt x="97132" y="25408"/>
                </a:cubicBezTo>
                <a:cubicBezTo>
                  <a:pt x="97168" y="25551"/>
                  <a:pt x="97132" y="25682"/>
                  <a:pt x="97132" y="25837"/>
                </a:cubicBezTo>
                <a:cubicBezTo>
                  <a:pt x="97132" y="26075"/>
                  <a:pt x="97299" y="26575"/>
                  <a:pt x="97477" y="26658"/>
                </a:cubicBezTo>
                <a:cubicBezTo>
                  <a:pt x="97418" y="26765"/>
                  <a:pt x="97227" y="26920"/>
                  <a:pt x="97227" y="27146"/>
                </a:cubicBezTo>
                <a:cubicBezTo>
                  <a:pt x="97227" y="27599"/>
                  <a:pt x="97620" y="27896"/>
                  <a:pt x="98001" y="27896"/>
                </a:cubicBezTo>
                <a:cubicBezTo>
                  <a:pt x="98001" y="28135"/>
                  <a:pt x="98168" y="28182"/>
                  <a:pt x="98406" y="28182"/>
                </a:cubicBezTo>
                <a:cubicBezTo>
                  <a:pt x="98703" y="28182"/>
                  <a:pt x="99120" y="27992"/>
                  <a:pt x="99489" y="27861"/>
                </a:cubicBezTo>
                <a:cubicBezTo>
                  <a:pt x="99560" y="27873"/>
                  <a:pt x="99651" y="27880"/>
                  <a:pt x="99752" y="27880"/>
                </a:cubicBezTo>
                <a:cubicBezTo>
                  <a:pt x="100148" y="27880"/>
                  <a:pt x="100704" y="27771"/>
                  <a:pt x="100847" y="27420"/>
                </a:cubicBezTo>
                <a:cubicBezTo>
                  <a:pt x="100989" y="27658"/>
                  <a:pt x="101180" y="27777"/>
                  <a:pt x="101299" y="28182"/>
                </a:cubicBezTo>
                <a:cubicBezTo>
                  <a:pt x="101085" y="28361"/>
                  <a:pt x="100537" y="28658"/>
                  <a:pt x="100311" y="28658"/>
                </a:cubicBezTo>
                <a:cubicBezTo>
                  <a:pt x="100001" y="28658"/>
                  <a:pt x="99799" y="28504"/>
                  <a:pt x="99394" y="28504"/>
                </a:cubicBezTo>
                <a:cubicBezTo>
                  <a:pt x="99001" y="28504"/>
                  <a:pt x="98084" y="28944"/>
                  <a:pt x="98370" y="29254"/>
                </a:cubicBezTo>
                <a:cubicBezTo>
                  <a:pt x="99275" y="30290"/>
                  <a:pt x="98799" y="30683"/>
                  <a:pt x="98584" y="30683"/>
                </a:cubicBezTo>
                <a:cubicBezTo>
                  <a:pt x="98215" y="30683"/>
                  <a:pt x="98168" y="30135"/>
                  <a:pt x="97858" y="30135"/>
                </a:cubicBezTo>
                <a:cubicBezTo>
                  <a:pt x="97537" y="30135"/>
                  <a:pt x="97132" y="31135"/>
                  <a:pt x="97132" y="31659"/>
                </a:cubicBezTo>
                <a:cubicBezTo>
                  <a:pt x="97132" y="32504"/>
                  <a:pt x="96548" y="32385"/>
                  <a:pt x="96513" y="33147"/>
                </a:cubicBezTo>
                <a:cubicBezTo>
                  <a:pt x="96310" y="33171"/>
                  <a:pt x="96084" y="33195"/>
                  <a:pt x="95870" y="33195"/>
                </a:cubicBezTo>
                <a:cubicBezTo>
                  <a:pt x="95870" y="33159"/>
                  <a:pt x="95905" y="33040"/>
                  <a:pt x="95941" y="32957"/>
                </a:cubicBezTo>
                <a:cubicBezTo>
                  <a:pt x="95810" y="32897"/>
                  <a:pt x="95560" y="32873"/>
                  <a:pt x="95322" y="32873"/>
                </a:cubicBezTo>
                <a:cubicBezTo>
                  <a:pt x="95096" y="32873"/>
                  <a:pt x="94810" y="33195"/>
                  <a:pt x="94643" y="33290"/>
                </a:cubicBezTo>
                <a:cubicBezTo>
                  <a:pt x="94381" y="33433"/>
                  <a:pt x="94143" y="33373"/>
                  <a:pt x="93834" y="33552"/>
                </a:cubicBezTo>
                <a:cubicBezTo>
                  <a:pt x="93739" y="33588"/>
                  <a:pt x="93727" y="33742"/>
                  <a:pt x="93524" y="33742"/>
                </a:cubicBezTo>
                <a:cubicBezTo>
                  <a:pt x="93524" y="33742"/>
                  <a:pt x="93215" y="33480"/>
                  <a:pt x="93215" y="33433"/>
                </a:cubicBezTo>
                <a:cubicBezTo>
                  <a:pt x="93215" y="33373"/>
                  <a:pt x="93310" y="33302"/>
                  <a:pt x="93322" y="33195"/>
                </a:cubicBezTo>
                <a:cubicBezTo>
                  <a:pt x="93298" y="33191"/>
                  <a:pt x="93275" y="33190"/>
                  <a:pt x="93252" y="33190"/>
                </a:cubicBezTo>
                <a:cubicBezTo>
                  <a:pt x="92866" y="33190"/>
                  <a:pt x="92532" y="33635"/>
                  <a:pt x="92072" y="33635"/>
                </a:cubicBezTo>
                <a:cubicBezTo>
                  <a:pt x="92024" y="33635"/>
                  <a:pt x="91988" y="33480"/>
                  <a:pt x="91953" y="33373"/>
                </a:cubicBezTo>
                <a:cubicBezTo>
                  <a:pt x="91786" y="33373"/>
                  <a:pt x="91714" y="33290"/>
                  <a:pt x="91512" y="33290"/>
                </a:cubicBezTo>
                <a:cubicBezTo>
                  <a:pt x="91536" y="33219"/>
                  <a:pt x="91512" y="33183"/>
                  <a:pt x="91512" y="33040"/>
                </a:cubicBezTo>
                <a:cubicBezTo>
                  <a:pt x="91405" y="33028"/>
                  <a:pt x="91310" y="32873"/>
                  <a:pt x="91310" y="32659"/>
                </a:cubicBezTo>
                <a:cubicBezTo>
                  <a:pt x="91310" y="32266"/>
                  <a:pt x="91536" y="32076"/>
                  <a:pt x="91714" y="31849"/>
                </a:cubicBezTo>
                <a:cubicBezTo>
                  <a:pt x="91774" y="31790"/>
                  <a:pt x="91929" y="31742"/>
                  <a:pt x="91929" y="31635"/>
                </a:cubicBezTo>
                <a:lnTo>
                  <a:pt x="91929" y="31468"/>
                </a:lnTo>
                <a:cubicBezTo>
                  <a:pt x="91786" y="31468"/>
                  <a:pt x="91584" y="31445"/>
                  <a:pt x="91584" y="31218"/>
                </a:cubicBezTo>
                <a:cubicBezTo>
                  <a:pt x="91584" y="31004"/>
                  <a:pt x="91607" y="30873"/>
                  <a:pt x="91691" y="30659"/>
                </a:cubicBezTo>
                <a:lnTo>
                  <a:pt x="91691" y="30397"/>
                </a:lnTo>
                <a:cubicBezTo>
                  <a:pt x="91238" y="30790"/>
                  <a:pt x="90536" y="30849"/>
                  <a:pt x="90536" y="31766"/>
                </a:cubicBezTo>
                <a:cubicBezTo>
                  <a:pt x="90536" y="32290"/>
                  <a:pt x="90822" y="32457"/>
                  <a:pt x="90905" y="33040"/>
                </a:cubicBezTo>
                <a:cubicBezTo>
                  <a:pt x="90905" y="33064"/>
                  <a:pt x="91024" y="33480"/>
                  <a:pt x="91024" y="33588"/>
                </a:cubicBezTo>
                <a:cubicBezTo>
                  <a:pt x="91024" y="33766"/>
                  <a:pt x="90738" y="33957"/>
                  <a:pt x="90631" y="33957"/>
                </a:cubicBezTo>
                <a:cubicBezTo>
                  <a:pt x="90526" y="33957"/>
                  <a:pt x="90421" y="33905"/>
                  <a:pt x="90329" y="33905"/>
                </a:cubicBezTo>
                <a:cubicBezTo>
                  <a:pt x="90274" y="33905"/>
                  <a:pt x="90223" y="33923"/>
                  <a:pt x="90179" y="33981"/>
                </a:cubicBezTo>
                <a:cubicBezTo>
                  <a:pt x="90148" y="34021"/>
                  <a:pt x="90100" y="34148"/>
                  <a:pt x="90050" y="34148"/>
                </a:cubicBezTo>
                <a:cubicBezTo>
                  <a:pt x="90041" y="34148"/>
                  <a:pt x="90033" y="34144"/>
                  <a:pt x="90024" y="34135"/>
                </a:cubicBezTo>
                <a:cubicBezTo>
                  <a:pt x="89984" y="34155"/>
                  <a:pt x="89970" y="34162"/>
                  <a:pt x="89959" y="34162"/>
                </a:cubicBezTo>
                <a:cubicBezTo>
                  <a:pt x="89938" y="34162"/>
                  <a:pt x="89933" y="34135"/>
                  <a:pt x="89774" y="34135"/>
                </a:cubicBezTo>
                <a:cubicBezTo>
                  <a:pt x="89357" y="34135"/>
                  <a:pt x="89107" y="34481"/>
                  <a:pt x="88857" y="34778"/>
                </a:cubicBezTo>
                <a:cubicBezTo>
                  <a:pt x="88833" y="34802"/>
                  <a:pt x="88666" y="34933"/>
                  <a:pt x="88666" y="35028"/>
                </a:cubicBezTo>
                <a:cubicBezTo>
                  <a:pt x="88666" y="35278"/>
                  <a:pt x="88726" y="35540"/>
                  <a:pt x="88583" y="35719"/>
                </a:cubicBezTo>
                <a:cubicBezTo>
                  <a:pt x="88512" y="35802"/>
                  <a:pt x="87785" y="36147"/>
                  <a:pt x="87678" y="36195"/>
                </a:cubicBezTo>
                <a:cubicBezTo>
                  <a:pt x="87583" y="36219"/>
                  <a:pt x="87523" y="36243"/>
                  <a:pt x="87416" y="36243"/>
                </a:cubicBezTo>
                <a:cubicBezTo>
                  <a:pt x="87309" y="36755"/>
                  <a:pt x="87166" y="37243"/>
                  <a:pt x="86619" y="37243"/>
                </a:cubicBezTo>
                <a:cubicBezTo>
                  <a:pt x="86583" y="37410"/>
                  <a:pt x="86464" y="37564"/>
                  <a:pt x="86309" y="37564"/>
                </a:cubicBezTo>
                <a:cubicBezTo>
                  <a:pt x="86095" y="37564"/>
                  <a:pt x="85916" y="37457"/>
                  <a:pt x="85773" y="37279"/>
                </a:cubicBezTo>
                <a:lnTo>
                  <a:pt x="85583" y="37279"/>
                </a:lnTo>
                <a:lnTo>
                  <a:pt x="85583" y="37457"/>
                </a:lnTo>
                <a:cubicBezTo>
                  <a:pt x="85607" y="37517"/>
                  <a:pt x="85559" y="37850"/>
                  <a:pt x="85678" y="37886"/>
                </a:cubicBezTo>
                <a:lnTo>
                  <a:pt x="85678" y="38041"/>
                </a:lnTo>
                <a:cubicBezTo>
                  <a:pt x="85607" y="38064"/>
                  <a:pt x="85404" y="38148"/>
                  <a:pt x="85261" y="38148"/>
                </a:cubicBezTo>
                <a:cubicBezTo>
                  <a:pt x="85118" y="38148"/>
                  <a:pt x="84833" y="38064"/>
                  <a:pt x="84773" y="37933"/>
                </a:cubicBezTo>
                <a:cubicBezTo>
                  <a:pt x="84595" y="37993"/>
                  <a:pt x="84083" y="38124"/>
                  <a:pt x="84083" y="38326"/>
                </a:cubicBezTo>
                <a:cubicBezTo>
                  <a:pt x="84083" y="38350"/>
                  <a:pt x="84083" y="38410"/>
                  <a:pt x="84106" y="38410"/>
                </a:cubicBezTo>
                <a:cubicBezTo>
                  <a:pt x="84106" y="38731"/>
                  <a:pt x="84904" y="38910"/>
                  <a:pt x="85190" y="39017"/>
                </a:cubicBezTo>
                <a:cubicBezTo>
                  <a:pt x="85285" y="39041"/>
                  <a:pt x="85297" y="39148"/>
                  <a:pt x="85404" y="39172"/>
                </a:cubicBezTo>
                <a:cubicBezTo>
                  <a:pt x="85404" y="39517"/>
                  <a:pt x="85511" y="39910"/>
                  <a:pt x="85880" y="39910"/>
                </a:cubicBezTo>
                <a:cubicBezTo>
                  <a:pt x="85880" y="40077"/>
                  <a:pt x="85988" y="40041"/>
                  <a:pt x="85988" y="40231"/>
                </a:cubicBezTo>
                <a:cubicBezTo>
                  <a:pt x="85988" y="40327"/>
                  <a:pt x="85952" y="40469"/>
                  <a:pt x="85916" y="40565"/>
                </a:cubicBezTo>
                <a:lnTo>
                  <a:pt x="85952" y="40529"/>
                </a:lnTo>
                <a:cubicBezTo>
                  <a:pt x="85952" y="40660"/>
                  <a:pt x="85964" y="41041"/>
                  <a:pt x="85964" y="41124"/>
                </a:cubicBezTo>
                <a:cubicBezTo>
                  <a:pt x="85964" y="41541"/>
                  <a:pt x="85738" y="41660"/>
                  <a:pt x="85738" y="42101"/>
                </a:cubicBezTo>
                <a:cubicBezTo>
                  <a:pt x="85678" y="42101"/>
                  <a:pt x="85404" y="42208"/>
                  <a:pt x="85285" y="42208"/>
                </a:cubicBezTo>
                <a:cubicBezTo>
                  <a:pt x="85140" y="42208"/>
                  <a:pt x="85034" y="42106"/>
                  <a:pt x="84885" y="42106"/>
                </a:cubicBezTo>
                <a:cubicBezTo>
                  <a:pt x="84850" y="42106"/>
                  <a:pt x="84813" y="42111"/>
                  <a:pt x="84773" y="42124"/>
                </a:cubicBezTo>
                <a:lnTo>
                  <a:pt x="83904" y="42124"/>
                </a:lnTo>
                <a:cubicBezTo>
                  <a:pt x="83809" y="42101"/>
                  <a:pt x="83666" y="42077"/>
                  <a:pt x="83594" y="41993"/>
                </a:cubicBezTo>
                <a:lnTo>
                  <a:pt x="82785" y="41993"/>
                </a:lnTo>
                <a:cubicBezTo>
                  <a:pt x="82768" y="42001"/>
                  <a:pt x="82752" y="42004"/>
                  <a:pt x="82736" y="42004"/>
                </a:cubicBezTo>
                <a:cubicBezTo>
                  <a:pt x="82649" y="42004"/>
                  <a:pt x="82571" y="41910"/>
                  <a:pt x="82511" y="41910"/>
                </a:cubicBezTo>
                <a:cubicBezTo>
                  <a:pt x="82404" y="41910"/>
                  <a:pt x="81785" y="42363"/>
                  <a:pt x="81785" y="42493"/>
                </a:cubicBezTo>
                <a:cubicBezTo>
                  <a:pt x="81785" y="42684"/>
                  <a:pt x="81987" y="42994"/>
                  <a:pt x="81987" y="43315"/>
                </a:cubicBezTo>
                <a:cubicBezTo>
                  <a:pt x="81987" y="43887"/>
                  <a:pt x="81820" y="44446"/>
                  <a:pt x="81820" y="44994"/>
                </a:cubicBezTo>
                <a:cubicBezTo>
                  <a:pt x="81820" y="45137"/>
                  <a:pt x="81618" y="45208"/>
                  <a:pt x="81618" y="45494"/>
                </a:cubicBezTo>
                <a:cubicBezTo>
                  <a:pt x="81618" y="45661"/>
                  <a:pt x="81761" y="45792"/>
                  <a:pt x="81916" y="45792"/>
                </a:cubicBezTo>
                <a:lnTo>
                  <a:pt x="81916" y="46661"/>
                </a:lnTo>
                <a:cubicBezTo>
                  <a:pt x="81916" y="46732"/>
                  <a:pt x="81951" y="46839"/>
                  <a:pt x="82059" y="46839"/>
                </a:cubicBezTo>
                <a:cubicBezTo>
                  <a:pt x="82332" y="46839"/>
                  <a:pt x="82523" y="46684"/>
                  <a:pt x="82832" y="46684"/>
                </a:cubicBezTo>
                <a:cubicBezTo>
                  <a:pt x="83249" y="46684"/>
                  <a:pt x="83273" y="47482"/>
                  <a:pt x="83535" y="47482"/>
                </a:cubicBezTo>
                <a:cubicBezTo>
                  <a:pt x="83940" y="47482"/>
                  <a:pt x="84178" y="47054"/>
                  <a:pt x="84606" y="47054"/>
                </a:cubicBezTo>
                <a:cubicBezTo>
                  <a:pt x="84681" y="47054"/>
                  <a:pt x="84887" y="46988"/>
                  <a:pt x="85053" y="46988"/>
                </a:cubicBezTo>
                <a:cubicBezTo>
                  <a:pt x="85099" y="46988"/>
                  <a:pt x="85142" y="46993"/>
                  <a:pt x="85178" y="47006"/>
                </a:cubicBezTo>
                <a:lnTo>
                  <a:pt x="85178" y="46994"/>
                </a:lnTo>
                <a:cubicBezTo>
                  <a:pt x="85213" y="47006"/>
                  <a:pt x="85245" y="47011"/>
                  <a:pt x="85275" y="47011"/>
                </a:cubicBezTo>
                <a:cubicBezTo>
                  <a:pt x="85544" y="47011"/>
                  <a:pt x="85592" y="46564"/>
                  <a:pt x="85785" y="46446"/>
                </a:cubicBezTo>
                <a:cubicBezTo>
                  <a:pt x="86166" y="46232"/>
                  <a:pt x="86273" y="45970"/>
                  <a:pt x="86511" y="45530"/>
                </a:cubicBezTo>
                <a:cubicBezTo>
                  <a:pt x="86428" y="45494"/>
                  <a:pt x="86333" y="45422"/>
                  <a:pt x="86333" y="45256"/>
                </a:cubicBezTo>
                <a:cubicBezTo>
                  <a:pt x="86333" y="44779"/>
                  <a:pt x="86857" y="43887"/>
                  <a:pt x="87178" y="43791"/>
                </a:cubicBezTo>
                <a:cubicBezTo>
                  <a:pt x="87559" y="43684"/>
                  <a:pt x="87964" y="43541"/>
                  <a:pt x="88071" y="43101"/>
                </a:cubicBezTo>
                <a:lnTo>
                  <a:pt x="87964" y="42624"/>
                </a:lnTo>
                <a:cubicBezTo>
                  <a:pt x="87964" y="42291"/>
                  <a:pt x="88250" y="42077"/>
                  <a:pt x="88524" y="42077"/>
                </a:cubicBezTo>
                <a:cubicBezTo>
                  <a:pt x="88893" y="42077"/>
                  <a:pt x="89143" y="42315"/>
                  <a:pt x="89536" y="42315"/>
                </a:cubicBezTo>
                <a:cubicBezTo>
                  <a:pt x="89940" y="42315"/>
                  <a:pt x="90179" y="41934"/>
                  <a:pt x="90524" y="41731"/>
                </a:cubicBezTo>
                <a:cubicBezTo>
                  <a:pt x="90679" y="41648"/>
                  <a:pt x="90702" y="41362"/>
                  <a:pt x="91024" y="41362"/>
                </a:cubicBezTo>
                <a:cubicBezTo>
                  <a:pt x="91714" y="41362"/>
                  <a:pt x="91822" y="42255"/>
                  <a:pt x="92143" y="42755"/>
                </a:cubicBezTo>
                <a:cubicBezTo>
                  <a:pt x="92179" y="42910"/>
                  <a:pt x="92453" y="42994"/>
                  <a:pt x="92584" y="43148"/>
                </a:cubicBezTo>
                <a:cubicBezTo>
                  <a:pt x="92893" y="43517"/>
                  <a:pt x="93024" y="43708"/>
                  <a:pt x="93584" y="43863"/>
                </a:cubicBezTo>
                <a:cubicBezTo>
                  <a:pt x="93584" y="43994"/>
                  <a:pt x="93858" y="44077"/>
                  <a:pt x="93929" y="44077"/>
                </a:cubicBezTo>
                <a:cubicBezTo>
                  <a:pt x="93941" y="44208"/>
                  <a:pt x="94381" y="44732"/>
                  <a:pt x="94429" y="44732"/>
                </a:cubicBezTo>
                <a:cubicBezTo>
                  <a:pt x="94465" y="44922"/>
                  <a:pt x="94608" y="45018"/>
                  <a:pt x="94608" y="45339"/>
                </a:cubicBezTo>
                <a:cubicBezTo>
                  <a:pt x="94608" y="45601"/>
                  <a:pt x="94524" y="45922"/>
                  <a:pt x="94310" y="45922"/>
                </a:cubicBezTo>
                <a:cubicBezTo>
                  <a:pt x="94310" y="46006"/>
                  <a:pt x="94381" y="46077"/>
                  <a:pt x="94501" y="46077"/>
                </a:cubicBezTo>
                <a:cubicBezTo>
                  <a:pt x="94762" y="46077"/>
                  <a:pt x="94727" y="45625"/>
                  <a:pt x="94882" y="45422"/>
                </a:cubicBezTo>
                <a:cubicBezTo>
                  <a:pt x="94882" y="45422"/>
                  <a:pt x="95120" y="45422"/>
                  <a:pt x="95120" y="45315"/>
                </a:cubicBezTo>
                <a:cubicBezTo>
                  <a:pt x="95120" y="45030"/>
                  <a:pt x="94798" y="44970"/>
                  <a:pt x="94798" y="44684"/>
                </a:cubicBezTo>
                <a:cubicBezTo>
                  <a:pt x="94798" y="44470"/>
                  <a:pt x="94977" y="44339"/>
                  <a:pt x="95191" y="44339"/>
                </a:cubicBezTo>
                <a:cubicBezTo>
                  <a:pt x="95489" y="44339"/>
                  <a:pt x="95596" y="44625"/>
                  <a:pt x="95775" y="44660"/>
                </a:cubicBezTo>
                <a:cubicBezTo>
                  <a:pt x="95822" y="44208"/>
                  <a:pt x="95394" y="44029"/>
                  <a:pt x="95036" y="43815"/>
                </a:cubicBezTo>
                <a:cubicBezTo>
                  <a:pt x="94917" y="43756"/>
                  <a:pt x="94489" y="43648"/>
                  <a:pt x="94560" y="43386"/>
                </a:cubicBezTo>
                <a:cubicBezTo>
                  <a:pt x="94596" y="43339"/>
                  <a:pt x="94596" y="43279"/>
                  <a:pt x="94596" y="43208"/>
                </a:cubicBezTo>
                <a:cubicBezTo>
                  <a:pt x="94437" y="43208"/>
                  <a:pt x="94310" y="43244"/>
                  <a:pt x="94178" y="43244"/>
                </a:cubicBezTo>
                <a:cubicBezTo>
                  <a:pt x="94082" y="43244"/>
                  <a:pt x="93984" y="43225"/>
                  <a:pt x="93870" y="43160"/>
                </a:cubicBezTo>
                <a:cubicBezTo>
                  <a:pt x="93727" y="43077"/>
                  <a:pt x="93596" y="42732"/>
                  <a:pt x="93524" y="42422"/>
                </a:cubicBezTo>
                <a:cubicBezTo>
                  <a:pt x="93477" y="42232"/>
                  <a:pt x="93322" y="41862"/>
                  <a:pt x="93060" y="41755"/>
                </a:cubicBezTo>
                <a:cubicBezTo>
                  <a:pt x="92834" y="41672"/>
                  <a:pt x="92679" y="41541"/>
                  <a:pt x="92679" y="41208"/>
                </a:cubicBezTo>
                <a:cubicBezTo>
                  <a:pt x="92679" y="41089"/>
                  <a:pt x="92715" y="40946"/>
                  <a:pt x="92750" y="40827"/>
                </a:cubicBezTo>
                <a:cubicBezTo>
                  <a:pt x="92715" y="40827"/>
                  <a:pt x="92655" y="40731"/>
                  <a:pt x="92655" y="40696"/>
                </a:cubicBezTo>
                <a:cubicBezTo>
                  <a:pt x="92655" y="40458"/>
                  <a:pt x="93060" y="40458"/>
                  <a:pt x="93250" y="40303"/>
                </a:cubicBezTo>
                <a:cubicBezTo>
                  <a:pt x="93358" y="40434"/>
                  <a:pt x="93250" y="40886"/>
                  <a:pt x="93489" y="40886"/>
                </a:cubicBezTo>
                <a:lnTo>
                  <a:pt x="94036" y="40886"/>
                </a:lnTo>
                <a:cubicBezTo>
                  <a:pt x="94036" y="41386"/>
                  <a:pt x="94489" y="42124"/>
                  <a:pt x="94882" y="42124"/>
                </a:cubicBezTo>
                <a:lnTo>
                  <a:pt x="95143" y="42124"/>
                </a:lnTo>
                <a:cubicBezTo>
                  <a:pt x="95143" y="42422"/>
                  <a:pt x="95429" y="42446"/>
                  <a:pt x="95679" y="42601"/>
                </a:cubicBezTo>
                <a:cubicBezTo>
                  <a:pt x="95941" y="42755"/>
                  <a:pt x="96334" y="43208"/>
                  <a:pt x="96334" y="43517"/>
                </a:cubicBezTo>
                <a:lnTo>
                  <a:pt x="96334" y="44077"/>
                </a:lnTo>
                <a:cubicBezTo>
                  <a:pt x="96334" y="44529"/>
                  <a:pt x="96620" y="44732"/>
                  <a:pt x="96846" y="44994"/>
                </a:cubicBezTo>
                <a:cubicBezTo>
                  <a:pt x="97013" y="45184"/>
                  <a:pt x="97156" y="45387"/>
                  <a:pt x="97227" y="45684"/>
                </a:cubicBezTo>
                <a:cubicBezTo>
                  <a:pt x="97227" y="45732"/>
                  <a:pt x="97263" y="45922"/>
                  <a:pt x="97334" y="45922"/>
                </a:cubicBezTo>
                <a:lnTo>
                  <a:pt x="97644" y="45922"/>
                </a:lnTo>
                <a:cubicBezTo>
                  <a:pt x="97584" y="46030"/>
                  <a:pt x="97406" y="46101"/>
                  <a:pt x="97406" y="46256"/>
                </a:cubicBezTo>
                <a:cubicBezTo>
                  <a:pt x="97406" y="46613"/>
                  <a:pt x="97656" y="46970"/>
                  <a:pt x="97953" y="46970"/>
                </a:cubicBezTo>
                <a:lnTo>
                  <a:pt x="98203" y="46970"/>
                </a:lnTo>
                <a:cubicBezTo>
                  <a:pt x="98025" y="46863"/>
                  <a:pt x="98203" y="46601"/>
                  <a:pt x="98203" y="46470"/>
                </a:cubicBezTo>
                <a:cubicBezTo>
                  <a:pt x="98203" y="46292"/>
                  <a:pt x="98144" y="46232"/>
                  <a:pt x="98096" y="46101"/>
                </a:cubicBezTo>
                <a:lnTo>
                  <a:pt x="98096" y="45922"/>
                </a:lnTo>
                <a:cubicBezTo>
                  <a:pt x="98180" y="46030"/>
                  <a:pt x="98370" y="46208"/>
                  <a:pt x="98561" y="46256"/>
                </a:cubicBezTo>
                <a:lnTo>
                  <a:pt x="98596" y="46256"/>
                </a:lnTo>
                <a:cubicBezTo>
                  <a:pt x="98632" y="46101"/>
                  <a:pt x="98823" y="46184"/>
                  <a:pt x="98906" y="46125"/>
                </a:cubicBezTo>
                <a:cubicBezTo>
                  <a:pt x="98870" y="46077"/>
                  <a:pt x="98834" y="45994"/>
                  <a:pt x="98834" y="45922"/>
                </a:cubicBezTo>
                <a:cubicBezTo>
                  <a:pt x="98692" y="45922"/>
                  <a:pt x="98203" y="45387"/>
                  <a:pt x="98203" y="45315"/>
                </a:cubicBezTo>
                <a:cubicBezTo>
                  <a:pt x="98203" y="45256"/>
                  <a:pt x="98263" y="45184"/>
                  <a:pt x="98275" y="45053"/>
                </a:cubicBezTo>
                <a:lnTo>
                  <a:pt x="97930" y="44577"/>
                </a:lnTo>
                <a:cubicBezTo>
                  <a:pt x="97930" y="44470"/>
                  <a:pt x="98037" y="44339"/>
                  <a:pt x="98132" y="44339"/>
                </a:cubicBezTo>
                <a:cubicBezTo>
                  <a:pt x="98299" y="44339"/>
                  <a:pt x="98334" y="44660"/>
                  <a:pt x="98596" y="44660"/>
                </a:cubicBezTo>
                <a:cubicBezTo>
                  <a:pt x="98632" y="44494"/>
                  <a:pt x="98632" y="44363"/>
                  <a:pt x="98596" y="44184"/>
                </a:cubicBezTo>
                <a:cubicBezTo>
                  <a:pt x="98834" y="44101"/>
                  <a:pt x="98906" y="43910"/>
                  <a:pt x="99204" y="43910"/>
                </a:cubicBezTo>
                <a:cubicBezTo>
                  <a:pt x="99525" y="43910"/>
                  <a:pt x="99692" y="44339"/>
                  <a:pt x="99966" y="44339"/>
                </a:cubicBezTo>
                <a:cubicBezTo>
                  <a:pt x="100192" y="44339"/>
                  <a:pt x="100251" y="44053"/>
                  <a:pt x="100489" y="43922"/>
                </a:cubicBezTo>
                <a:cubicBezTo>
                  <a:pt x="100550" y="43889"/>
                  <a:pt x="100608" y="43882"/>
                  <a:pt x="100665" y="43882"/>
                </a:cubicBezTo>
                <a:cubicBezTo>
                  <a:pt x="100707" y="43882"/>
                  <a:pt x="100749" y="43886"/>
                  <a:pt x="100792" y="43886"/>
                </a:cubicBezTo>
                <a:cubicBezTo>
                  <a:pt x="100840" y="43886"/>
                  <a:pt x="100889" y="43882"/>
                  <a:pt x="100942" y="43863"/>
                </a:cubicBezTo>
                <a:cubicBezTo>
                  <a:pt x="101025" y="43839"/>
                  <a:pt x="101097" y="43863"/>
                  <a:pt x="101180" y="43767"/>
                </a:cubicBezTo>
                <a:cubicBezTo>
                  <a:pt x="101061" y="43577"/>
                  <a:pt x="100573" y="43279"/>
                  <a:pt x="100573" y="42839"/>
                </a:cubicBezTo>
                <a:cubicBezTo>
                  <a:pt x="100573" y="42541"/>
                  <a:pt x="100906" y="42101"/>
                  <a:pt x="101085" y="41886"/>
                </a:cubicBezTo>
                <a:lnTo>
                  <a:pt x="101085" y="41315"/>
                </a:lnTo>
                <a:cubicBezTo>
                  <a:pt x="101132" y="41196"/>
                  <a:pt x="101132" y="41362"/>
                  <a:pt x="101204" y="41017"/>
                </a:cubicBezTo>
                <a:cubicBezTo>
                  <a:pt x="101204" y="40791"/>
                  <a:pt x="101394" y="40696"/>
                  <a:pt x="101573" y="40648"/>
                </a:cubicBezTo>
                <a:cubicBezTo>
                  <a:pt x="101549" y="40541"/>
                  <a:pt x="101573" y="40434"/>
                  <a:pt x="101549" y="40327"/>
                </a:cubicBezTo>
                <a:cubicBezTo>
                  <a:pt x="101954" y="40196"/>
                  <a:pt x="101990" y="39624"/>
                  <a:pt x="102394" y="39624"/>
                </a:cubicBezTo>
                <a:cubicBezTo>
                  <a:pt x="102716" y="39624"/>
                  <a:pt x="103549" y="41255"/>
                  <a:pt x="103799" y="41255"/>
                </a:cubicBezTo>
                <a:cubicBezTo>
                  <a:pt x="104061" y="41255"/>
                  <a:pt x="104930" y="40803"/>
                  <a:pt x="105073" y="40577"/>
                </a:cubicBezTo>
                <a:cubicBezTo>
                  <a:pt x="105038" y="40577"/>
                  <a:pt x="104561" y="40493"/>
                  <a:pt x="104561" y="40493"/>
                </a:cubicBezTo>
                <a:cubicBezTo>
                  <a:pt x="104490" y="40493"/>
                  <a:pt x="104252" y="40434"/>
                  <a:pt x="104252" y="40172"/>
                </a:cubicBezTo>
                <a:cubicBezTo>
                  <a:pt x="104252" y="39993"/>
                  <a:pt x="105573" y="39410"/>
                  <a:pt x="106061" y="39195"/>
                </a:cubicBezTo>
                <a:lnTo>
                  <a:pt x="106061" y="39195"/>
                </a:lnTo>
                <a:cubicBezTo>
                  <a:pt x="106061" y="39196"/>
                  <a:pt x="105835" y="39517"/>
                  <a:pt x="105740" y="39565"/>
                </a:cubicBezTo>
                <a:cubicBezTo>
                  <a:pt x="105776" y="39696"/>
                  <a:pt x="106252" y="40279"/>
                  <a:pt x="105192" y="40600"/>
                </a:cubicBezTo>
                <a:cubicBezTo>
                  <a:pt x="105657" y="41886"/>
                  <a:pt x="107740" y="41672"/>
                  <a:pt x="107740" y="43386"/>
                </a:cubicBezTo>
                <a:lnTo>
                  <a:pt x="107812" y="43363"/>
                </a:lnTo>
                <a:lnTo>
                  <a:pt x="107824" y="43363"/>
                </a:lnTo>
                <a:cubicBezTo>
                  <a:pt x="107502" y="43517"/>
                  <a:pt x="107288" y="43863"/>
                  <a:pt x="106919" y="43863"/>
                </a:cubicBezTo>
                <a:lnTo>
                  <a:pt x="105883" y="43863"/>
                </a:lnTo>
                <a:cubicBezTo>
                  <a:pt x="105681" y="43839"/>
                  <a:pt x="104978" y="43684"/>
                  <a:pt x="104978" y="43434"/>
                </a:cubicBezTo>
                <a:cubicBezTo>
                  <a:pt x="104561" y="43434"/>
                  <a:pt x="104585" y="43101"/>
                  <a:pt x="104097" y="43101"/>
                </a:cubicBezTo>
                <a:cubicBezTo>
                  <a:pt x="103787" y="43101"/>
                  <a:pt x="103275" y="43125"/>
                  <a:pt x="103037" y="43291"/>
                </a:cubicBezTo>
                <a:cubicBezTo>
                  <a:pt x="102847" y="43446"/>
                  <a:pt x="102513" y="43732"/>
                  <a:pt x="102299" y="43732"/>
                </a:cubicBezTo>
                <a:lnTo>
                  <a:pt x="101740" y="43732"/>
                </a:lnTo>
                <a:cubicBezTo>
                  <a:pt x="101695" y="43732"/>
                  <a:pt x="101596" y="43714"/>
                  <a:pt x="101503" y="43714"/>
                </a:cubicBezTo>
                <a:cubicBezTo>
                  <a:pt x="101397" y="43714"/>
                  <a:pt x="101299" y="43737"/>
                  <a:pt x="101299" y="43839"/>
                </a:cubicBezTo>
                <a:cubicBezTo>
                  <a:pt x="101299" y="43994"/>
                  <a:pt x="101406" y="43922"/>
                  <a:pt x="101442" y="44101"/>
                </a:cubicBezTo>
                <a:cubicBezTo>
                  <a:pt x="101120" y="44291"/>
                  <a:pt x="99811" y="44160"/>
                  <a:pt x="99811" y="44839"/>
                </a:cubicBezTo>
                <a:cubicBezTo>
                  <a:pt x="99811" y="44935"/>
                  <a:pt x="99913" y="44948"/>
                  <a:pt x="100015" y="44948"/>
                </a:cubicBezTo>
                <a:cubicBezTo>
                  <a:pt x="100052" y="44948"/>
                  <a:pt x="100089" y="44946"/>
                  <a:pt x="100120" y="44946"/>
                </a:cubicBezTo>
                <a:cubicBezTo>
                  <a:pt x="100085" y="45053"/>
                  <a:pt x="100120" y="45053"/>
                  <a:pt x="100120" y="45208"/>
                </a:cubicBezTo>
                <a:cubicBezTo>
                  <a:pt x="100120" y="45625"/>
                  <a:pt x="99930" y="45577"/>
                  <a:pt x="99739" y="45792"/>
                </a:cubicBezTo>
                <a:cubicBezTo>
                  <a:pt x="100001" y="45946"/>
                  <a:pt x="100192" y="45922"/>
                  <a:pt x="100358" y="46208"/>
                </a:cubicBezTo>
                <a:cubicBezTo>
                  <a:pt x="100180" y="46423"/>
                  <a:pt x="100704" y="46756"/>
                  <a:pt x="100811" y="46875"/>
                </a:cubicBezTo>
                <a:cubicBezTo>
                  <a:pt x="100799" y="46923"/>
                  <a:pt x="100716" y="46994"/>
                  <a:pt x="100668" y="47006"/>
                </a:cubicBezTo>
                <a:lnTo>
                  <a:pt x="100870" y="47006"/>
                </a:lnTo>
                <a:cubicBezTo>
                  <a:pt x="100919" y="46979"/>
                  <a:pt x="100964" y="46968"/>
                  <a:pt x="101007" y="46968"/>
                </a:cubicBezTo>
                <a:cubicBezTo>
                  <a:pt x="101269" y="46968"/>
                  <a:pt x="101443" y="47399"/>
                  <a:pt x="101740" y="47399"/>
                </a:cubicBezTo>
                <a:cubicBezTo>
                  <a:pt x="102061" y="47399"/>
                  <a:pt x="101990" y="46899"/>
                  <a:pt x="102371" y="46899"/>
                </a:cubicBezTo>
                <a:cubicBezTo>
                  <a:pt x="102752" y="46899"/>
                  <a:pt x="102894" y="47446"/>
                  <a:pt x="103275" y="47446"/>
                </a:cubicBezTo>
                <a:cubicBezTo>
                  <a:pt x="103799" y="47446"/>
                  <a:pt x="103895" y="47161"/>
                  <a:pt x="104180" y="46899"/>
                </a:cubicBezTo>
                <a:cubicBezTo>
                  <a:pt x="104252" y="46994"/>
                  <a:pt x="104359" y="47077"/>
                  <a:pt x="104549" y="47077"/>
                </a:cubicBezTo>
                <a:cubicBezTo>
                  <a:pt x="104692" y="47077"/>
                  <a:pt x="104740" y="46946"/>
                  <a:pt x="104895" y="46875"/>
                </a:cubicBezTo>
                <a:lnTo>
                  <a:pt x="104895" y="47101"/>
                </a:lnTo>
                <a:cubicBezTo>
                  <a:pt x="104847" y="47137"/>
                  <a:pt x="104764" y="47185"/>
                  <a:pt x="104764" y="47316"/>
                </a:cubicBezTo>
                <a:cubicBezTo>
                  <a:pt x="104764" y="47577"/>
                  <a:pt x="104847" y="47875"/>
                  <a:pt x="104847" y="48244"/>
                </a:cubicBezTo>
                <a:cubicBezTo>
                  <a:pt x="104847" y="48744"/>
                  <a:pt x="104490" y="48851"/>
                  <a:pt x="104383" y="49292"/>
                </a:cubicBezTo>
                <a:cubicBezTo>
                  <a:pt x="104276" y="49721"/>
                  <a:pt x="104216" y="49959"/>
                  <a:pt x="104097" y="50447"/>
                </a:cubicBezTo>
                <a:cubicBezTo>
                  <a:pt x="104073" y="50530"/>
                  <a:pt x="103942" y="50530"/>
                  <a:pt x="103942" y="50685"/>
                </a:cubicBezTo>
                <a:lnTo>
                  <a:pt x="104049" y="50971"/>
                </a:lnTo>
                <a:cubicBezTo>
                  <a:pt x="104026" y="50911"/>
                  <a:pt x="104002" y="50864"/>
                  <a:pt x="103990" y="50816"/>
                </a:cubicBezTo>
                <a:cubicBezTo>
                  <a:pt x="103740" y="50875"/>
                  <a:pt x="103740" y="50983"/>
                  <a:pt x="103478" y="50983"/>
                </a:cubicBezTo>
                <a:cubicBezTo>
                  <a:pt x="103073" y="50983"/>
                  <a:pt x="102883" y="50697"/>
                  <a:pt x="102537" y="50697"/>
                </a:cubicBezTo>
                <a:cubicBezTo>
                  <a:pt x="101966" y="50697"/>
                  <a:pt x="101787" y="51030"/>
                  <a:pt x="101216" y="51030"/>
                </a:cubicBezTo>
                <a:cubicBezTo>
                  <a:pt x="100573" y="51030"/>
                  <a:pt x="99763" y="50709"/>
                  <a:pt x="99180" y="50447"/>
                </a:cubicBezTo>
                <a:cubicBezTo>
                  <a:pt x="98894" y="50316"/>
                  <a:pt x="98477" y="50483"/>
                  <a:pt x="98311" y="50221"/>
                </a:cubicBezTo>
                <a:cubicBezTo>
                  <a:pt x="98239" y="50090"/>
                  <a:pt x="98037" y="50030"/>
                  <a:pt x="98037" y="49721"/>
                </a:cubicBezTo>
                <a:lnTo>
                  <a:pt x="97644" y="49721"/>
                </a:lnTo>
                <a:lnTo>
                  <a:pt x="97584" y="49685"/>
                </a:lnTo>
                <a:cubicBezTo>
                  <a:pt x="97025" y="49899"/>
                  <a:pt x="96584" y="49899"/>
                  <a:pt x="96584" y="50590"/>
                </a:cubicBezTo>
                <a:lnTo>
                  <a:pt x="96584" y="51030"/>
                </a:lnTo>
                <a:cubicBezTo>
                  <a:pt x="96584" y="51137"/>
                  <a:pt x="96394" y="51352"/>
                  <a:pt x="96227" y="51352"/>
                </a:cubicBezTo>
                <a:cubicBezTo>
                  <a:pt x="94882" y="51352"/>
                  <a:pt x="94465" y="49613"/>
                  <a:pt x="93298" y="49613"/>
                </a:cubicBezTo>
                <a:lnTo>
                  <a:pt x="92786" y="49613"/>
                </a:lnTo>
                <a:cubicBezTo>
                  <a:pt x="92441" y="49613"/>
                  <a:pt x="91965" y="49137"/>
                  <a:pt x="91965" y="48601"/>
                </a:cubicBezTo>
                <a:cubicBezTo>
                  <a:pt x="91965" y="48268"/>
                  <a:pt x="92203" y="48101"/>
                  <a:pt x="92203" y="47768"/>
                </a:cubicBezTo>
                <a:cubicBezTo>
                  <a:pt x="92203" y="47577"/>
                  <a:pt x="91965" y="47482"/>
                  <a:pt x="91965" y="47292"/>
                </a:cubicBezTo>
                <a:cubicBezTo>
                  <a:pt x="91965" y="47006"/>
                  <a:pt x="92226" y="47054"/>
                  <a:pt x="92238" y="46732"/>
                </a:cubicBezTo>
                <a:lnTo>
                  <a:pt x="92238" y="46732"/>
                </a:lnTo>
                <a:cubicBezTo>
                  <a:pt x="92131" y="46756"/>
                  <a:pt x="92072" y="46863"/>
                  <a:pt x="91965" y="46863"/>
                </a:cubicBezTo>
                <a:cubicBezTo>
                  <a:pt x="91679" y="46863"/>
                  <a:pt x="91774" y="46470"/>
                  <a:pt x="91429" y="46470"/>
                </a:cubicBezTo>
                <a:cubicBezTo>
                  <a:pt x="91083" y="46470"/>
                  <a:pt x="91060" y="46792"/>
                  <a:pt x="90702" y="46792"/>
                </a:cubicBezTo>
                <a:cubicBezTo>
                  <a:pt x="90500" y="46792"/>
                  <a:pt x="90393" y="46637"/>
                  <a:pt x="90155" y="46637"/>
                </a:cubicBezTo>
                <a:cubicBezTo>
                  <a:pt x="89881" y="46637"/>
                  <a:pt x="89595" y="46970"/>
                  <a:pt x="89393" y="46970"/>
                </a:cubicBezTo>
                <a:cubicBezTo>
                  <a:pt x="89250" y="46970"/>
                  <a:pt x="89012" y="46756"/>
                  <a:pt x="88762" y="46756"/>
                </a:cubicBezTo>
                <a:cubicBezTo>
                  <a:pt x="87940" y="46756"/>
                  <a:pt x="86607" y="47363"/>
                  <a:pt x="85892" y="47768"/>
                </a:cubicBezTo>
                <a:cubicBezTo>
                  <a:pt x="85678" y="47899"/>
                  <a:pt x="85607" y="48161"/>
                  <a:pt x="85226" y="48161"/>
                </a:cubicBezTo>
                <a:cubicBezTo>
                  <a:pt x="84606" y="48161"/>
                  <a:pt x="84142" y="48006"/>
                  <a:pt x="83690" y="47613"/>
                </a:cubicBezTo>
                <a:cubicBezTo>
                  <a:pt x="83499" y="47792"/>
                  <a:pt x="83463" y="47994"/>
                  <a:pt x="83321" y="48208"/>
                </a:cubicBezTo>
                <a:lnTo>
                  <a:pt x="83356" y="48208"/>
                </a:lnTo>
                <a:cubicBezTo>
                  <a:pt x="82904" y="48875"/>
                  <a:pt x="82297" y="49554"/>
                  <a:pt x="81820" y="50268"/>
                </a:cubicBezTo>
                <a:cubicBezTo>
                  <a:pt x="81463" y="50816"/>
                  <a:pt x="81725" y="51161"/>
                  <a:pt x="81511" y="51959"/>
                </a:cubicBezTo>
                <a:cubicBezTo>
                  <a:pt x="81427" y="52304"/>
                  <a:pt x="80963" y="52745"/>
                  <a:pt x="80701" y="52935"/>
                </a:cubicBezTo>
                <a:cubicBezTo>
                  <a:pt x="80368" y="53161"/>
                  <a:pt x="79903" y="53114"/>
                  <a:pt x="79642" y="53519"/>
                </a:cubicBezTo>
                <a:cubicBezTo>
                  <a:pt x="79213" y="54245"/>
                  <a:pt x="78665" y="55388"/>
                  <a:pt x="78427" y="56233"/>
                </a:cubicBezTo>
                <a:cubicBezTo>
                  <a:pt x="78344" y="56590"/>
                  <a:pt x="77927" y="56852"/>
                  <a:pt x="77927" y="57281"/>
                </a:cubicBezTo>
                <a:cubicBezTo>
                  <a:pt x="77927" y="58150"/>
                  <a:pt x="78284" y="58757"/>
                  <a:pt x="78284" y="59710"/>
                </a:cubicBezTo>
                <a:cubicBezTo>
                  <a:pt x="78284" y="60258"/>
                  <a:pt x="77927" y="61424"/>
                  <a:pt x="77522" y="61674"/>
                </a:cubicBezTo>
                <a:cubicBezTo>
                  <a:pt x="77653" y="61972"/>
                  <a:pt x="77796" y="62079"/>
                  <a:pt x="77796" y="62389"/>
                </a:cubicBezTo>
                <a:cubicBezTo>
                  <a:pt x="77796" y="62579"/>
                  <a:pt x="77891" y="62746"/>
                  <a:pt x="77891" y="63079"/>
                </a:cubicBezTo>
                <a:lnTo>
                  <a:pt x="77832" y="63079"/>
                </a:lnTo>
                <a:cubicBezTo>
                  <a:pt x="77927" y="63210"/>
                  <a:pt x="77975" y="63258"/>
                  <a:pt x="78070" y="63377"/>
                </a:cubicBezTo>
                <a:cubicBezTo>
                  <a:pt x="78070" y="63472"/>
                  <a:pt x="79034" y="64484"/>
                  <a:pt x="79153" y="64603"/>
                </a:cubicBezTo>
                <a:cubicBezTo>
                  <a:pt x="79606" y="65032"/>
                  <a:pt x="79713" y="65556"/>
                  <a:pt x="80058" y="66187"/>
                </a:cubicBezTo>
                <a:cubicBezTo>
                  <a:pt x="80439" y="66877"/>
                  <a:pt x="81499" y="67616"/>
                  <a:pt x="81999" y="68068"/>
                </a:cubicBezTo>
                <a:cubicBezTo>
                  <a:pt x="82070" y="68139"/>
                  <a:pt x="82332" y="68247"/>
                  <a:pt x="82547" y="68247"/>
                </a:cubicBezTo>
                <a:cubicBezTo>
                  <a:pt x="83249" y="68247"/>
                  <a:pt x="83559" y="67806"/>
                  <a:pt x="84261" y="67806"/>
                </a:cubicBezTo>
                <a:cubicBezTo>
                  <a:pt x="84630" y="67806"/>
                  <a:pt x="85083" y="68139"/>
                  <a:pt x="85357" y="68139"/>
                </a:cubicBezTo>
                <a:cubicBezTo>
                  <a:pt x="85630" y="68139"/>
                  <a:pt x="85714" y="67854"/>
                  <a:pt x="85988" y="67747"/>
                </a:cubicBezTo>
                <a:cubicBezTo>
                  <a:pt x="86678" y="67485"/>
                  <a:pt x="87345" y="66985"/>
                  <a:pt x="88250" y="66985"/>
                </a:cubicBezTo>
                <a:cubicBezTo>
                  <a:pt x="89000" y="66985"/>
                  <a:pt x="89119" y="68247"/>
                  <a:pt x="89667" y="68247"/>
                </a:cubicBezTo>
                <a:lnTo>
                  <a:pt x="90429" y="68247"/>
                </a:lnTo>
                <a:cubicBezTo>
                  <a:pt x="91048" y="68247"/>
                  <a:pt x="91369" y="68675"/>
                  <a:pt x="91572" y="69163"/>
                </a:cubicBezTo>
                <a:cubicBezTo>
                  <a:pt x="91393" y="69330"/>
                  <a:pt x="91393" y="69985"/>
                  <a:pt x="91393" y="70247"/>
                </a:cubicBezTo>
                <a:cubicBezTo>
                  <a:pt x="91393" y="70330"/>
                  <a:pt x="91322" y="70378"/>
                  <a:pt x="91393" y="70568"/>
                </a:cubicBezTo>
                <a:cubicBezTo>
                  <a:pt x="91262" y="70652"/>
                  <a:pt x="90976" y="71199"/>
                  <a:pt x="90976" y="71438"/>
                </a:cubicBezTo>
                <a:cubicBezTo>
                  <a:pt x="90976" y="72461"/>
                  <a:pt x="92000" y="73223"/>
                  <a:pt x="92476" y="73938"/>
                </a:cubicBezTo>
                <a:cubicBezTo>
                  <a:pt x="92715" y="74307"/>
                  <a:pt x="92643" y="74807"/>
                  <a:pt x="92786" y="75236"/>
                </a:cubicBezTo>
                <a:cubicBezTo>
                  <a:pt x="92965" y="75783"/>
                  <a:pt x="93108" y="76105"/>
                  <a:pt x="93238" y="77045"/>
                </a:cubicBezTo>
                <a:cubicBezTo>
                  <a:pt x="93298" y="77522"/>
                  <a:pt x="93477" y="77736"/>
                  <a:pt x="93477" y="78272"/>
                </a:cubicBezTo>
                <a:cubicBezTo>
                  <a:pt x="93477" y="79427"/>
                  <a:pt x="92334" y="79796"/>
                  <a:pt x="92334" y="81320"/>
                </a:cubicBezTo>
                <a:cubicBezTo>
                  <a:pt x="92334" y="82725"/>
                  <a:pt x="92869" y="83558"/>
                  <a:pt x="93381" y="84570"/>
                </a:cubicBezTo>
                <a:cubicBezTo>
                  <a:pt x="93524" y="84880"/>
                  <a:pt x="93739" y="84987"/>
                  <a:pt x="93739" y="85296"/>
                </a:cubicBezTo>
                <a:lnTo>
                  <a:pt x="93739" y="85880"/>
                </a:lnTo>
                <a:cubicBezTo>
                  <a:pt x="93739" y="87785"/>
                  <a:pt x="94572" y="89071"/>
                  <a:pt x="95227" y="90392"/>
                </a:cubicBezTo>
                <a:cubicBezTo>
                  <a:pt x="95322" y="90583"/>
                  <a:pt x="95834" y="91238"/>
                  <a:pt x="95834" y="91583"/>
                </a:cubicBezTo>
                <a:cubicBezTo>
                  <a:pt x="95834" y="91833"/>
                  <a:pt x="95739" y="92000"/>
                  <a:pt x="95596" y="92178"/>
                </a:cubicBezTo>
                <a:cubicBezTo>
                  <a:pt x="95739" y="92345"/>
                  <a:pt x="95917" y="92833"/>
                  <a:pt x="95917" y="93262"/>
                </a:cubicBezTo>
                <a:cubicBezTo>
                  <a:pt x="95953" y="93238"/>
                  <a:pt x="95989" y="93178"/>
                  <a:pt x="96096" y="93154"/>
                </a:cubicBezTo>
                <a:cubicBezTo>
                  <a:pt x="96215" y="93393"/>
                  <a:pt x="96370" y="93583"/>
                  <a:pt x="96679" y="93583"/>
                </a:cubicBezTo>
                <a:cubicBezTo>
                  <a:pt x="97370" y="93583"/>
                  <a:pt x="97822" y="92940"/>
                  <a:pt x="98584" y="92940"/>
                </a:cubicBezTo>
                <a:cubicBezTo>
                  <a:pt x="98787" y="92940"/>
                  <a:pt x="98894" y="93154"/>
                  <a:pt x="99084" y="93154"/>
                </a:cubicBezTo>
                <a:cubicBezTo>
                  <a:pt x="99251" y="93154"/>
                  <a:pt x="99394" y="93023"/>
                  <a:pt x="99632" y="93000"/>
                </a:cubicBezTo>
                <a:cubicBezTo>
                  <a:pt x="99692" y="92607"/>
                  <a:pt x="100144" y="92785"/>
                  <a:pt x="100454" y="92607"/>
                </a:cubicBezTo>
                <a:cubicBezTo>
                  <a:pt x="101192" y="92178"/>
                  <a:pt x="101394" y="91571"/>
                  <a:pt x="101847" y="90868"/>
                </a:cubicBezTo>
                <a:cubicBezTo>
                  <a:pt x="102132" y="90440"/>
                  <a:pt x="102168" y="89940"/>
                  <a:pt x="102573" y="89464"/>
                </a:cubicBezTo>
                <a:cubicBezTo>
                  <a:pt x="102787" y="89202"/>
                  <a:pt x="103299" y="88725"/>
                  <a:pt x="103299" y="88118"/>
                </a:cubicBezTo>
                <a:cubicBezTo>
                  <a:pt x="103299" y="87916"/>
                  <a:pt x="103180" y="87761"/>
                  <a:pt x="103025" y="87654"/>
                </a:cubicBezTo>
                <a:cubicBezTo>
                  <a:pt x="103240" y="87118"/>
                  <a:pt x="103490" y="86904"/>
                  <a:pt x="103930" y="86642"/>
                </a:cubicBezTo>
                <a:cubicBezTo>
                  <a:pt x="104049" y="86570"/>
                  <a:pt x="104359" y="86654"/>
                  <a:pt x="104478" y="86487"/>
                </a:cubicBezTo>
                <a:cubicBezTo>
                  <a:pt x="104585" y="86285"/>
                  <a:pt x="104621" y="85570"/>
                  <a:pt x="104621" y="85225"/>
                </a:cubicBezTo>
                <a:cubicBezTo>
                  <a:pt x="104621" y="84570"/>
                  <a:pt x="104109" y="84249"/>
                  <a:pt x="104109" y="83772"/>
                </a:cubicBezTo>
                <a:cubicBezTo>
                  <a:pt x="104109" y="83534"/>
                  <a:pt x="104407" y="83165"/>
                  <a:pt x="104657" y="83118"/>
                </a:cubicBezTo>
                <a:cubicBezTo>
                  <a:pt x="104847" y="81689"/>
                  <a:pt x="107240" y="81879"/>
                  <a:pt x="107240" y="80189"/>
                </a:cubicBezTo>
                <a:cubicBezTo>
                  <a:pt x="107240" y="80010"/>
                  <a:pt x="107205" y="79879"/>
                  <a:pt x="107097" y="79760"/>
                </a:cubicBezTo>
                <a:cubicBezTo>
                  <a:pt x="107097" y="79141"/>
                  <a:pt x="107157" y="78736"/>
                  <a:pt x="107157" y="78391"/>
                </a:cubicBezTo>
                <a:lnTo>
                  <a:pt x="107157" y="77843"/>
                </a:lnTo>
                <a:cubicBezTo>
                  <a:pt x="107169" y="77795"/>
                  <a:pt x="107288" y="77653"/>
                  <a:pt x="107288" y="77522"/>
                </a:cubicBezTo>
                <a:cubicBezTo>
                  <a:pt x="107288" y="77105"/>
                  <a:pt x="106609" y="76736"/>
                  <a:pt x="106609" y="75998"/>
                </a:cubicBezTo>
                <a:cubicBezTo>
                  <a:pt x="106609" y="75343"/>
                  <a:pt x="106466" y="75045"/>
                  <a:pt x="106466" y="74366"/>
                </a:cubicBezTo>
                <a:cubicBezTo>
                  <a:pt x="106466" y="73759"/>
                  <a:pt x="106943" y="73604"/>
                  <a:pt x="107062" y="73069"/>
                </a:cubicBezTo>
                <a:cubicBezTo>
                  <a:pt x="107514" y="71128"/>
                  <a:pt x="108800" y="70783"/>
                  <a:pt x="110002" y="69652"/>
                </a:cubicBezTo>
                <a:cubicBezTo>
                  <a:pt x="110669" y="69032"/>
                  <a:pt x="110907" y="68247"/>
                  <a:pt x="111443" y="67377"/>
                </a:cubicBezTo>
                <a:cubicBezTo>
                  <a:pt x="111907" y="66639"/>
                  <a:pt x="112717" y="65032"/>
                  <a:pt x="112717" y="63794"/>
                </a:cubicBezTo>
                <a:cubicBezTo>
                  <a:pt x="112717" y="63663"/>
                  <a:pt x="112646" y="63603"/>
                  <a:pt x="112586" y="63472"/>
                </a:cubicBezTo>
                <a:cubicBezTo>
                  <a:pt x="111943" y="63663"/>
                  <a:pt x="111288" y="63984"/>
                  <a:pt x="110598" y="64115"/>
                </a:cubicBezTo>
                <a:cubicBezTo>
                  <a:pt x="110559" y="64122"/>
                  <a:pt x="110523" y="64125"/>
                  <a:pt x="110488" y="64125"/>
                </a:cubicBezTo>
                <a:cubicBezTo>
                  <a:pt x="110339" y="64125"/>
                  <a:pt x="110215" y="64077"/>
                  <a:pt x="110075" y="64077"/>
                </a:cubicBezTo>
                <a:cubicBezTo>
                  <a:pt x="110012" y="64077"/>
                  <a:pt x="109945" y="64086"/>
                  <a:pt x="109872" y="64115"/>
                </a:cubicBezTo>
                <a:cubicBezTo>
                  <a:pt x="109633" y="64210"/>
                  <a:pt x="109621" y="64484"/>
                  <a:pt x="109324" y="64484"/>
                </a:cubicBezTo>
                <a:cubicBezTo>
                  <a:pt x="109026" y="64484"/>
                  <a:pt x="108788" y="63794"/>
                  <a:pt x="108550" y="63579"/>
                </a:cubicBezTo>
                <a:cubicBezTo>
                  <a:pt x="108729" y="63317"/>
                  <a:pt x="108562" y="63258"/>
                  <a:pt x="108562" y="62889"/>
                </a:cubicBezTo>
                <a:cubicBezTo>
                  <a:pt x="107967" y="62889"/>
                  <a:pt x="107812" y="61996"/>
                  <a:pt x="107514" y="61734"/>
                </a:cubicBezTo>
                <a:cubicBezTo>
                  <a:pt x="107193" y="61448"/>
                  <a:pt x="106990" y="61424"/>
                  <a:pt x="106704" y="61079"/>
                </a:cubicBezTo>
                <a:cubicBezTo>
                  <a:pt x="106371" y="60686"/>
                  <a:pt x="106573" y="60127"/>
                  <a:pt x="106252" y="59603"/>
                </a:cubicBezTo>
                <a:cubicBezTo>
                  <a:pt x="105978" y="59174"/>
                  <a:pt x="105609" y="59174"/>
                  <a:pt x="105430" y="58579"/>
                </a:cubicBezTo>
                <a:lnTo>
                  <a:pt x="105430" y="57436"/>
                </a:lnTo>
                <a:cubicBezTo>
                  <a:pt x="105157" y="57174"/>
                  <a:pt x="104621" y="56221"/>
                  <a:pt x="104704" y="55757"/>
                </a:cubicBezTo>
                <a:lnTo>
                  <a:pt x="102990" y="52114"/>
                </a:lnTo>
                <a:lnTo>
                  <a:pt x="102990" y="51745"/>
                </a:lnTo>
                <a:cubicBezTo>
                  <a:pt x="103299" y="52114"/>
                  <a:pt x="103609" y="53090"/>
                  <a:pt x="103990" y="53161"/>
                </a:cubicBezTo>
                <a:cubicBezTo>
                  <a:pt x="104037" y="52947"/>
                  <a:pt x="104240" y="52388"/>
                  <a:pt x="104311" y="52078"/>
                </a:cubicBezTo>
                <a:lnTo>
                  <a:pt x="104311" y="52078"/>
                </a:lnTo>
                <a:cubicBezTo>
                  <a:pt x="104276" y="52340"/>
                  <a:pt x="104216" y="52614"/>
                  <a:pt x="104216" y="52769"/>
                </a:cubicBezTo>
                <a:cubicBezTo>
                  <a:pt x="104216" y="52828"/>
                  <a:pt x="104478" y="53173"/>
                  <a:pt x="104526" y="53281"/>
                </a:cubicBezTo>
                <a:cubicBezTo>
                  <a:pt x="104728" y="53650"/>
                  <a:pt x="104907" y="53983"/>
                  <a:pt x="105121" y="54376"/>
                </a:cubicBezTo>
                <a:cubicBezTo>
                  <a:pt x="105192" y="54495"/>
                  <a:pt x="105323" y="54674"/>
                  <a:pt x="105383" y="54888"/>
                </a:cubicBezTo>
                <a:cubicBezTo>
                  <a:pt x="105419" y="55019"/>
                  <a:pt x="105383" y="55352"/>
                  <a:pt x="105490" y="55483"/>
                </a:cubicBezTo>
                <a:cubicBezTo>
                  <a:pt x="105538" y="55543"/>
                  <a:pt x="105776" y="55495"/>
                  <a:pt x="105847" y="55590"/>
                </a:cubicBezTo>
                <a:cubicBezTo>
                  <a:pt x="105907" y="55650"/>
                  <a:pt x="105990" y="55781"/>
                  <a:pt x="106085" y="55864"/>
                </a:cubicBezTo>
                <a:cubicBezTo>
                  <a:pt x="106157" y="56281"/>
                  <a:pt x="106395" y="56388"/>
                  <a:pt x="106395" y="56888"/>
                </a:cubicBezTo>
                <a:cubicBezTo>
                  <a:pt x="106395" y="57710"/>
                  <a:pt x="106550" y="58162"/>
                  <a:pt x="107181" y="58329"/>
                </a:cubicBezTo>
                <a:cubicBezTo>
                  <a:pt x="107181" y="58853"/>
                  <a:pt x="107681" y="59603"/>
                  <a:pt x="107895" y="59865"/>
                </a:cubicBezTo>
                <a:cubicBezTo>
                  <a:pt x="108097" y="60103"/>
                  <a:pt x="108407" y="60293"/>
                  <a:pt x="108312" y="60781"/>
                </a:cubicBezTo>
                <a:cubicBezTo>
                  <a:pt x="108276" y="60972"/>
                  <a:pt x="108133" y="61389"/>
                  <a:pt x="108336" y="61401"/>
                </a:cubicBezTo>
                <a:cubicBezTo>
                  <a:pt x="108336" y="61817"/>
                  <a:pt x="108467" y="62174"/>
                  <a:pt x="108657" y="62520"/>
                </a:cubicBezTo>
                <a:cubicBezTo>
                  <a:pt x="108776" y="62734"/>
                  <a:pt x="108633" y="62734"/>
                  <a:pt x="108669" y="62758"/>
                </a:cubicBezTo>
                <a:cubicBezTo>
                  <a:pt x="108729" y="62782"/>
                  <a:pt x="109181" y="63056"/>
                  <a:pt x="109240" y="63056"/>
                </a:cubicBezTo>
                <a:lnTo>
                  <a:pt x="109348" y="62972"/>
                </a:lnTo>
                <a:cubicBezTo>
                  <a:pt x="109729" y="62972"/>
                  <a:pt x="109776" y="62794"/>
                  <a:pt x="110086" y="62532"/>
                </a:cubicBezTo>
                <a:lnTo>
                  <a:pt x="110657" y="62532"/>
                </a:lnTo>
                <a:cubicBezTo>
                  <a:pt x="110884" y="62401"/>
                  <a:pt x="111610" y="61793"/>
                  <a:pt x="111836" y="61734"/>
                </a:cubicBezTo>
                <a:cubicBezTo>
                  <a:pt x="112265" y="61603"/>
                  <a:pt x="112824" y="61448"/>
                  <a:pt x="113241" y="61210"/>
                </a:cubicBezTo>
                <a:cubicBezTo>
                  <a:pt x="113205" y="61162"/>
                  <a:pt x="113170" y="61079"/>
                  <a:pt x="113170" y="61020"/>
                </a:cubicBezTo>
                <a:cubicBezTo>
                  <a:pt x="113170" y="60543"/>
                  <a:pt x="114277" y="60293"/>
                  <a:pt x="114765" y="60186"/>
                </a:cubicBezTo>
                <a:cubicBezTo>
                  <a:pt x="114765" y="59924"/>
                  <a:pt x="115110" y="59567"/>
                  <a:pt x="115277" y="59567"/>
                </a:cubicBezTo>
                <a:cubicBezTo>
                  <a:pt x="115551" y="59567"/>
                  <a:pt x="115527" y="58936"/>
                  <a:pt x="115801" y="58936"/>
                </a:cubicBezTo>
                <a:cubicBezTo>
                  <a:pt x="116015" y="58936"/>
                  <a:pt x="116003" y="58567"/>
                  <a:pt x="116075" y="58305"/>
                </a:cubicBezTo>
                <a:cubicBezTo>
                  <a:pt x="116146" y="58043"/>
                  <a:pt x="116325" y="57960"/>
                  <a:pt x="116599" y="57960"/>
                </a:cubicBezTo>
                <a:cubicBezTo>
                  <a:pt x="116599" y="57436"/>
                  <a:pt x="117122" y="57257"/>
                  <a:pt x="117122" y="56757"/>
                </a:cubicBezTo>
                <a:cubicBezTo>
                  <a:pt x="117122" y="56567"/>
                  <a:pt x="116872" y="56602"/>
                  <a:pt x="116777" y="56412"/>
                </a:cubicBezTo>
                <a:lnTo>
                  <a:pt x="116777" y="56436"/>
                </a:lnTo>
                <a:cubicBezTo>
                  <a:pt x="116646" y="56340"/>
                  <a:pt x="116634" y="55971"/>
                  <a:pt x="116432" y="55912"/>
                </a:cubicBezTo>
                <a:cubicBezTo>
                  <a:pt x="115908" y="55721"/>
                  <a:pt x="115563" y="55602"/>
                  <a:pt x="115313" y="54983"/>
                </a:cubicBezTo>
                <a:lnTo>
                  <a:pt x="115313" y="54173"/>
                </a:lnTo>
                <a:cubicBezTo>
                  <a:pt x="114658" y="54757"/>
                  <a:pt x="114563" y="55650"/>
                  <a:pt x="113348" y="55650"/>
                </a:cubicBezTo>
                <a:cubicBezTo>
                  <a:pt x="113074" y="55650"/>
                  <a:pt x="112610" y="55495"/>
                  <a:pt x="112610" y="55197"/>
                </a:cubicBezTo>
                <a:cubicBezTo>
                  <a:pt x="112610" y="54935"/>
                  <a:pt x="112741" y="54757"/>
                  <a:pt x="112741" y="54495"/>
                </a:cubicBezTo>
                <a:cubicBezTo>
                  <a:pt x="112741" y="54412"/>
                  <a:pt x="112741" y="54352"/>
                  <a:pt x="112717" y="54269"/>
                </a:cubicBezTo>
                <a:cubicBezTo>
                  <a:pt x="112539" y="54304"/>
                  <a:pt x="112574" y="54590"/>
                  <a:pt x="112360" y="54650"/>
                </a:cubicBezTo>
                <a:cubicBezTo>
                  <a:pt x="112336" y="54459"/>
                  <a:pt x="112229" y="54388"/>
                  <a:pt x="112229" y="54150"/>
                </a:cubicBezTo>
                <a:cubicBezTo>
                  <a:pt x="111812" y="54043"/>
                  <a:pt x="111300" y="53114"/>
                  <a:pt x="111193" y="52590"/>
                </a:cubicBezTo>
                <a:cubicBezTo>
                  <a:pt x="111157" y="52411"/>
                  <a:pt x="111157" y="52304"/>
                  <a:pt x="111157" y="52090"/>
                </a:cubicBezTo>
                <a:cubicBezTo>
                  <a:pt x="111157" y="51792"/>
                  <a:pt x="111265" y="51399"/>
                  <a:pt x="111526" y="51399"/>
                </a:cubicBezTo>
                <a:cubicBezTo>
                  <a:pt x="112027" y="51399"/>
                  <a:pt x="112431" y="52066"/>
                  <a:pt x="112634" y="52542"/>
                </a:cubicBezTo>
                <a:cubicBezTo>
                  <a:pt x="112669" y="52638"/>
                  <a:pt x="112610" y="52804"/>
                  <a:pt x="112717" y="52935"/>
                </a:cubicBezTo>
                <a:cubicBezTo>
                  <a:pt x="112920" y="53173"/>
                  <a:pt x="113205" y="53042"/>
                  <a:pt x="113420" y="53304"/>
                </a:cubicBezTo>
                <a:cubicBezTo>
                  <a:pt x="113610" y="53519"/>
                  <a:pt x="113753" y="53804"/>
                  <a:pt x="114039" y="53912"/>
                </a:cubicBezTo>
                <a:lnTo>
                  <a:pt x="114944" y="53912"/>
                </a:lnTo>
                <a:cubicBezTo>
                  <a:pt x="115051" y="53781"/>
                  <a:pt x="115134" y="53590"/>
                  <a:pt x="115325" y="53590"/>
                </a:cubicBezTo>
                <a:cubicBezTo>
                  <a:pt x="115706" y="53590"/>
                  <a:pt x="115706" y="54245"/>
                  <a:pt x="115884" y="54459"/>
                </a:cubicBezTo>
                <a:cubicBezTo>
                  <a:pt x="115908" y="54483"/>
                  <a:pt x="116432" y="54650"/>
                  <a:pt x="116527" y="54650"/>
                </a:cubicBezTo>
                <a:cubicBezTo>
                  <a:pt x="117015" y="54650"/>
                  <a:pt x="117813" y="54912"/>
                  <a:pt x="118158" y="54912"/>
                </a:cubicBezTo>
                <a:cubicBezTo>
                  <a:pt x="118166" y="54912"/>
                  <a:pt x="118201" y="54922"/>
                  <a:pt x="118223" y="54922"/>
                </a:cubicBezTo>
                <a:cubicBezTo>
                  <a:pt x="118234" y="54922"/>
                  <a:pt x="118242" y="54920"/>
                  <a:pt x="118242" y="54912"/>
                </a:cubicBezTo>
                <a:lnTo>
                  <a:pt x="118885" y="54876"/>
                </a:lnTo>
                <a:cubicBezTo>
                  <a:pt x="118920" y="54828"/>
                  <a:pt x="118968" y="54769"/>
                  <a:pt x="119039" y="54721"/>
                </a:cubicBezTo>
                <a:lnTo>
                  <a:pt x="119516" y="54876"/>
                </a:lnTo>
                <a:cubicBezTo>
                  <a:pt x="119694" y="54876"/>
                  <a:pt x="119754" y="54697"/>
                  <a:pt x="119968" y="54697"/>
                </a:cubicBezTo>
                <a:cubicBezTo>
                  <a:pt x="120084" y="54697"/>
                  <a:pt x="120180" y="54682"/>
                  <a:pt x="120279" y="54682"/>
                </a:cubicBezTo>
                <a:cubicBezTo>
                  <a:pt x="120353" y="54682"/>
                  <a:pt x="120429" y="54691"/>
                  <a:pt x="120516" y="54721"/>
                </a:cubicBezTo>
                <a:cubicBezTo>
                  <a:pt x="120730" y="54805"/>
                  <a:pt x="120837" y="55305"/>
                  <a:pt x="120980" y="55590"/>
                </a:cubicBezTo>
                <a:cubicBezTo>
                  <a:pt x="121159" y="55912"/>
                  <a:pt x="121694" y="56340"/>
                  <a:pt x="122052" y="56340"/>
                </a:cubicBezTo>
                <a:cubicBezTo>
                  <a:pt x="122194" y="56340"/>
                  <a:pt x="122325" y="56340"/>
                  <a:pt x="122468" y="56388"/>
                </a:cubicBezTo>
                <a:cubicBezTo>
                  <a:pt x="122397" y="56483"/>
                  <a:pt x="122373" y="56674"/>
                  <a:pt x="122230" y="56721"/>
                </a:cubicBezTo>
                <a:cubicBezTo>
                  <a:pt x="122187" y="56737"/>
                  <a:pt x="122146" y="56741"/>
                  <a:pt x="122107" y="56741"/>
                </a:cubicBezTo>
                <a:cubicBezTo>
                  <a:pt x="122063" y="56741"/>
                  <a:pt x="122020" y="56736"/>
                  <a:pt x="121977" y="56736"/>
                </a:cubicBezTo>
                <a:cubicBezTo>
                  <a:pt x="121915" y="56736"/>
                  <a:pt x="121851" y="56747"/>
                  <a:pt x="121778" y="56805"/>
                </a:cubicBezTo>
                <a:cubicBezTo>
                  <a:pt x="122052" y="57126"/>
                  <a:pt x="122266" y="57805"/>
                  <a:pt x="122826" y="57805"/>
                </a:cubicBezTo>
                <a:cubicBezTo>
                  <a:pt x="123302" y="57805"/>
                  <a:pt x="123314" y="57067"/>
                  <a:pt x="123552" y="56781"/>
                </a:cubicBezTo>
                <a:lnTo>
                  <a:pt x="123695" y="56781"/>
                </a:lnTo>
                <a:cubicBezTo>
                  <a:pt x="123695" y="56864"/>
                  <a:pt x="123588" y="57019"/>
                  <a:pt x="123588" y="57079"/>
                </a:cubicBezTo>
                <a:cubicBezTo>
                  <a:pt x="123588" y="57364"/>
                  <a:pt x="123766" y="57626"/>
                  <a:pt x="123766" y="57972"/>
                </a:cubicBezTo>
                <a:cubicBezTo>
                  <a:pt x="123766" y="58245"/>
                  <a:pt x="123695" y="58305"/>
                  <a:pt x="123683" y="58591"/>
                </a:cubicBezTo>
                <a:lnTo>
                  <a:pt x="123671" y="58579"/>
                </a:lnTo>
                <a:lnTo>
                  <a:pt x="123671" y="58579"/>
                </a:lnTo>
                <a:cubicBezTo>
                  <a:pt x="123671" y="58638"/>
                  <a:pt x="123695" y="58829"/>
                  <a:pt x="123695" y="58888"/>
                </a:cubicBezTo>
                <a:cubicBezTo>
                  <a:pt x="123695" y="59305"/>
                  <a:pt x="123897" y="59710"/>
                  <a:pt x="124004" y="60150"/>
                </a:cubicBezTo>
                <a:cubicBezTo>
                  <a:pt x="124135" y="60627"/>
                  <a:pt x="124457" y="61341"/>
                  <a:pt x="124552" y="61674"/>
                </a:cubicBezTo>
                <a:cubicBezTo>
                  <a:pt x="124623" y="61948"/>
                  <a:pt x="124623" y="62079"/>
                  <a:pt x="124766" y="62365"/>
                </a:cubicBezTo>
                <a:cubicBezTo>
                  <a:pt x="124909" y="62615"/>
                  <a:pt x="124826" y="62901"/>
                  <a:pt x="124969" y="63258"/>
                </a:cubicBezTo>
                <a:cubicBezTo>
                  <a:pt x="125040" y="63425"/>
                  <a:pt x="125290" y="63651"/>
                  <a:pt x="125373" y="63948"/>
                </a:cubicBezTo>
                <a:cubicBezTo>
                  <a:pt x="125493" y="64401"/>
                  <a:pt x="125695" y="64841"/>
                  <a:pt x="125838" y="65365"/>
                </a:cubicBezTo>
                <a:cubicBezTo>
                  <a:pt x="125862" y="65425"/>
                  <a:pt x="125909" y="65580"/>
                  <a:pt x="126004" y="65580"/>
                </a:cubicBezTo>
                <a:cubicBezTo>
                  <a:pt x="126015" y="65708"/>
                  <a:pt x="126102" y="65798"/>
                  <a:pt x="126232" y="65798"/>
                </a:cubicBezTo>
                <a:cubicBezTo>
                  <a:pt x="126247" y="65798"/>
                  <a:pt x="126262" y="65796"/>
                  <a:pt x="126278" y="65794"/>
                </a:cubicBezTo>
                <a:cubicBezTo>
                  <a:pt x="126421" y="65794"/>
                  <a:pt x="126433" y="65532"/>
                  <a:pt x="126505" y="65365"/>
                </a:cubicBezTo>
                <a:cubicBezTo>
                  <a:pt x="126600" y="65139"/>
                  <a:pt x="126636" y="65222"/>
                  <a:pt x="126850" y="65091"/>
                </a:cubicBezTo>
                <a:cubicBezTo>
                  <a:pt x="126993" y="65008"/>
                  <a:pt x="126945" y="64449"/>
                  <a:pt x="127195" y="64365"/>
                </a:cubicBezTo>
                <a:cubicBezTo>
                  <a:pt x="127255" y="64341"/>
                  <a:pt x="127374" y="64341"/>
                  <a:pt x="127374" y="64270"/>
                </a:cubicBezTo>
                <a:lnTo>
                  <a:pt x="127469" y="64246"/>
                </a:lnTo>
                <a:lnTo>
                  <a:pt x="127374" y="63687"/>
                </a:lnTo>
                <a:cubicBezTo>
                  <a:pt x="127374" y="63270"/>
                  <a:pt x="127600" y="62925"/>
                  <a:pt x="127600" y="62389"/>
                </a:cubicBezTo>
                <a:cubicBezTo>
                  <a:pt x="127600" y="62032"/>
                  <a:pt x="127469" y="61817"/>
                  <a:pt x="127469" y="61424"/>
                </a:cubicBezTo>
                <a:cubicBezTo>
                  <a:pt x="127469" y="60972"/>
                  <a:pt x="127850" y="60912"/>
                  <a:pt x="128171" y="60781"/>
                </a:cubicBezTo>
                <a:cubicBezTo>
                  <a:pt x="128302" y="60734"/>
                  <a:pt x="128505" y="60472"/>
                  <a:pt x="128648" y="60293"/>
                </a:cubicBezTo>
                <a:cubicBezTo>
                  <a:pt x="128993" y="59888"/>
                  <a:pt x="129314" y="59448"/>
                  <a:pt x="129684" y="59019"/>
                </a:cubicBezTo>
                <a:cubicBezTo>
                  <a:pt x="129969" y="58674"/>
                  <a:pt x="130493" y="58567"/>
                  <a:pt x="130827" y="58174"/>
                </a:cubicBezTo>
                <a:cubicBezTo>
                  <a:pt x="130981" y="57972"/>
                  <a:pt x="130969" y="57733"/>
                  <a:pt x="131041" y="57436"/>
                </a:cubicBezTo>
                <a:cubicBezTo>
                  <a:pt x="131088" y="57233"/>
                  <a:pt x="131469" y="57221"/>
                  <a:pt x="131600" y="56888"/>
                </a:cubicBezTo>
                <a:cubicBezTo>
                  <a:pt x="131743" y="56995"/>
                  <a:pt x="131743" y="57102"/>
                  <a:pt x="132041" y="57102"/>
                </a:cubicBezTo>
                <a:cubicBezTo>
                  <a:pt x="132505" y="57102"/>
                  <a:pt x="133017" y="56971"/>
                  <a:pt x="133017" y="56329"/>
                </a:cubicBezTo>
                <a:cubicBezTo>
                  <a:pt x="133291" y="56388"/>
                  <a:pt x="133589" y="56519"/>
                  <a:pt x="133672" y="56829"/>
                </a:cubicBezTo>
                <a:cubicBezTo>
                  <a:pt x="133744" y="57079"/>
                  <a:pt x="133708" y="57436"/>
                  <a:pt x="133851" y="57698"/>
                </a:cubicBezTo>
                <a:cubicBezTo>
                  <a:pt x="133994" y="57972"/>
                  <a:pt x="134196" y="58150"/>
                  <a:pt x="134446" y="58388"/>
                </a:cubicBezTo>
                <a:cubicBezTo>
                  <a:pt x="134625" y="58734"/>
                  <a:pt x="134851" y="59079"/>
                  <a:pt x="134970" y="59543"/>
                </a:cubicBezTo>
                <a:cubicBezTo>
                  <a:pt x="134994" y="59650"/>
                  <a:pt x="135077" y="59710"/>
                  <a:pt x="135077" y="59817"/>
                </a:cubicBezTo>
                <a:cubicBezTo>
                  <a:pt x="135077" y="60055"/>
                  <a:pt x="134994" y="60186"/>
                  <a:pt x="134994" y="60472"/>
                </a:cubicBezTo>
                <a:cubicBezTo>
                  <a:pt x="134994" y="60758"/>
                  <a:pt x="135006" y="61020"/>
                  <a:pt x="135279" y="61020"/>
                </a:cubicBezTo>
                <a:cubicBezTo>
                  <a:pt x="135791" y="61020"/>
                  <a:pt x="135910" y="60389"/>
                  <a:pt x="136220" y="60019"/>
                </a:cubicBezTo>
                <a:cubicBezTo>
                  <a:pt x="136327" y="60150"/>
                  <a:pt x="136280" y="60234"/>
                  <a:pt x="136387" y="60365"/>
                </a:cubicBezTo>
                <a:cubicBezTo>
                  <a:pt x="136422" y="60412"/>
                  <a:pt x="136565" y="60365"/>
                  <a:pt x="136625" y="60472"/>
                </a:cubicBezTo>
                <a:cubicBezTo>
                  <a:pt x="136803" y="60793"/>
                  <a:pt x="136494" y="61448"/>
                  <a:pt x="136732" y="61448"/>
                </a:cubicBezTo>
                <a:cubicBezTo>
                  <a:pt x="136732" y="62151"/>
                  <a:pt x="137196" y="62710"/>
                  <a:pt x="137196" y="63663"/>
                </a:cubicBezTo>
                <a:cubicBezTo>
                  <a:pt x="137196" y="63901"/>
                  <a:pt x="137053" y="64401"/>
                  <a:pt x="137196" y="64496"/>
                </a:cubicBezTo>
                <a:lnTo>
                  <a:pt x="137113" y="64496"/>
                </a:lnTo>
                <a:cubicBezTo>
                  <a:pt x="137053" y="64794"/>
                  <a:pt x="137018" y="65008"/>
                  <a:pt x="137018" y="65318"/>
                </a:cubicBezTo>
                <a:cubicBezTo>
                  <a:pt x="137018" y="65353"/>
                  <a:pt x="136982" y="65449"/>
                  <a:pt x="137018" y="65449"/>
                </a:cubicBezTo>
                <a:cubicBezTo>
                  <a:pt x="137073" y="65492"/>
                  <a:pt x="137098" y="65507"/>
                  <a:pt x="137114" y="65507"/>
                </a:cubicBezTo>
                <a:cubicBezTo>
                  <a:pt x="137145" y="65507"/>
                  <a:pt x="137137" y="65449"/>
                  <a:pt x="137256" y="65449"/>
                </a:cubicBezTo>
                <a:cubicBezTo>
                  <a:pt x="137542" y="65449"/>
                  <a:pt x="137673" y="66223"/>
                  <a:pt x="137804" y="66532"/>
                </a:cubicBezTo>
                <a:cubicBezTo>
                  <a:pt x="137994" y="67032"/>
                  <a:pt x="138030" y="67485"/>
                  <a:pt x="138196" y="68116"/>
                </a:cubicBezTo>
                <a:cubicBezTo>
                  <a:pt x="138399" y="68830"/>
                  <a:pt x="138899" y="69485"/>
                  <a:pt x="139470" y="69699"/>
                </a:cubicBezTo>
                <a:cubicBezTo>
                  <a:pt x="139578" y="69747"/>
                  <a:pt x="139590" y="69902"/>
                  <a:pt x="139768" y="69902"/>
                </a:cubicBezTo>
                <a:cubicBezTo>
                  <a:pt x="139828" y="69902"/>
                  <a:pt x="139851" y="69806"/>
                  <a:pt x="139899" y="69806"/>
                </a:cubicBezTo>
                <a:cubicBezTo>
                  <a:pt x="139971" y="69806"/>
                  <a:pt x="139994" y="69806"/>
                  <a:pt x="140137" y="69794"/>
                </a:cubicBezTo>
                <a:cubicBezTo>
                  <a:pt x="140042" y="69544"/>
                  <a:pt x="140042" y="69437"/>
                  <a:pt x="139971" y="69163"/>
                </a:cubicBezTo>
                <a:cubicBezTo>
                  <a:pt x="139899" y="68901"/>
                  <a:pt x="139625" y="68771"/>
                  <a:pt x="139625" y="68378"/>
                </a:cubicBezTo>
                <a:cubicBezTo>
                  <a:pt x="139625" y="68175"/>
                  <a:pt x="139697" y="68175"/>
                  <a:pt x="139697" y="67961"/>
                </a:cubicBezTo>
                <a:cubicBezTo>
                  <a:pt x="139697" y="66877"/>
                  <a:pt x="138637" y="66746"/>
                  <a:pt x="138137" y="66163"/>
                </a:cubicBezTo>
                <a:cubicBezTo>
                  <a:pt x="138018" y="66008"/>
                  <a:pt x="137994" y="65615"/>
                  <a:pt x="137923" y="65472"/>
                </a:cubicBezTo>
                <a:lnTo>
                  <a:pt x="137958" y="65472"/>
                </a:lnTo>
                <a:cubicBezTo>
                  <a:pt x="137958" y="64841"/>
                  <a:pt x="137339" y="65091"/>
                  <a:pt x="137339" y="64425"/>
                </a:cubicBezTo>
                <a:cubicBezTo>
                  <a:pt x="137339" y="63841"/>
                  <a:pt x="137875" y="63663"/>
                  <a:pt x="137875" y="63008"/>
                </a:cubicBezTo>
                <a:cubicBezTo>
                  <a:pt x="137875" y="62841"/>
                  <a:pt x="137804" y="62794"/>
                  <a:pt x="137804" y="62603"/>
                </a:cubicBezTo>
                <a:cubicBezTo>
                  <a:pt x="137804" y="62496"/>
                  <a:pt x="137768" y="62365"/>
                  <a:pt x="137911" y="62365"/>
                </a:cubicBezTo>
                <a:cubicBezTo>
                  <a:pt x="138101" y="62365"/>
                  <a:pt x="138327" y="62401"/>
                  <a:pt x="138375" y="62639"/>
                </a:cubicBezTo>
                <a:cubicBezTo>
                  <a:pt x="138375" y="62639"/>
                  <a:pt x="138435" y="62925"/>
                  <a:pt x="138470" y="62925"/>
                </a:cubicBezTo>
                <a:cubicBezTo>
                  <a:pt x="138756" y="63032"/>
                  <a:pt x="139018" y="63056"/>
                  <a:pt x="139268" y="63353"/>
                </a:cubicBezTo>
                <a:cubicBezTo>
                  <a:pt x="139482" y="63627"/>
                  <a:pt x="139280" y="63948"/>
                  <a:pt x="139685" y="63948"/>
                </a:cubicBezTo>
                <a:cubicBezTo>
                  <a:pt x="139685" y="64270"/>
                  <a:pt x="140042" y="64377"/>
                  <a:pt x="140316" y="64377"/>
                </a:cubicBezTo>
                <a:cubicBezTo>
                  <a:pt x="140340" y="64496"/>
                  <a:pt x="140375" y="64663"/>
                  <a:pt x="140447" y="64710"/>
                </a:cubicBezTo>
                <a:cubicBezTo>
                  <a:pt x="140375" y="64746"/>
                  <a:pt x="140375" y="64830"/>
                  <a:pt x="140375" y="65008"/>
                </a:cubicBezTo>
                <a:cubicBezTo>
                  <a:pt x="140375" y="65139"/>
                  <a:pt x="140447" y="65449"/>
                  <a:pt x="140518" y="65449"/>
                </a:cubicBezTo>
                <a:cubicBezTo>
                  <a:pt x="140590" y="65449"/>
                  <a:pt x="140947" y="65115"/>
                  <a:pt x="140947" y="64901"/>
                </a:cubicBezTo>
                <a:lnTo>
                  <a:pt x="140947" y="64663"/>
                </a:lnTo>
                <a:cubicBezTo>
                  <a:pt x="140947" y="64734"/>
                  <a:pt x="140947" y="64865"/>
                  <a:pt x="141006" y="64865"/>
                </a:cubicBezTo>
                <a:cubicBezTo>
                  <a:pt x="141221" y="64865"/>
                  <a:pt x="141185" y="64508"/>
                  <a:pt x="141399" y="64377"/>
                </a:cubicBezTo>
                <a:cubicBezTo>
                  <a:pt x="141876" y="64103"/>
                  <a:pt x="141935" y="63865"/>
                  <a:pt x="142507" y="63687"/>
                </a:cubicBezTo>
                <a:cubicBezTo>
                  <a:pt x="142507" y="63294"/>
                  <a:pt x="142733" y="63103"/>
                  <a:pt x="142733" y="62603"/>
                </a:cubicBezTo>
                <a:cubicBezTo>
                  <a:pt x="142733" y="61889"/>
                  <a:pt x="142435" y="60924"/>
                  <a:pt x="142006" y="60579"/>
                </a:cubicBezTo>
                <a:cubicBezTo>
                  <a:pt x="141554" y="60234"/>
                  <a:pt x="141364" y="59674"/>
                  <a:pt x="140947" y="59174"/>
                </a:cubicBezTo>
                <a:cubicBezTo>
                  <a:pt x="140875" y="59079"/>
                  <a:pt x="140792" y="59043"/>
                  <a:pt x="140792" y="58841"/>
                </a:cubicBezTo>
                <a:cubicBezTo>
                  <a:pt x="140792" y="57912"/>
                  <a:pt x="141673" y="57757"/>
                  <a:pt x="142042" y="57079"/>
                </a:cubicBezTo>
                <a:cubicBezTo>
                  <a:pt x="142352" y="57257"/>
                  <a:pt x="142566" y="57126"/>
                  <a:pt x="142911" y="57329"/>
                </a:cubicBezTo>
                <a:cubicBezTo>
                  <a:pt x="142888" y="57436"/>
                  <a:pt x="142840" y="57864"/>
                  <a:pt x="142995" y="57864"/>
                </a:cubicBezTo>
                <a:cubicBezTo>
                  <a:pt x="143197" y="57864"/>
                  <a:pt x="143090" y="57579"/>
                  <a:pt x="143233" y="57412"/>
                </a:cubicBezTo>
                <a:cubicBezTo>
                  <a:pt x="143364" y="57257"/>
                  <a:pt x="143721" y="57198"/>
                  <a:pt x="143864" y="57102"/>
                </a:cubicBezTo>
                <a:cubicBezTo>
                  <a:pt x="144209" y="56912"/>
                  <a:pt x="144554" y="56995"/>
                  <a:pt x="144781" y="56733"/>
                </a:cubicBezTo>
                <a:cubicBezTo>
                  <a:pt x="144781" y="56733"/>
                  <a:pt x="144959" y="56329"/>
                  <a:pt x="144995" y="56329"/>
                </a:cubicBezTo>
                <a:cubicBezTo>
                  <a:pt x="145174" y="56329"/>
                  <a:pt x="145269" y="56495"/>
                  <a:pt x="145447" y="56495"/>
                </a:cubicBezTo>
                <a:cubicBezTo>
                  <a:pt x="146281" y="56495"/>
                  <a:pt x="146483" y="55888"/>
                  <a:pt x="146983" y="55543"/>
                </a:cubicBezTo>
                <a:cubicBezTo>
                  <a:pt x="147126" y="55459"/>
                  <a:pt x="147221" y="55376"/>
                  <a:pt x="147257" y="55150"/>
                </a:cubicBezTo>
                <a:cubicBezTo>
                  <a:pt x="147698" y="55150"/>
                  <a:pt x="147817" y="54352"/>
                  <a:pt x="147983" y="53935"/>
                </a:cubicBezTo>
                <a:cubicBezTo>
                  <a:pt x="148091" y="53673"/>
                  <a:pt x="148579" y="52804"/>
                  <a:pt x="148853" y="52745"/>
                </a:cubicBezTo>
                <a:cubicBezTo>
                  <a:pt x="148853" y="52268"/>
                  <a:pt x="149126" y="52042"/>
                  <a:pt x="149126" y="51423"/>
                </a:cubicBezTo>
                <a:cubicBezTo>
                  <a:pt x="149126" y="50483"/>
                  <a:pt x="148948" y="50137"/>
                  <a:pt x="148614" y="49554"/>
                </a:cubicBezTo>
                <a:cubicBezTo>
                  <a:pt x="148567" y="49447"/>
                  <a:pt x="148567" y="49185"/>
                  <a:pt x="148400" y="49078"/>
                </a:cubicBezTo>
                <a:lnTo>
                  <a:pt x="148424" y="49054"/>
                </a:lnTo>
                <a:lnTo>
                  <a:pt x="148376" y="49054"/>
                </a:lnTo>
                <a:cubicBezTo>
                  <a:pt x="148376" y="49054"/>
                  <a:pt x="148364" y="48709"/>
                  <a:pt x="148364" y="48637"/>
                </a:cubicBezTo>
                <a:cubicBezTo>
                  <a:pt x="148222" y="48613"/>
                  <a:pt x="147876" y="48399"/>
                  <a:pt x="147876" y="48089"/>
                </a:cubicBezTo>
                <a:cubicBezTo>
                  <a:pt x="147876" y="47839"/>
                  <a:pt x="148186" y="47816"/>
                  <a:pt x="148257" y="47554"/>
                </a:cubicBezTo>
                <a:cubicBezTo>
                  <a:pt x="148424" y="46970"/>
                  <a:pt x="149198" y="46970"/>
                  <a:pt x="149555" y="46530"/>
                </a:cubicBezTo>
                <a:cubicBezTo>
                  <a:pt x="149497" y="46432"/>
                  <a:pt x="149416" y="46415"/>
                  <a:pt x="149325" y="46415"/>
                </a:cubicBezTo>
                <a:cubicBezTo>
                  <a:pt x="149272" y="46415"/>
                  <a:pt x="149216" y="46421"/>
                  <a:pt x="149157" y="46421"/>
                </a:cubicBezTo>
                <a:cubicBezTo>
                  <a:pt x="149069" y="46421"/>
                  <a:pt x="148977" y="46407"/>
                  <a:pt x="148888" y="46339"/>
                </a:cubicBezTo>
                <a:cubicBezTo>
                  <a:pt x="148757" y="46256"/>
                  <a:pt x="148686" y="46077"/>
                  <a:pt x="148483" y="46077"/>
                </a:cubicBezTo>
                <a:cubicBezTo>
                  <a:pt x="148341" y="46077"/>
                  <a:pt x="148341" y="46554"/>
                  <a:pt x="148233" y="46554"/>
                </a:cubicBezTo>
                <a:cubicBezTo>
                  <a:pt x="148156" y="46554"/>
                  <a:pt x="148067" y="46575"/>
                  <a:pt x="147979" y="46575"/>
                </a:cubicBezTo>
                <a:cubicBezTo>
                  <a:pt x="147906" y="46575"/>
                  <a:pt x="147834" y="46560"/>
                  <a:pt x="147769" y="46506"/>
                </a:cubicBezTo>
                <a:cubicBezTo>
                  <a:pt x="147543" y="46339"/>
                  <a:pt x="147614" y="46125"/>
                  <a:pt x="147400" y="45922"/>
                </a:cubicBezTo>
                <a:cubicBezTo>
                  <a:pt x="147329" y="45851"/>
                  <a:pt x="147019" y="45768"/>
                  <a:pt x="147019" y="45553"/>
                </a:cubicBezTo>
                <a:cubicBezTo>
                  <a:pt x="147019" y="45101"/>
                  <a:pt x="147543" y="45256"/>
                  <a:pt x="147805" y="45030"/>
                </a:cubicBezTo>
                <a:cubicBezTo>
                  <a:pt x="148019" y="44839"/>
                  <a:pt x="148436" y="44518"/>
                  <a:pt x="148579" y="44232"/>
                </a:cubicBezTo>
                <a:cubicBezTo>
                  <a:pt x="148614" y="44160"/>
                  <a:pt x="148686" y="43946"/>
                  <a:pt x="148876" y="43946"/>
                </a:cubicBezTo>
                <a:cubicBezTo>
                  <a:pt x="149019" y="43946"/>
                  <a:pt x="149222" y="44232"/>
                  <a:pt x="149222" y="44363"/>
                </a:cubicBezTo>
                <a:cubicBezTo>
                  <a:pt x="149222" y="44708"/>
                  <a:pt x="148876" y="44863"/>
                  <a:pt x="148876" y="45256"/>
                </a:cubicBezTo>
                <a:cubicBezTo>
                  <a:pt x="149376" y="45256"/>
                  <a:pt x="149793" y="44601"/>
                  <a:pt x="150377" y="44601"/>
                </a:cubicBezTo>
                <a:cubicBezTo>
                  <a:pt x="150591" y="44601"/>
                  <a:pt x="150686" y="44839"/>
                  <a:pt x="150960" y="44839"/>
                </a:cubicBezTo>
                <a:cubicBezTo>
                  <a:pt x="150865" y="45053"/>
                  <a:pt x="150960" y="45053"/>
                  <a:pt x="150960" y="45315"/>
                </a:cubicBezTo>
                <a:cubicBezTo>
                  <a:pt x="150960" y="45530"/>
                  <a:pt x="150758" y="45506"/>
                  <a:pt x="150758" y="45768"/>
                </a:cubicBezTo>
                <a:cubicBezTo>
                  <a:pt x="150758" y="45875"/>
                  <a:pt x="150805" y="46137"/>
                  <a:pt x="150936" y="46137"/>
                </a:cubicBezTo>
                <a:cubicBezTo>
                  <a:pt x="150996" y="46137"/>
                  <a:pt x="151067" y="46030"/>
                  <a:pt x="151186" y="46030"/>
                </a:cubicBezTo>
                <a:cubicBezTo>
                  <a:pt x="151412" y="46030"/>
                  <a:pt x="151674" y="46208"/>
                  <a:pt x="151674" y="46470"/>
                </a:cubicBezTo>
                <a:cubicBezTo>
                  <a:pt x="151674" y="46625"/>
                  <a:pt x="151531" y="46744"/>
                  <a:pt x="151389" y="46744"/>
                </a:cubicBezTo>
                <a:lnTo>
                  <a:pt x="151389" y="46970"/>
                </a:lnTo>
                <a:cubicBezTo>
                  <a:pt x="151424" y="47006"/>
                  <a:pt x="151460" y="47101"/>
                  <a:pt x="151567" y="47113"/>
                </a:cubicBezTo>
                <a:cubicBezTo>
                  <a:pt x="151567" y="47256"/>
                  <a:pt x="151662" y="47363"/>
                  <a:pt x="151662" y="47482"/>
                </a:cubicBezTo>
                <a:cubicBezTo>
                  <a:pt x="151662" y="47554"/>
                  <a:pt x="151496" y="47839"/>
                  <a:pt x="151496" y="47994"/>
                </a:cubicBezTo>
                <a:cubicBezTo>
                  <a:pt x="151496" y="48078"/>
                  <a:pt x="151496" y="48185"/>
                  <a:pt x="151591" y="48208"/>
                </a:cubicBezTo>
                <a:cubicBezTo>
                  <a:pt x="151567" y="48316"/>
                  <a:pt x="151484" y="48375"/>
                  <a:pt x="151484" y="48482"/>
                </a:cubicBezTo>
                <a:lnTo>
                  <a:pt x="151758" y="48482"/>
                </a:lnTo>
                <a:cubicBezTo>
                  <a:pt x="151865" y="48351"/>
                  <a:pt x="151901" y="48351"/>
                  <a:pt x="152115" y="48292"/>
                </a:cubicBezTo>
                <a:cubicBezTo>
                  <a:pt x="152115" y="48089"/>
                  <a:pt x="152567" y="48078"/>
                  <a:pt x="152674" y="48030"/>
                </a:cubicBezTo>
                <a:cubicBezTo>
                  <a:pt x="152936" y="47947"/>
                  <a:pt x="153044" y="47708"/>
                  <a:pt x="153044" y="47208"/>
                </a:cubicBezTo>
                <a:cubicBezTo>
                  <a:pt x="153044" y="46363"/>
                  <a:pt x="152770" y="45851"/>
                  <a:pt x="152365" y="45387"/>
                </a:cubicBezTo>
                <a:cubicBezTo>
                  <a:pt x="152210" y="45184"/>
                  <a:pt x="152020" y="44994"/>
                  <a:pt x="152055" y="44625"/>
                </a:cubicBezTo>
                <a:cubicBezTo>
                  <a:pt x="152282" y="44625"/>
                  <a:pt x="152460" y="44470"/>
                  <a:pt x="152603" y="44291"/>
                </a:cubicBezTo>
                <a:cubicBezTo>
                  <a:pt x="152734" y="44148"/>
                  <a:pt x="153055" y="43922"/>
                  <a:pt x="153127" y="43756"/>
                </a:cubicBezTo>
                <a:cubicBezTo>
                  <a:pt x="153365" y="43160"/>
                  <a:pt x="153508" y="42815"/>
                  <a:pt x="153948" y="42410"/>
                </a:cubicBezTo>
                <a:cubicBezTo>
                  <a:pt x="153948" y="42410"/>
                  <a:pt x="154651" y="42624"/>
                  <a:pt x="155211" y="42624"/>
                </a:cubicBezTo>
                <a:cubicBezTo>
                  <a:pt x="156246" y="42624"/>
                  <a:pt x="157223" y="40005"/>
                  <a:pt x="157949" y="39136"/>
                </a:cubicBezTo>
                <a:cubicBezTo>
                  <a:pt x="158235" y="38791"/>
                  <a:pt x="158640" y="38088"/>
                  <a:pt x="158747" y="37517"/>
                </a:cubicBezTo>
                <a:cubicBezTo>
                  <a:pt x="158878" y="36886"/>
                  <a:pt x="158663" y="36493"/>
                  <a:pt x="158949" y="35886"/>
                </a:cubicBezTo>
                <a:cubicBezTo>
                  <a:pt x="159044" y="35659"/>
                  <a:pt x="159259" y="35171"/>
                  <a:pt x="159259" y="34695"/>
                </a:cubicBezTo>
                <a:cubicBezTo>
                  <a:pt x="159259" y="34173"/>
                  <a:pt x="158655" y="33230"/>
                  <a:pt x="158265" y="33230"/>
                </a:cubicBezTo>
                <a:cubicBezTo>
                  <a:pt x="158210" y="33230"/>
                  <a:pt x="158160" y="33249"/>
                  <a:pt x="158116" y="33290"/>
                </a:cubicBezTo>
                <a:cubicBezTo>
                  <a:pt x="157856" y="33523"/>
                  <a:pt x="157627" y="33613"/>
                  <a:pt x="157428" y="33613"/>
                </a:cubicBezTo>
                <a:cubicBezTo>
                  <a:pt x="156806" y="33613"/>
                  <a:pt x="156484" y="32734"/>
                  <a:pt x="156484" y="32635"/>
                </a:cubicBezTo>
                <a:cubicBezTo>
                  <a:pt x="156484" y="32028"/>
                  <a:pt x="157461" y="31349"/>
                  <a:pt x="157842" y="30897"/>
                </a:cubicBezTo>
                <a:cubicBezTo>
                  <a:pt x="158401" y="30230"/>
                  <a:pt x="159140" y="29099"/>
                  <a:pt x="159925" y="28837"/>
                </a:cubicBezTo>
                <a:cubicBezTo>
                  <a:pt x="160616" y="28623"/>
                  <a:pt x="162771" y="28397"/>
                  <a:pt x="163366" y="28397"/>
                </a:cubicBezTo>
                <a:cubicBezTo>
                  <a:pt x="164104" y="28397"/>
                  <a:pt x="164450" y="28837"/>
                  <a:pt x="164902" y="28837"/>
                </a:cubicBezTo>
                <a:lnTo>
                  <a:pt x="165902" y="28837"/>
                </a:lnTo>
                <a:cubicBezTo>
                  <a:pt x="166200" y="27408"/>
                  <a:pt x="166736" y="26551"/>
                  <a:pt x="167986" y="26551"/>
                </a:cubicBezTo>
                <a:cubicBezTo>
                  <a:pt x="168208" y="26551"/>
                  <a:pt x="168346" y="26503"/>
                  <a:pt x="168596" y="26503"/>
                </a:cubicBezTo>
                <a:cubicBezTo>
                  <a:pt x="168721" y="26503"/>
                  <a:pt x="168875" y="26515"/>
                  <a:pt x="169081" y="26551"/>
                </a:cubicBezTo>
                <a:cubicBezTo>
                  <a:pt x="168903" y="26716"/>
                  <a:pt x="168784" y="27411"/>
                  <a:pt x="169094" y="27411"/>
                </a:cubicBezTo>
                <a:cubicBezTo>
                  <a:pt x="169321" y="27411"/>
                  <a:pt x="169780" y="27036"/>
                  <a:pt x="170617" y="25801"/>
                </a:cubicBezTo>
                <a:cubicBezTo>
                  <a:pt x="170627" y="25799"/>
                  <a:pt x="170637" y="25798"/>
                  <a:pt x="170650" y="25798"/>
                </a:cubicBezTo>
                <a:cubicBezTo>
                  <a:pt x="170902" y="25798"/>
                  <a:pt x="171695" y="26268"/>
                  <a:pt x="170343" y="27313"/>
                </a:cubicBezTo>
                <a:cubicBezTo>
                  <a:pt x="169855" y="27694"/>
                  <a:pt x="169403" y="27515"/>
                  <a:pt x="169081" y="28075"/>
                </a:cubicBezTo>
                <a:cubicBezTo>
                  <a:pt x="168700" y="28730"/>
                  <a:pt x="168355" y="29551"/>
                  <a:pt x="167807" y="29921"/>
                </a:cubicBezTo>
                <a:cubicBezTo>
                  <a:pt x="167355" y="30230"/>
                  <a:pt x="166724" y="30730"/>
                  <a:pt x="166724" y="31659"/>
                </a:cubicBezTo>
                <a:cubicBezTo>
                  <a:pt x="166724" y="32457"/>
                  <a:pt x="166938" y="35088"/>
                  <a:pt x="167450" y="35564"/>
                </a:cubicBezTo>
                <a:cubicBezTo>
                  <a:pt x="167807" y="34909"/>
                  <a:pt x="168057" y="33719"/>
                  <a:pt x="168807" y="33504"/>
                </a:cubicBezTo>
                <a:cubicBezTo>
                  <a:pt x="168712" y="32897"/>
                  <a:pt x="169534" y="32766"/>
                  <a:pt x="169534" y="32314"/>
                </a:cubicBezTo>
                <a:cubicBezTo>
                  <a:pt x="169534" y="31587"/>
                  <a:pt x="170165" y="31397"/>
                  <a:pt x="170165" y="31004"/>
                </a:cubicBezTo>
                <a:cubicBezTo>
                  <a:pt x="170165" y="30742"/>
                  <a:pt x="169986" y="30480"/>
                  <a:pt x="170165" y="30028"/>
                </a:cubicBezTo>
                <a:cubicBezTo>
                  <a:pt x="170871" y="28218"/>
                  <a:pt x="171550" y="27750"/>
                  <a:pt x="172125" y="27750"/>
                </a:cubicBezTo>
                <a:cubicBezTo>
                  <a:pt x="172742" y="27750"/>
                  <a:pt x="173239" y="28289"/>
                  <a:pt x="173522" y="28289"/>
                </a:cubicBezTo>
                <a:cubicBezTo>
                  <a:pt x="175130" y="28289"/>
                  <a:pt x="176273" y="25825"/>
                  <a:pt x="177690" y="25801"/>
                </a:cubicBezTo>
                <a:cubicBezTo>
                  <a:pt x="180380" y="25730"/>
                  <a:pt x="178225" y="24515"/>
                  <a:pt x="178225" y="24170"/>
                </a:cubicBezTo>
                <a:cubicBezTo>
                  <a:pt x="178225" y="23229"/>
                  <a:pt x="179285" y="23384"/>
                  <a:pt x="179499" y="22860"/>
                </a:cubicBezTo>
                <a:cubicBezTo>
                  <a:pt x="179595" y="22646"/>
                  <a:pt x="179404" y="22098"/>
                  <a:pt x="179773" y="22098"/>
                </a:cubicBezTo>
                <a:cubicBezTo>
                  <a:pt x="180904" y="22098"/>
                  <a:pt x="181857" y="23955"/>
                  <a:pt x="182666" y="23955"/>
                </a:cubicBezTo>
                <a:cubicBezTo>
                  <a:pt x="183035" y="23955"/>
                  <a:pt x="183107" y="23146"/>
                  <a:pt x="183297" y="22860"/>
                </a:cubicBezTo>
                <a:cubicBezTo>
                  <a:pt x="183607" y="22431"/>
                  <a:pt x="183905" y="22467"/>
                  <a:pt x="184393" y="22277"/>
                </a:cubicBezTo>
                <a:cubicBezTo>
                  <a:pt x="183738" y="21229"/>
                  <a:pt x="181619" y="20646"/>
                  <a:pt x="180583" y="19931"/>
                </a:cubicBezTo>
                <a:cubicBezTo>
                  <a:pt x="179154" y="18931"/>
                  <a:pt x="177249" y="17871"/>
                  <a:pt x="175153" y="17871"/>
                </a:cubicBezTo>
                <a:cubicBezTo>
                  <a:pt x="174570" y="17871"/>
                  <a:pt x="174165" y="18014"/>
                  <a:pt x="174237" y="18300"/>
                </a:cubicBezTo>
                <a:cubicBezTo>
                  <a:pt x="174426" y="18999"/>
                  <a:pt x="174398" y="19231"/>
                  <a:pt x="174264" y="19231"/>
                </a:cubicBezTo>
                <a:cubicBezTo>
                  <a:pt x="173996" y="19231"/>
                  <a:pt x="173301" y="18300"/>
                  <a:pt x="173064" y="18300"/>
                </a:cubicBezTo>
                <a:cubicBezTo>
                  <a:pt x="173062" y="18300"/>
                  <a:pt x="173060" y="18300"/>
                  <a:pt x="173058" y="18300"/>
                </a:cubicBezTo>
                <a:lnTo>
                  <a:pt x="168891" y="18193"/>
                </a:lnTo>
                <a:cubicBezTo>
                  <a:pt x="168665" y="17062"/>
                  <a:pt x="168045" y="16669"/>
                  <a:pt x="166807" y="16669"/>
                </a:cubicBezTo>
                <a:cubicBezTo>
                  <a:pt x="166409" y="16669"/>
                  <a:pt x="165887" y="16779"/>
                  <a:pt x="165445" y="16779"/>
                </a:cubicBezTo>
                <a:cubicBezTo>
                  <a:pt x="165148" y="16779"/>
                  <a:pt x="164886" y="16729"/>
                  <a:pt x="164724" y="16562"/>
                </a:cubicBezTo>
                <a:cubicBezTo>
                  <a:pt x="164366" y="16193"/>
                  <a:pt x="164343" y="15681"/>
                  <a:pt x="163819" y="15478"/>
                </a:cubicBezTo>
                <a:cubicBezTo>
                  <a:pt x="162711" y="15050"/>
                  <a:pt x="161521" y="14716"/>
                  <a:pt x="160104" y="14716"/>
                </a:cubicBezTo>
                <a:cubicBezTo>
                  <a:pt x="158687" y="14716"/>
                  <a:pt x="158497" y="15609"/>
                  <a:pt x="158378" y="16455"/>
                </a:cubicBezTo>
                <a:lnTo>
                  <a:pt x="155484" y="16455"/>
                </a:lnTo>
                <a:cubicBezTo>
                  <a:pt x="154972" y="16455"/>
                  <a:pt x="154901" y="15955"/>
                  <a:pt x="154306" y="15919"/>
                </a:cubicBezTo>
                <a:cubicBezTo>
                  <a:pt x="154246" y="16216"/>
                  <a:pt x="154139" y="16895"/>
                  <a:pt x="153853" y="16895"/>
                </a:cubicBezTo>
                <a:cubicBezTo>
                  <a:pt x="153091" y="16895"/>
                  <a:pt x="152770" y="15764"/>
                  <a:pt x="152770" y="15157"/>
                </a:cubicBezTo>
                <a:cubicBezTo>
                  <a:pt x="152770" y="15002"/>
                  <a:pt x="154234" y="13895"/>
                  <a:pt x="150508" y="13526"/>
                </a:cubicBezTo>
                <a:cubicBezTo>
                  <a:pt x="150469" y="13522"/>
                  <a:pt x="150431" y="13520"/>
                  <a:pt x="150396" y="13520"/>
                </a:cubicBezTo>
                <a:cubicBezTo>
                  <a:pt x="149992" y="13520"/>
                  <a:pt x="149781" y="13771"/>
                  <a:pt x="149781" y="14395"/>
                </a:cubicBezTo>
                <a:lnTo>
                  <a:pt x="147781" y="14395"/>
                </a:lnTo>
                <a:cubicBezTo>
                  <a:pt x="147186" y="14204"/>
                  <a:pt x="144054" y="13764"/>
                  <a:pt x="143650" y="12978"/>
                </a:cubicBezTo>
                <a:cubicBezTo>
                  <a:pt x="142594" y="14013"/>
                  <a:pt x="142111" y="14301"/>
                  <a:pt x="141901" y="14301"/>
                </a:cubicBezTo>
                <a:cubicBezTo>
                  <a:pt x="141638" y="14301"/>
                  <a:pt x="141804" y="13847"/>
                  <a:pt x="141804" y="13847"/>
                </a:cubicBezTo>
                <a:cubicBezTo>
                  <a:pt x="142364" y="13002"/>
                  <a:pt x="147841" y="11240"/>
                  <a:pt x="143340" y="9942"/>
                </a:cubicBezTo>
                <a:lnTo>
                  <a:pt x="141435" y="9942"/>
                </a:lnTo>
                <a:cubicBezTo>
                  <a:pt x="141256" y="9335"/>
                  <a:pt x="140863" y="8751"/>
                  <a:pt x="140078" y="8751"/>
                </a:cubicBezTo>
                <a:close/>
                <a:moveTo>
                  <a:pt x="157097" y="93953"/>
                </a:moveTo>
                <a:cubicBezTo>
                  <a:pt x="157016" y="93953"/>
                  <a:pt x="156922" y="93993"/>
                  <a:pt x="156758" y="94083"/>
                </a:cubicBezTo>
                <a:cubicBezTo>
                  <a:pt x="156831" y="94178"/>
                  <a:pt x="156929" y="94218"/>
                  <a:pt x="157034" y="94218"/>
                </a:cubicBezTo>
                <a:cubicBezTo>
                  <a:pt x="157153" y="94218"/>
                  <a:pt x="157281" y="94166"/>
                  <a:pt x="157389" y="94083"/>
                </a:cubicBezTo>
                <a:cubicBezTo>
                  <a:pt x="157258" y="94002"/>
                  <a:pt x="157186" y="93953"/>
                  <a:pt x="157097" y="93953"/>
                </a:cubicBezTo>
                <a:close/>
                <a:moveTo>
                  <a:pt x="159985" y="77498"/>
                </a:moveTo>
                <a:cubicBezTo>
                  <a:pt x="159675" y="77688"/>
                  <a:pt x="159759" y="77974"/>
                  <a:pt x="159473" y="78236"/>
                </a:cubicBezTo>
                <a:lnTo>
                  <a:pt x="159473" y="80189"/>
                </a:lnTo>
                <a:cubicBezTo>
                  <a:pt x="159378" y="80689"/>
                  <a:pt x="159271" y="81975"/>
                  <a:pt x="158711" y="81975"/>
                </a:cubicBezTo>
                <a:cubicBezTo>
                  <a:pt x="158366" y="81975"/>
                  <a:pt x="158282" y="81486"/>
                  <a:pt x="158020" y="81379"/>
                </a:cubicBezTo>
                <a:cubicBezTo>
                  <a:pt x="157568" y="81165"/>
                  <a:pt x="157294" y="81058"/>
                  <a:pt x="156806" y="80843"/>
                </a:cubicBezTo>
                <a:cubicBezTo>
                  <a:pt x="156735" y="80820"/>
                  <a:pt x="156735" y="80486"/>
                  <a:pt x="156627" y="80403"/>
                </a:cubicBezTo>
                <a:cubicBezTo>
                  <a:pt x="156520" y="80320"/>
                  <a:pt x="156258" y="80367"/>
                  <a:pt x="156258" y="80189"/>
                </a:cubicBezTo>
                <a:lnTo>
                  <a:pt x="156484" y="79105"/>
                </a:lnTo>
                <a:cubicBezTo>
                  <a:pt x="156627" y="78974"/>
                  <a:pt x="156901" y="78950"/>
                  <a:pt x="156901" y="78665"/>
                </a:cubicBezTo>
                <a:cubicBezTo>
                  <a:pt x="156901" y="78498"/>
                  <a:pt x="156639" y="78272"/>
                  <a:pt x="156532" y="78272"/>
                </a:cubicBezTo>
                <a:cubicBezTo>
                  <a:pt x="156342" y="78272"/>
                  <a:pt x="156258" y="78450"/>
                  <a:pt x="156032" y="78450"/>
                </a:cubicBezTo>
                <a:cubicBezTo>
                  <a:pt x="155377" y="78450"/>
                  <a:pt x="155008" y="78141"/>
                  <a:pt x="154401" y="77843"/>
                </a:cubicBezTo>
                <a:lnTo>
                  <a:pt x="154401" y="77843"/>
                </a:lnTo>
                <a:cubicBezTo>
                  <a:pt x="154437" y="78081"/>
                  <a:pt x="154615" y="78141"/>
                  <a:pt x="154722" y="78343"/>
                </a:cubicBezTo>
                <a:cubicBezTo>
                  <a:pt x="154675" y="78367"/>
                  <a:pt x="154520" y="78498"/>
                  <a:pt x="154401" y="78498"/>
                </a:cubicBezTo>
                <a:cubicBezTo>
                  <a:pt x="154091" y="78498"/>
                  <a:pt x="153365" y="78688"/>
                  <a:pt x="153365" y="78998"/>
                </a:cubicBezTo>
                <a:cubicBezTo>
                  <a:pt x="153365" y="79296"/>
                  <a:pt x="153091" y="79450"/>
                  <a:pt x="153091" y="79760"/>
                </a:cubicBezTo>
                <a:cubicBezTo>
                  <a:pt x="153091" y="79950"/>
                  <a:pt x="153151" y="80105"/>
                  <a:pt x="153044" y="80296"/>
                </a:cubicBezTo>
                <a:cubicBezTo>
                  <a:pt x="153008" y="80272"/>
                  <a:pt x="152853" y="80129"/>
                  <a:pt x="152770" y="80129"/>
                </a:cubicBezTo>
                <a:cubicBezTo>
                  <a:pt x="152603" y="80129"/>
                  <a:pt x="152460" y="80212"/>
                  <a:pt x="152365" y="80367"/>
                </a:cubicBezTo>
                <a:cubicBezTo>
                  <a:pt x="152329" y="79974"/>
                  <a:pt x="152151" y="79534"/>
                  <a:pt x="151829" y="79534"/>
                </a:cubicBezTo>
                <a:cubicBezTo>
                  <a:pt x="151448" y="79534"/>
                  <a:pt x="151353" y="79974"/>
                  <a:pt x="150865" y="79974"/>
                </a:cubicBezTo>
                <a:cubicBezTo>
                  <a:pt x="150829" y="80474"/>
                  <a:pt x="150472" y="80558"/>
                  <a:pt x="150472" y="81165"/>
                </a:cubicBezTo>
                <a:cubicBezTo>
                  <a:pt x="150317" y="81165"/>
                  <a:pt x="150234" y="81082"/>
                  <a:pt x="150091" y="80998"/>
                </a:cubicBezTo>
                <a:cubicBezTo>
                  <a:pt x="149996" y="81236"/>
                  <a:pt x="150091" y="81558"/>
                  <a:pt x="149888" y="81713"/>
                </a:cubicBezTo>
                <a:cubicBezTo>
                  <a:pt x="149817" y="81558"/>
                  <a:pt x="149710" y="81474"/>
                  <a:pt x="149615" y="81272"/>
                </a:cubicBezTo>
                <a:cubicBezTo>
                  <a:pt x="149436" y="81379"/>
                  <a:pt x="149376" y="81594"/>
                  <a:pt x="149376" y="81820"/>
                </a:cubicBezTo>
                <a:lnTo>
                  <a:pt x="149376" y="82189"/>
                </a:lnTo>
                <a:cubicBezTo>
                  <a:pt x="149376" y="82927"/>
                  <a:pt x="147888" y="83534"/>
                  <a:pt x="147245" y="83665"/>
                </a:cubicBezTo>
                <a:cubicBezTo>
                  <a:pt x="146900" y="83725"/>
                  <a:pt x="146245" y="83772"/>
                  <a:pt x="146031" y="84034"/>
                </a:cubicBezTo>
                <a:cubicBezTo>
                  <a:pt x="145828" y="84272"/>
                  <a:pt x="145412" y="84808"/>
                  <a:pt x="145066" y="84856"/>
                </a:cubicBezTo>
                <a:cubicBezTo>
                  <a:pt x="145066" y="84796"/>
                  <a:pt x="145066" y="84701"/>
                  <a:pt x="145043" y="84642"/>
                </a:cubicBezTo>
                <a:cubicBezTo>
                  <a:pt x="144971" y="84689"/>
                  <a:pt x="144852" y="84725"/>
                  <a:pt x="144852" y="84903"/>
                </a:cubicBezTo>
                <a:lnTo>
                  <a:pt x="144852" y="86154"/>
                </a:lnTo>
                <a:cubicBezTo>
                  <a:pt x="144852" y="86701"/>
                  <a:pt x="145066" y="86963"/>
                  <a:pt x="145066" y="87285"/>
                </a:cubicBezTo>
                <a:cubicBezTo>
                  <a:pt x="145066" y="87392"/>
                  <a:pt x="145114" y="87487"/>
                  <a:pt x="145066" y="87570"/>
                </a:cubicBezTo>
                <a:cubicBezTo>
                  <a:pt x="145007" y="87511"/>
                  <a:pt x="144935" y="87392"/>
                  <a:pt x="144900" y="87285"/>
                </a:cubicBezTo>
                <a:cubicBezTo>
                  <a:pt x="144852" y="87392"/>
                  <a:pt x="144828" y="87487"/>
                  <a:pt x="144793" y="87570"/>
                </a:cubicBezTo>
                <a:cubicBezTo>
                  <a:pt x="144709" y="87892"/>
                  <a:pt x="145066" y="88011"/>
                  <a:pt x="145150" y="88332"/>
                </a:cubicBezTo>
                <a:cubicBezTo>
                  <a:pt x="145388" y="89178"/>
                  <a:pt x="145447" y="89487"/>
                  <a:pt x="145662" y="90440"/>
                </a:cubicBezTo>
                <a:cubicBezTo>
                  <a:pt x="145757" y="90833"/>
                  <a:pt x="146031" y="91178"/>
                  <a:pt x="146031" y="91809"/>
                </a:cubicBezTo>
                <a:cubicBezTo>
                  <a:pt x="146031" y="92309"/>
                  <a:pt x="145614" y="92452"/>
                  <a:pt x="145614" y="92785"/>
                </a:cubicBezTo>
                <a:cubicBezTo>
                  <a:pt x="145614" y="93083"/>
                  <a:pt x="146483" y="93547"/>
                  <a:pt x="146793" y="93547"/>
                </a:cubicBezTo>
                <a:cubicBezTo>
                  <a:pt x="147602" y="93547"/>
                  <a:pt x="147876" y="92833"/>
                  <a:pt x="148507" y="92833"/>
                </a:cubicBezTo>
                <a:cubicBezTo>
                  <a:pt x="148650" y="92833"/>
                  <a:pt x="148698" y="92754"/>
                  <a:pt x="148802" y="92754"/>
                </a:cubicBezTo>
                <a:cubicBezTo>
                  <a:pt x="148854" y="92754"/>
                  <a:pt x="148920" y="92773"/>
                  <a:pt x="149019" y="92833"/>
                </a:cubicBezTo>
                <a:cubicBezTo>
                  <a:pt x="149412" y="92833"/>
                  <a:pt x="149722" y="92714"/>
                  <a:pt x="150103" y="92678"/>
                </a:cubicBezTo>
                <a:cubicBezTo>
                  <a:pt x="150246" y="91571"/>
                  <a:pt x="151389" y="91952"/>
                  <a:pt x="152317" y="91583"/>
                </a:cubicBezTo>
                <a:cubicBezTo>
                  <a:pt x="152710" y="91440"/>
                  <a:pt x="152841" y="91095"/>
                  <a:pt x="153496" y="91095"/>
                </a:cubicBezTo>
                <a:cubicBezTo>
                  <a:pt x="154091" y="91095"/>
                  <a:pt x="155163" y="91309"/>
                  <a:pt x="155449" y="91738"/>
                </a:cubicBezTo>
                <a:cubicBezTo>
                  <a:pt x="155592" y="91976"/>
                  <a:pt x="155996" y="93047"/>
                  <a:pt x="156115" y="93047"/>
                </a:cubicBezTo>
                <a:cubicBezTo>
                  <a:pt x="156115" y="93047"/>
                  <a:pt x="156044" y="93440"/>
                  <a:pt x="156258" y="93440"/>
                </a:cubicBezTo>
                <a:cubicBezTo>
                  <a:pt x="156639" y="93440"/>
                  <a:pt x="157104" y="92309"/>
                  <a:pt x="157425" y="91916"/>
                </a:cubicBezTo>
                <a:lnTo>
                  <a:pt x="157425" y="91916"/>
                </a:lnTo>
                <a:cubicBezTo>
                  <a:pt x="157437" y="92238"/>
                  <a:pt x="157354" y="93369"/>
                  <a:pt x="156901" y="93476"/>
                </a:cubicBezTo>
                <a:cubicBezTo>
                  <a:pt x="156901" y="93583"/>
                  <a:pt x="156985" y="93690"/>
                  <a:pt x="157080" y="93690"/>
                </a:cubicBezTo>
                <a:cubicBezTo>
                  <a:pt x="157354" y="93690"/>
                  <a:pt x="157366" y="93309"/>
                  <a:pt x="157532" y="93214"/>
                </a:cubicBezTo>
                <a:cubicBezTo>
                  <a:pt x="157532" y="93154"/>
                  <a:pt x="157568" y="93071"/>
                  <a:pt x="157568" y="93000"/>
                </a:cubicBezTo>
                <a:cubicBezTo>
                  <a:pt x="157639" y="93083"/>
                  <a:pt x="157747" y="93178"/>
                  <a:pt x="157747" y="93440"/>
                </a:cubicBezTo>
                <a:cubicBezTo>
                  <a:pt x="157747" y="93655"/>
                  <a:pt x="157675" y="93785"/>
                  <a:pt x="157627" y="93916"/>
                </a:cubicBezTo>
                <a:lnTo>
                  <a:pt x="157842" y="93916"/>
                </a:lnTo>
                <a:cubicBezTo>
                  <a:pt x="157985" y="93869"/>
                  <a:pt x="158080" y="93845"/>
                  <a:pt x="158199" y="93762"/>
                </a:cubicBezTo>
                <a:cubicBezTo>
                  <a:pt x="158199" y="93785"/>
                  <a:pt x="158223" y="93869"/>
                  <a:pt x="158223" y="93869"/>
                </a:cubicBezTo>
                <a:cubicBezTo>
                  <a:pt x="158235" y="94155"/>
                  <a:pt x="158473" y="94417"/>
                  <a:pt x="158473" y="94738"/>
                </a:cubicBezTo>
                <a:cubicBezTo>
                  <a:pt x="158473" y="95631"/>
                  <a:pt x="159640" y="96191"/>
                  <a:pt x="160342" y="96191"/>
                </a:cubicBezTo>
                <a:cubicBezTo>
                  <a:pt x="160795" y="96191"/>
                  <a:pt x="160652" y="95762"/>
                  <a:pt x="161068" y="95714"/>
                </a:cubicBezTo>
                <a:cubicBezTo>
                  <a:pt x="161080" y="95845"/>
                  <a:pt x="161830" y="96345"/>
                  <a:pt x="161973" y="96369"/>
                </a:cubicBezTo>
                <a:cubicBezTo>
                  <a:pt x="162116" y="95321"/>
                  <a:pt x="163604" y="95786"/>
                  <a:pt x="163807" y="94786"/>
                </a:cubicBezTo>
                <a:lnTo>
                  <a:pt x="163807" y="94821"/>
                </a:lnTo>
                <a:cubicBezTo>
                  <a:pt x="163807" y="94059"/>
                  <a:pt x="164188" y="93393"/>
                  <a:pt x="164331" y="92869"/>
                </a:cubicBezTo>
                <a:cubicBezTo>
                  <a:pt x="164509" y="92178"/>
                  <a:pt x="164843" y="91952"/>
                  <a:pt x="165164" y="91345"/>
                </a:cubicBezTo>
                <a:cubicBezTo>
                  <a:pt x="165259" y="91178"/>
                  <a:pt x="165200" y="91095"/>
                  <a:pt x="165295" y="90916"/>
                </a:cubicBezTo>
                <a:lnTo>
                  <a:pt x="165295" y="90309"/>
                </a:lnTo>
                <a:cubicBezTo>
                  <a:pt x="165450" y="90106"/>
                  <a:pt x="165557" y="89440"/>
                  <a:pt x="165557" y="88963"/>
                </a:cubicBezTo>
                <a:cubicBezTo>
                  <a:pt x="165557" y="88309"/>
                  <a:pt x="165378" y="87130"/>
                  <a:pt x="165093" y="86677"/>
                </a:cubicBezTo>
                <a:lnTo>
                  <a:pt x="165105" y="86618"/>
                </a:lnTo>
                <a:cubicBezTo>
                  <a:pt x="164759" y="86201"/>
                  <a:pt x="164081" y="85832"/>
                  <a:pt x="164081" y="84963"/>
                </a:cubicBezTo>
                <a:cubicBezTo>
                  <a:pt x="163843" y="84963"/>
                  <a:pt x="163545" y="84963"/>
                  <a:pt x="163473" y="84689"/>
                </a:cubicBezTo>
                <a:cubicBezTo>
                  <a:pt x="163402" y="84380"/>
                  <a:pt x="163366" y="83963"/>
                  <a:pt x="163152" y="83701"/>
                </a:cubicBezTo>
                <a:cubicBezTo>
                  <a:pt x="162842" y="83332"/>
                  <a:pt x="162069" y="83141"/>
                  <a:pt x="161914" y="82617"/>
                </a:cubicBezTo>
                <a:cubicBezTo>
                  <a:pt x="161771" y="82070"/>
                  <a:pt x="161628" y="81796"/>
                  <a:pt x="161461" y="81213"/>
                </a:cubicBezTo>
                <a:cubicBezTo>
                  <a:pt x="161378" y="80855"/>
                  <a:pt x="161378" y="80165"/>
                  <a:pt x="161152" y="79998"/>
                </a:cubicBezTo>
                <a:cubicBezTo>
                  <a:pt x="161080" y="79950"/>
                  <a:pt x="160735" y="79819"/>
                  <a:pt x="160556" y="79760"/>
                </a:cubicBezTo>
                <a:cubicBezTo>
                  <a:pt x="160354" y="79581"/>
                  <a:pt x="160449" y="79188"/>
                  <a:pt x="160378" y="78891"/>
                </a:cubicBezTo>
                <a:cubicBezTo>
                  <a:pt x="160271" y="78474"/>
                  <a:pt x="160033" y="78081"/>
                  <a:pt x="159985" y="77498"/>
                </a:cubicBezTo>
                <a:close/>
                <a:moveTo>
                  <a:pt x="162640" y="96905"/>
                </a:moveTo>
                <a:cubicBezTo>
                  <a:pt x="162640" y="97084"/>
                  <a:pt x="162664" y="97214"/>
                  <a:pt x="162831" y="97274"/>
                </a:cubicBezTo>
                <a:cubicBezTo>
                  <a:pt x="162842" y="97167"/>
                  <a:pt x="162878" y="97131"/>
                  <a:pt x="162878" y="96905"/>
                </a:cubicBezTo>
                <a:lnTo>
                  <a:pt x="162878" y="96905"/>
                </a:lnTo>
                <a:cubicBezTo>
                  <a:pt x="162854" y="96917"/>
                  <a:pt x="162819" y="96923"/>
                  <a:pt x="162777" y="96923"/>
                </a:cubicBezTo>
                <a:cubicBezTo>
                  <a:pt x="162735" y="96923"/>
                  <a:pt x="162688" y="96917"/>
                  <a:pt x="162640" y="96905"/>
                </a:cubicBezTo>
                <a:close/>
                <a:moveTo>
                  <a:pt x="175415" y="93023"/>
                </a:moveTo>
                <a:lnTo>
                  <a:pt x="175415" y="93023"/>
                </a:lnTo>
                <a:cubicBezTo>
                  <a:pt x="175534" y="93547"/>
                  <a:pt x="175785" y="94262"/>
                  <a:pt x="176201" y="94345"/>
                </a:cubicBezTo>
                <a:cubicBezTo>
                  <a:pt x="176177" y="94417"/>
                  <a:pt x="176142" y="94500"/>
                  <a:pt x="176142" y="94559"/>
                </a:cubicBezTo>
                <a:cubicBezTo>
                  <a:pt x="176142" y="94738"/>
                  <a:pt x="176285" y="94798"/>
                  <a:pt x="176344" y="94976"/>
                </a:cubicBezTo>
                <a:lnTo>
                  <a:pt x="176344" y="94964"/>
                </a:lnTo>
                <a:cubicBezTo>
                  <a:pt x="176368" y="95071"/>
                  <a:pt x="176416" y="95250"/>
                  <a:pt x="176416" y="95381"/>
                </a:cubicBezTo>
                <a:cubicBezTo>
                  <a:pt x="176416" y="95714"/>
                  <a:pt x="176380" y="96012"/>
                  <a:pt x="176201" y="96238"/>
                </a:cubicBezTo>
                <a:cubicBezTo>
                  <a:pt x="176106" y="96345"/>
                  <a:pt x="175939" y="96369"/>
                  <a:pt x="175939" y="96583"/>
                </a:cubicBezTo>
                <a:cubicBezTo>
                  <a:pt x="175939" y="96976"/>
                  <a:pt x="176618" y="96798"/>
                  <a:pt x="176618" y="97238"/>
                </a:cubicBezTo>
                <a:cubicBezTo>
                  <a:pt x="176618" y="97500"/>
                  <a:pt x="176404" y="97607"/>
                  <a:pt x="176404" y="97869"/>
                </a:cubicBezTo>
                <a:cubicBezTo>
                  <a:pt x="176404" y="98036"/>
                  <a:pt x="176511" y="98143"/>
                  <a:pt x="176666" y="98143"/>
                </a:cubicBezTo>
                <a:cubicBezTo>
                  <a:pt x="177047" y="98143"/>
                  <a:pt x="177154" y="97715"/>
                  <a:pt x="177344" y="97381"/>
                </a:cubicBezTo>
                <a:cubicBezTo>
                  <a:pt x="177380" y="97322"/>
                  <a:pt x="177594" y="97107"/>
                  <a:pt x="177594" y="96953"/>
                </a:cubicBezTo>
                <a:cubicBezTo>
                  <a:pt x="177594" y="96881"/>
                  <a:pt x="177523" y="96798"/>
                  <a:pt x="177523" y="96738"/>
                </a:cubicBezTo>
                <a:cubicBezTo>
                  <a:pt x="177523" y="96560"/>
                  <a:pt x="177701" y="96500"/>
                  <a:pt x="177880" y="96452"/>
                </a:cubicBezTo>
                <a:cubicBezTo>
                  <a:pt x="177904" y="96452"/>
                  <a:pt x="177916" y="96393"/>
                  <a:pt x="177940" y="96393"/>
                </a:cubicBezTo>
                <a:lnTo>
                  <a:pt x="178011" y="96500"/>
                </a:lnTo>
                <a:cubicBezTo>
                  <a:pt x="178190" y="96167"/>
                  <a:pt x="178118" y="95714"/>
                  <a:pt x="178380" y="95417"/>
                </a:cubicBezTo>
                <a:cubicBezTo>
                  <a:pt x="178344" y="95345"/>
                  <a:pt x="178285" y="95286"/>
                  <a:pt x="178225" y="95286"/>
                </a:cubicBezTo>
                <a:cubicBezTo>
                  <a:pt x="177940" y="95286"/>
                  <a:pt x="177963" y="95500"/>
                  <a:pt x="177618" y="95500"/>
                </a:cubicBezTo>
                <a:cubicBezTo>
                  <a:pt x="177178" y="95500"/>
                  <a:pt x="176939" y="95167"/>
                  <a:pt x="176939" y="94607"/>
                </a:cubicBezTo>
                <a:lnTo>
                  <a:pt x="176832" y="94607"/>
                </a:lnTo>
                <a:cubicBezTo>
                  <a:pt x="176737" y="94607"/>
                  <a:pt x="176666" y="94690"/>
                  <a:pt x="176666" y="94821"/>
                </a:cubicBezTo>
                <a:lnTo>
                  <a:pt x="176558" y="94821"/>
                </a:lnTo>
                <a:cubicBezTo>
                  <a:pt x="176475" y="94714"/>
                  <a:pt x="176249" y="94238"/>
                  <a:pt x="176249" y="94131"/>
                </a:cubicBezTo>
                <a:cubicBezTo>
                  <a:pt x="176249" y="94059"/>
                  <a:pt x="176308" y="94047"/>
                  <a:pt x="176332" y="93976"/>
                </a:cubicBezTo>
                <a:cubicBezTo>
                  <a:pt x="176213" y="93916"/>
                  <a:pt x="176213" y="93762"/>
                  <a:pt x="176106" y="93631"/>
                </a:cubicBezTo>
                <a:cubicBezTo>
                  <a:pt x="175927" y="93416"/>
                  <a:pt x="175618" y="93393"/>
                  <a:pt x="175415" y="93023"/>
                </a:cubicBezTo>
                <a:close/>
                <a:moveTo>
                  <a:pt x="162711" y="97500"/>
                </a:moveTo>
                <a:cubicBezTo>
                  <a:pt x="162461" y="97584"/>
                  <a:pt x="162152" y="97715"/>
                  <a:pt x="161914" y="97715"/>
                </a:cubicBezTo>
                <a:cubicBezTo>
                  <a:pt x="161906" y="97715"/>
                  <a:pt x="161469" y="97556"/>
                  <a:pt x="161179" y="97556"/>
                </a:cubicBezTo>
                <a:cubicBezTo>
                  <a:pt x="161034" y="97556"/>
                  <a:pt x="160926" y="97595"/>
                  <a:pt x="160926" y="97715"/>
                </a:cubicBezTo>
                <a:cubicBezTo>
                  <a:pt x="160926" y="98167"/>
                  <a:pt x="161521" y="99774"/>
                  <a:pt x="162069" y="99774"/>
                </a:cubicBezTo>
                <a:cubicBezTo>
                  <a:pt x="162426" y="99774"/>
                  <a:pt x="162914" y="98619"/>
                  <a:pt x="162914" y="98143"/>
                </a:cubicBezTo>
                <a:cubicBezTo>
                  <a:pt x="162914" y="97881"/>
                  <a:pt x="162771" y="97762"/>
                  <a:pt x="162711" y="97500"/>
                </a:cubicBezTo>
                <a:close/>
                <a:moveTo>
                  <a:pt x="48495" y="98953"/>
                </a:moveTo>
                <a:cubicBezTo>
                  <a:pt x="48388" y="98953"/>
                  <a:pt x="48280" y="99596"/>
                  <a:pt x="48280" y="99596"/>
                </a:cubicBezTo>
                <a:lnTo>
                  <a:pt x="48280" y="99881"/>
                </a:lnTo>
                <a:cubicBezTo>
                  <a:pt x="48280" y="99977"/>
                  <a:pt x="48364" y="100167"/>
                  <a:pt x="48471" y="100191"/>
                </a:cubicBezTo>
                <a:lnTo>
                  <a:pt x="48638" y="100191"/>
                </a:lnTo>
                <a:lnTo>
                  <a:pt x="48638" y="99536"/>
                </a:lnTo>
                <a:cubicBezTo>
                  <a:pt x="48661" y="99465"/>
                  <a:pt x="48709" y="99429"/>
                  <a:pt x="48709" y="99298"/>
                </a:cubicBezTo>
                <a:cubicBezTo>
                  <a:pt x="48709" y="99119"/>
                  <a:pt x="48661" y="98953"/>
                  <a:pt x="48495" y="98953"/>
                </a:cubicBezTo>
                <a:close/>
                <a:moveTo>
                  <a:pt x="175380" y="97500"/>
                </a:moveTo>
                <a:cubicBezTo>
                  <a:pt x="175225" y="97584"/>
                  <a:pt x="174951" y="97881"/>
                  <a:pt x="174951" y="98215"/>
                </a:cubicBezTo>
                <a:cubicBezTo>
                  <a:pt x="174951" y="98250"/>
                  <a:pt x="174927" y="98298"/>
                  <a:pt x="174927" y="98346"/>
                </a:cubicBezTo>
                <a:cubicBezTo>
                  <a:pt x="174784" y="98357"/>
                  <a:pt x="174677" y="98405"/>
                  <a:pt x="174606" y="98584"/>
                </a:cubicBezTo>
                <a:cubicBezTo>
                  <a:pt x="174582" y="98643"/>
                  <a:pt x="174582" y="98798"/>
                  <a:pt x="174582" y="98798"/>
                </a:cubicBezTo>
                <a:cubicBezTo>
                  <a:pt x="174582" y="98798"/>
                  <a:pt x="174332" y="99274"/>
                  <a:pt x="174249" y="99322"/>
                </a:cubicBezTo>
                <a:cubicBezTo>
                  <a:pt x="173939" y="99489"/>
                  <a:pt x="173665" y="100036"/>
                  <a:pt x="173225" y="100036"/>
                </a:cubicBezTo>
                <a:cubicBezTo>
                  <a:pt x="173106" y="100036"/>
                  <a:pt x="173010" y="100167"/>
                  <a:pt x="172939" y="100322"/>
                </a:cubicBezTo>
                <a:cubicBezTo>
                  <a:pt x="172760" y="100643"/>
                  <a:pt x="172213" y="100941"/>
                  <a:pt x="172213" y="101513"/>
                </a:cubicBezTo>
                <a:cubicBezTo>
                  <a:pt x="172213" y="101560"/>
                  <a:pt x="172272" y="101596"/>
                  <a:pt x="172308" y="101596"/>
                </a:cubicBezTo>
                <a:cubicBezTo>
                  <a:pt x="172308" y="101703"/>
                  <a:pt x="173010" y="102037"/>
                  <a:pt x="173118" y="102037"/>
                </a:cubicBezTo>
                <a:cubicBezTo>
                  <a:pt x="173225" y="102037"/>
                  <a:pt x="173439" y="102144"/>
                  <a:pt x="173522" y="102144"/>
                </a:cubicBezTo>
                <a:cubicBezTo>
                  <a:pt x="173713" y="102144"/>
                  <a:pt x="174046" y="101810"/>
                  <a:pt x="174213" y="101620"/>
                </a:cubicBezTo>
                <a:cubicBezTo>
                  <a:pt x="174213" y="101620"/>
                  <a:pt x="174713" y="100358"/>
                  <a:pt x="174772" y="100096"/>
                </a:cubicBezTo>
                <a:cubicBezTo>
                  <a:pt x="174915" y="100096"/>
                  <a:pt x="175344" y="99989"/>
                  <a:pt x="175439" y="99989"/>
                </a:cubicBezTo>
                <a:cubicBezTo>
                  <a:pt x="175475" y="99727"/>
                  <a:pt x="175380" y="99643"/>
                  <a:pt x="175439" y="99322"/>
                </a:cubicBezTo>
                <a:cubicBezTo>
                  <a:pt x="175725" y="99322"/>
                  <a:pt x="176094" y="98512"/>
                  <a:pt x="176142" y="98227"/>
                </a:cubicBezTo>
                <a:cubicBezTo>
                  <a:pt x="176070" y="98191"/>
                  <a:pt x="176035" y="98084"/>
                  <a:pt x="176035" y="97905"/>
                </a:cubicBezTo>
                <a:cubicBezTo>
                  <a:pt x="175975" y="97905"/>
                  <a:pt x="175927" y="97881"/>
                  <a:pt x="175904" y="97822"/>
                </a:cubicBezTo>
                <a:cubicBezTo>
                  <a:pt x="175820" y="97869"/>
                  <a:pt x="175725" y="98012"/>
                  <a:pt x="175606" y="98012"/>
                </a:cubicBezTo>
                <a:cubicBezTo>
                  <a:pt x="175487" y="98012"/>
                  <a:pt x="175511" y="97869"/>
                  <a:pt x="175511" y="97715"/>
                </a:cubicBezTo>
                <a:cubicBezTo>
                  <a:pt x="175451" y="97715"/>
                  <a:pt x="175380" y="97643"/>
                  <a:pt x="175380" y="97500"/>
                </a:cubicBezTo>
                <a:close/>
                <a:moveTo>
                  <a:pt x="37270" y="16240"/>
                </a:moveTo>
                <a:cubicBezTo>
                  <a:pt x="36952" y="16240"/>
                  <a:pt x="37101" y="16507"/>
                  <a:pt x="37112" y="16717"/>
                </a:cubicBezTo>
                <a:cubicBezTo>
                  <a:pt x="36898" y="16788"/>
                  <a:pt x="36612" y="16717"/>
                  <a:pt x="36612" y="17050"/>
                </a:cubicBezTo>
                <a:cubicBezTo>
                  <a:pt x="36612" y="17264"/>
                  <a:pt x="36755" y="17371"/>
                  <a:pt x="36755" y="17586"/>
                </a:cubicBezTo>
                <a:cubicBezTo>
                  <a:pt x="36755" y="17800"/>
                  <a:pt x="36517" y="17788"/>
                  <a:pt x="36517" y="18086"/>
                </a:cubicBezTo>
                <a:cubicBezTo>
                  <a:pt x="36517" y="18800"/>
                  <a:pt x="37743" y="18371"/>
                  <a:pt x="37743" y="19110"/>
                </a:cubicBezTo>
                <a:cubicBezTo>
                  <a:pt x="37743" y="19241"/>
                  <a:pt x="37601" y="19753"/>
                  <a:pt x="37601" y="19753"/>
                </a:cubicBezTo>
                <a:cubicBezTo>
                  <a:pt x="37732" y="19669"/>
                  <a:pt x="37839" y="19634"/>
                  <a:pt x="37982" y="19538"/>
                </a:cubicBezTo>
                <a:lnTo>
                  <a:pt x="37982" y="19538"/>
                </a:lnTo>
                <a:cubicBezTo>
                  <a:pt x="38220" y="20431"/>
                  <a:pt x="37029" y="20003"/>
                  <a:pt x="37029" y="21062"/>
                </a:cubicBezTo>
                <a:cubicBezTo>
                  <a:pt x="36960" y="21084"/>
                  <a:pt x="36906" y="21094"/>
                  <a:pt x="36863" y="21094"/>
                </a:cubicBezTo>
                <a:cubicBezTo>
                  <a:pt x="36533" y="21094"/>
                  <a:pt x="36882" y="20511"/>
                  <a:pt x="36755" y="20300"/>
                </a:cubicBezTo>
                <a:cubicBezTo>
                  <a:pt x="36696" y="20193"/>
                  <a:pt x="36208" y="20038"/>
                  <a:pt x="35934" y="20038"/>
                </a:cubicBezTo>
                <a:cubicBezTo>
                  <a:pt x="35612" y="20038"/>
                  <a:pt x="35481" y="20276"/>
                  <a:pt x="35481" y="20741"/>
                </a:cubicBezTo>
                <a:cubicBezTo>
                  <a:pt x="35378" y="20725"/>
                  <a:pt x="35288" y="20720"/>
                  <a:pt x="35176" y="20720"/>
                </a:cubicBezTo>
                <a:cubicBezTo>
                  <a:pt x="34951" y="20720"/>
                  <a:pt x="34636" y="20741"/>
                  <a:pt x="33945" y="20741"/>
                </a:cubicBezTo>
                <a:cubicBezTo>
                  <a:pt x="32969" y="20741"/>
                  <a:pt x="31826" y="20324"/>
                  <a:pt x="31588" y="19431"/>
                </a:cubicBezTo>
                <a:cubicBezTo>
                  <a:pt x="31266" y="19538"/>
                  <a:pt x="30171" y="19562"/>
                  <a:pt x="30171" y="20038"/>
                </a:cubicBezTo>
                <a:cubicBezTo>
                  <a:pt x="30171" y="20193"/>
                  <a:pt x="30254" y="20276"/>
                  <a:pt x="30409" y="20276"/>
                </a:cubicBezTo>
                <a:cubicBezTo>
                  <a:pt x="30695" y="20276"/>
                  <a:pt x="31171" y="20110"/>
                  <a:pt x="31385" y="19931"/>
                </a:cubicBezTo>
                <a:lnTo>
                  <a:pt x="31385" y="19931"/>
                </a:lnTo>
                <a:cubicBezTo>
                  <a:pt x="31457" y="20646"/>
                  <a:pt x="30540" y="20062"/>
                  <a:pt x="30540" y="20800"/>
                </a:cubicBezTo>
                <a:cubicBezTo>
                  <a:pt x="30540" y="20955"/>
                  <a:pt x="30731" y="21455"/>
                  <a:pt x="30647" y="21455"/>
                </a:cubicBezTo>
                <a:cubicBezTo>
                  <a:pt x="30278" y="21455"/>
                  <a:pt x="30207" y="20907"/>
                  <a:pt x="29897" y="20741"/>
                </a:cubicBezTo>
                <a:lnTo>
                  <a:pt x="29623" y="20586"/>
                </a:lnTo>
                <a:lnTo>
                  <a:pt x="28468" y="20586"/>
                </a:lnTo>
                <a:cubicBezTo>
                  <a:pt x="28111" y="20586"/>
                  <a:pt x="27873" y="20765"/>
                  <a:pt x="27468" y="20777"/>
                </a:cubicBezTo>
                <a:cubicBezTo>
                  <a:pt x="27419" y="20780"/>
                  <a:pt x="27374" y="20781"/>
                  <a:pt x="27331" y="20781"/>
                </a:cubicBezTo>
                <a:cubicBezTo>
                  <a:pt x="26754" y="20781"/>
                  <a:pt x="26754" y="20499"/>
                  <a:pt x="26754" y="20443"/>
                </a:cubicBezTo>
                <a:cubicBezTo>
                  <a:pt x="26754" y="20241"/>
                  <a:pt x="27314" y="20324"/>
                  <a:pt x="27421" y="20193"/>
                </a:cubicBezTo>
                <a:cubicBezTo>
                  <a:pt x="27089" y="19646"/>
                  <a:pt x="27012" y="19513"/>
                  <a:pt x="26718" y="19513"/>
                </a:cubicBezTo>
                <a:cubicBezTo>
                  <a:pt x="26558" y="19513"/>
                  <a:pt x="26333" y="19552"/>
                  <a:pt x="25968" y="19586"/>
                </a:cubicBezTo>
                <a:cubicBezTo>
                  <a:pt x="25917" y="19591"/>
                  <a:pt x="25866" y="19593"/>
                  <a:pt x="25817" y="19593"/>
                </a:cubicBezTo>
                <a:cubicBezTo>
                  <a:pt x="24820" y="19593"/>
                  <a:pt x="24273" y="18610"/>
                  <a:pt x="23218" y="18610"/>
                </a:cubicBezTo>
                <a:cubicBezTo>
                  <a:pt x="22873" y="18610"/>
                  <a:pt x="22730" y="18895"/>
                  <a:pt x="22432" y="18895"/>
                </a:cubicBezTo>
                <a:cubicBezTo>
                  <a:pt x="22241" y="18895"/>
                  <a:pt x="22039" y="18479"/>
                  <a:pt x="22003" y="18300"/>
                </a:cubicBezTo>
                <a:cubicBezTo>
                  <a:pt x="21658" y="18395"/>
                  <a:pt x="21658" y="18872"/>
                  <a:pt x="21289" y="18872"/>
                </a:cubicBezTo>
                <a:cubicBezTo>
                  <a:pt x="20944" y="18872"/>
                  <a:pt x="20456" y="17895"/>
                  <a:pt x="20348" y="17895"/>
                </a:cubicBezTo>
                <a:cubicBezTo>
                  <a:pt x="19991" y="17895"/>
                  <a:pt x="20110" y="18514"/>
                  <a:pt x="19729" y="18514"/>
                </a:cubicBezTo>
                <a:cubicBezTo>
                  <a:pt x="19586" y="18514"/>
                  <a:pt x="19467" y="18395"/>
                  <a:pt x="19408" y="18217"/>
                </a:cubicBezTo>
                <a:cubicBezTo>
                  <a:pt x="18848" y="18371"/>
                  <a:pt x="18646" y="18419"/>
                  <a:pt x="18146" y="18645"/>
                </a:cubicBezTo>
                <a:cubicBezTo>
                  <a:pt x="17979" y="18685"/>
                  <a:pt x="17625" y="18975"/>
                  <a:pt x="17420" y="18975"/>
                </a:cubicBezTo>
                <a:cubicBezTo>
                  <a:pt x="17376" y="18975"/>
                  <a:pt x="17339" y="18962"/>
                  <a:pt x="17312" y="18931"/>
                </a:cubicBezTo>
                <a:cubicBezTo>
                  <a:pt x="17178" y="18784"/>
                  <a:pt x="17089" y="18731"/>
                  <a:pt x="17025" y="18731"/>
                </a:cubicBezTo>
                <a:cubicBezTo>
                  <a:pt x="16862" y="18731"/>
                  <a:pt x="16869" y="19077"/>
                  <a:pt x="16741" y="19086"/>
                </a:cubicBezTo>
                <a:cubicBezTo>
                  <a:pt x="15562" y="19133"/>
                  <a:pt x="16384" y="19645"/>
                  <a:pt x="16217" y="19645"/>
                </a:cubicBezTo>
                <a:cubicBezTo>
                  <a:pt x="15764" y="19645"/>
                  <a:pt x="14955" y="19538"/>
                  <a:pt x="14205" y="19003"/>
                </a:cubicBezTo>
                <a:cubicBezTo>
                  <a:pt x="14181" y="18979"/>
                  <a:pt x="13955" y="18788"/>
                  <a:pt x="13955" y="18717"/>
                </a:cubicBezTo>
                <a:cubicBezTo>
                  <a:pt x="13898" y="18753"/>
                  <a:pt x="13884" y="18767"/>
                  <a:pt x="13871" y="18767"/>
                </a:cubicBezTo>
                <a:cubicBezTo>
                  <a:pt x="13855" y="18767"/>
                  <a:pt x="13841" y="18744"/>
                  <a:pt x="13740" y="18717"/>
                </a:cubicBezTo>
                <a:lnTo>
                  <a:pt x="13740" y="18741"/>
                </a:lnTo>
                <a:cubicBezTo>
                  <a:pt x="13288" y="18562"/>
                  <a:pt x="13121" y="18300"/>
                  <a:pt x="12597" y="18300"/>
                </a:cubicBezTo>
                <a:cubicBezTo>
                  <a:pt x="12264" y="18300"/>
                  <a:pt x="12074" y="18455"/>
                  <a:pt x="11740" y="18455"/>
                </a:cubicBezTo>
                <a:cubicBezTo>
                  <a:pt x="11181" y="18455"/>
                  <a:pt x="10061" y="18348"/>
                  <a:pt x="9692" y="17907"/>
                </a:cubicBezTo>
                <a:lnTo>
                  <a:pt x="8299" y="17907"/>
                </a:lnTo>
                <a:cubicBezTo>
                  <a:pt x="8049" y="17764"/>
                  <a:pt x="7978" y="17657"/>
                  <a:pt x="7752" y="17479"/>
                </a:cubicBezTo>
                <a:lnTo>
                  <a:pt x="6847" y="17479"/>
                </a:lnTo>
                <a:cubicBezTo>
                  <a:pt x="6692" y="17407"/>
                  <a:pt x="6632" y="17348"/>
                  <a:pt x="6430" y="17264"/>
                </a:cubicBezTo>
                <a:cubicBezTo>
                  <a:pt x="6357" y="17410"/>
                  <a:pt x="6202" y="17547"/>
                  <a:pt x="6045" y="17547"/>
                </a:cubicBezTo>
                <a:cubicBezTo>
                  <a:pt x="6022" y="17547"/>
                  <a:pt x="6000" y="17544"/>
                  <a:pt x="5978" y="17538"/>
                </a:cubicBezTo>
                <a:cubicBezTo>
                  <a:pt x="6037" y="17431"/>
                  <a:pt x="6049" y="17395"/>
                  <a:pt x="6144" y="17264"/>
                </a:cubicBezTo>
                <a:cubicBezTo>
                  <a:pt x="5906" y="17169"/>
                  <a:pt x="5823" y="16931"/>
                  <a:pt x="5585" y="16931"/>
                </a:cubicBezTo>
                <a:cubicBezTo>
                  <a:pt x="5275" y="16931"/>
                  <a:pt x="5096" y="17407"/>
                  <a:pt x="4799" y="17538"/>
                </a:cubicBezTo>
                <a:cubicBezTo>
                  <a:pt x="4723" y="17574"/>
                  <a:pt x="4655" y="17585"/>
                  <a:pt x="4590" y="17585"/>
                </a:cubicBezTo>
                <a:cubicBezTo>
                  <a:pt x="4490" y="17585"/>
                  <a:pt x="4398" y="17560"/>
                  <a:pt x="4296" y="17560"/>
                </a:cubicBezTo>
                <a:cubicBezTo>
                  <a:pt x="4244" y="17560"/>
                  <a:pt x="4191" y="17566"/>
                  <a:pt x="4132" y="17586"/>
                </a:cubicBezTo>
                <a:cubicBezTo>
                  <a:pt x="3168" y="17955"/>
                  <a:pt x="2358" y="18788"/>
                  <a:pt x="1810" y="19645"/>
                </a:cubicBezTo>
                <a:lnTo>
                  <a:pt x="810" y="19645"/>
                </a:lnTo>
                <a:cubicBezTo>
                  <a:pt x="798" y="19717"/>
                  <a:pt x="548" y="20253"/>
                  <a:pt x="548" y="20253"/>
                </a:cubicBezTo>
                <a:cubicBezTo>
                  <a:pt x="548" y="20407"/>
                  <a:pt x="1286" y="20586"/>
                  <a:pt x="1501" y="20741"/>
                </a:cubicBezTo>
                <a:cubicBezTo>
                  <a:pt x="1679" y="20872"/>
                  <a:pt x="1906" y="21515"/>
                  <a:pt x="2048" y="21598"/>
                </a:cubicBezTo>
                <a:cubicBezTo>
                  <a:pt x="2572" y="21908"/>
                  <a:pt x="2953" y="21955"/>
                  <a:pt x="3132" y="22646"/>
                </a:cubicBezTo>
                <a:cubicBezTo>
                  <a:pt x="3061" y="22670"/>
                  <a:pt x="3009" y="22678"/>
                  <a:pt x="2963" y="22678"/>
                </a:cubicBezTo>
                <a:cubicBezTo>
                  <a:pt x="2870" y="22678"/>
                  <a:pt x="2799" y="22646"/>
                  <a:pt x="2632" y="22646"/>
                </a:cubicBezTo>
                <a:cubicBezTo>
                  <a:pt x="2493" y="22646"/>
                  <a:pt x="2364" y="22673"/>
                  <a:pt x="2258" y="22673"/>
                </a:cubicBezTo>
                <a:cubicBezTo>
                  <a:pt x="2073" y="22673"/>
                  <a:pt x="1953" y="22591"/>
                  <a:pt x="1953" y="22146"/>
                </a:cubicBezTo>
                <a:lnTo>
                  <a:pt x="1632" y="22146"/>
                </a:lnTo>
                <a:cubicBezTo>
                  <a:pt x="1191" y="22491"/>
                  <a:pt x="453" y="22777"/>
                  <a:pt x="1" y="23098"/>
                </a:cubicBezTo>
                <a:cubicBezTo>
                  <a:pt x="96" y="23324"/>
                  <a:pt x="251" y="23455"/>
                  <a:pt x="548" y="23455"/>
                </a:cubicBezTo>
                <a:cubicBezTo>
                  <a:pt x="524" y="23515"/>
                  <a:pt x="489" y="23598"/>
                  <a:pt x="489" y="23670"/>
                </a:cubicBezTo>
                <a:cubicBezTo>
                  <a:pt x="489" y="23860"/>
                  <a:pt x="703" y="23955"/>
                  <a:pt x="727" y="24277"/>
                </a:cubicBezTo>
                <a:lnTo>
                  <a:pt x="1679" y="24277"/>
                </a:lnTo>
                <a:cubicBezTo>
                  <a:pt x="1717" y="24267"/>
                  <a:pt x="1751" y="24263"/>
                  <a:pt x="1784" y="24263"/>
                </a:cubicBezTo>
                <a:cubicBezTo>
                  <a:pt x="1993" y="24263"/>
                  <a:pt x="2133" y="24432"/>
                  <a:pt x="2441" y="24432"/>
                </a:cubicBezTo>
                <a:cubicBezTo>
                  <a:pt x="2822" y="24432"/>
                  <a:pt x="2930" y="24063"/>
                  <a:pt x="3227" y="24063"/>
                </a:cubicBezTo>
                <a:cubicBezTo>
                  <a:pt x="3299" y="24063"/>
                  <a:pt x="3322" y="24052"/>
                  <a:pt x="3380" y="24052"/>
                </a:cubicBezTo>
                <a:cubicBezTo>
                  <a:pt x="3408" y="24052"/>
                  <a:pt x="3445" y="24055"/>
                  <a:pt x="3501" y="24063"/>
                </a:cubicBezTo>
                <a:lnTo>
                  <a:pt x="3501" y="24384"/>
                </a:lnTo>
                <a:cubicBezTo>
                  <a:pt x="3436" y="24342"/>
                  <a:pt x="3412" y="24316"/>
                  <a:pt x="3382" y="24316"/>
                </a:cubicBezTo>
                <a:cubicBezTo>
                  <a:pt x="3352" y="24316"/>
                  <a:pt x="3317" y="24342"/>
                  <a:pt x="3227" y="24408"/>
                </a:cubicBezTo>
                <a:cubicBezTo>
                  <a:pt x="3239" y="24467"/>
                  <a:pt x="3537" y="24777"/>
                  <a:pt x="3537" y="24932"/>
                </a:cubicBezTo>
                <a:cubicBezTo>
                  <a:pt x="3537" y="25206"/>
                  <a:pt x="2299" y="25801"/>
                  <a:pt x="2144" y="25801"/>
                </a:cubicBezTo>
                <a:cubicBezTo>
                  <a:pt x="1763" y="25801"/>
                  <a:pt x="775" y="26337"/>
                  <a:pt x="775" y="26992"/>
                </a:cubicBezTo>
                <a:cubicBezTo>
                  <a:pt x="775" y="27337"/>
                  <a:pt x="1358" y="27444"/>
                  <a:pt x="1501" y="27920"/>
                </a:cubicBezTo>
                <a:cubicBezTo>
                  <a:pt x="1417" y="27920"/>
                  <a:pt x="1322" y="27992"/>
                  <a:pt x="1227" y="27992"/>
                </a:cubicBezTo>
                <a:cubicBezTo>
                  <a:pt x="1358" y="28182"/>
                  <a:pt x="2215" y="28992"/>
                  <a:pt x="2441" y="28992"/>
                </a:cubicBezTo>
                <a:cubicBezTo>
                  <a:pt x="2513" y="28992"/>
                  <a:pt x="2668" y="28623"/>
                  <a:pt x="2810" y="28623"/>
                </a:cubicBezTo>
                <a:cubicBezTo>
                  <a:pt x="2977" y="28623"/>
                  <a:pt x="2953" y="28885"/>
                  <a:pt x="2953" y="28944"/>
                </a:cubicBezTo>
                <a:lnTo>
                  <a:pt x="2953" y="29385"/>
                </a:lnTo>
                <a:cubicBezTo>
                  <a:pt x="2953" y="29551"/>
                  <a:pt x="3025" y="29921"/>
                  <a:pt x="3132" y="29921"/>
                </a:cubicBezTo>
                <a:cubicBezTo>
                  <a:pt x="3203" y="29921"/>
                  <a:pt x="3299" y="29754"/>
                  <a:pt x="3406" y="29754"/>
                </a:cubicBezTo>
                <a:lnTo>
                  <a:pt x="3620" y="29754"/>
                </a:lnTo>
                <a:cubicBezTo>
                  <a:pt x="3620" y="29659"/>
                  <a:pt x="3608" y="29551"/>
                  <a:pt x="3644" y="29420"/>
                </a:cubicBezTo>
                <a:cubicBezTo>
                  <a:pt x="3953" y="29706"/>
                  <a:pt x="4073" y="29837"/>
                  <a:pt x="4513" y="30028"/>
                </a:cubicBezTo>
                <a:cubicBezTo>
                  <a:pt x="4525" y="29873"/>
                  <a:pt x="4585" y="29813"/>
                  <a:pt x="4644" y="29635"/>
                </a:cubicBezTo>
                <a:cubicBezTo>
                  <a:pt x="4823" y="29706"/>
                  <a:pt x="4906" y="29813"/>
                  <a:pt x="5132" y="29813"/>
                </a:cubicBezTo>
                <a:cubicBezTo>
                  <a:pt x="5394" y="29813"/>
                  <a:pt x="5525" y="29659"/>
                  <a:pt x="5799" y="29528"/>
                </a:cubicBezTo>
                <a:lnTo>
                  <a:pt x="6073" y="29528"/>
                </a:lnTo>
                <a:cubicBezTo>
                  <a:pt x="5632" y="29861"/>
                  <a:pt x="5632" y="30504"/>
                  <a:pt x="5216" y="30837"/>
                </a:cubicBezTo>
                <a:cubicBezTo>
                  <a:pt x="4787" y="31183"/>
                  <a:pt x="4073" y="31552"/>
                  <a:pt x="3775" y="32028"/>
                </a:cubicBezTo>
                <a:cubicBezTo>
                  <a:pt x="3549" y="32349"/>
                  <a:pt x="3203" y="32135"/>
                  <a:pt x="2894" y="32349"/>
                </a:cubicBezTo>
                <a:cubicBezTo>
                  <a:pt x="2703" y="32480"/>
                  <a:pt x="2537" y="32921"/>
                  <a:pt x="2322" y="33064"/>
                </a:cubicBezTo>
                <a:cubicBezTo>
                  <a:pt x="2013" y="33290"/>
                  <a:pt x="1667" y="33111"/>
                  <a:pt x="1453" y="33528"/>
                </a:cubicBezTo>
                <a:cubicBezTo>
                  <a:pt x="1548" y="33561"/>
                  <a:pt x="1636" y="33575"/>
                  <a:pt x="1719" y="33575"/>
                </a:cubicBezTo>
                <a:cubicBezTo>
                  <a:pt x="2308" y="33575"/>
                  <a:pt x="2653" y="32857"/>
                  <a:pt x="3227" y="32742"/>
                </a:cubicBezTo>
                <a:cubicBezTo>
                  <a:pt x="3751" y="32659"/>
                  <a:pt x="4406" y="32421"/>
                  <a:pt x="4680" y="32099"/>
                </a:cubicBezTo>
                <a:cubicBezTo>
                  <a:pt x="4966" y="31742"/>
                  <a:pt x="5585" y="31528"/>
                  <a:pt x="5858" y="31111"/>
                </a:cubicBezTo>
                <a:cubicBezTo>
                  <a:pt x="6001" y="30897"/>
                  <a:pt x="6073" y="30683"/>
                  <a:pt x="6311" y="30575"/>
                </a:cubicBezTo>
                <a:cubicBezTo>
                  <a:pt x="6728" y="30373"/>
                  <a:pt x="7121" y="30206"/>
                  <a:pt x="7121" y="29706"/>
                </a:cubicBezTo>
                <a:lnTo>
                  <a:pt x="7121" y="29385"/>
                </a:lnTo>
                <a:cubicBezTo>
                  <a:pt x="7121" y="28658"/>
                  <a:pt x="8323" y="27468"/>
                  <a:pt x="8752" y="27468"/>
                </a:cubicBezTo>
                <a:lnTo>
                  <a:pt x="8966" y="27468"/>
                </a:lnTo>
                <a:cubicBezTo>
                  <a:pt x="8966" y="27527"/>
                  <a:pt x="8954" y="27623"/>
                  <a:pt x="8954" y="27682"/>
                </a:cubicBezTo>
                <a:cubicBezTo>
                  <a:pt x="8430" y="27885"/>
                  <a:pt x="8156" y="28254"/>
                  <a:pt x="8156" y="28730"/>
                </a:cubicBezTo>
                <a:cubicBezTo>
                  <a:pt x="8156" y="28837"/>
                  <a:pt x="8085" y="28837"/>
                  <a:pt x="8168" y="28992"/>
                </a:cubicBezTo>
                <a:cubicBezTo>
                  <a:pt x="8133" y="29004"/>
                  <a:pt x="8025" y="29028"/>
                  <a:pt x="8025" y="29159"/>
                </a:cubicBezTo>
                <a:cubicBezTo>
                  <a:pt x="8025" y="29254"/>
                  <a:pt x="8133" y="29313"/>
                  <a:pt x="8204" y="29313"/>
                </a:cubicBezTo>
                <a:cubicBezTo>
                  <a:pt x="8633" y="29313"/>
                  <a:pt x="9788" y="28527"/>
                  <a:pt x="10026" y="28099"/>
                </a:cubicBezTo>
                <a:cubicBezTo>
                  <a:pt x="9930" y="28016"/>
                  <a:pt x="9895" y="27944"/>
                  <a:pt x="9835" y="27789"/>
                </a:cubicBezTo>
                <a:cubicBezTo>
                  <a:pt x="10002" y="27682"/>
                  <a:pt x="10371" y="27575"/>
                  <a:pt x="10585" y="27468"/>
                </a:cubicBezTo>
                <a:cubicBezTo>
                  <a:pt x="10895" y="28230"/>
                  <a:pt x="11693" y="28313"/>
                  <a:pt x="12288" y="28551"/>
                </a:cubicBezTo>
                <a:lnTo>
                  <a:pt x="13288" y="28551"/>
                </a:lnTo>
                <a:cubicBezTo>
                  <a:pt x="13824" y="28920"/>
                  <a:pt x="14443" y="28897"/>
                  <a:pt x="14919" y="29313"/>
                </a:cubicBezTo>
                <a:cubicBezTo>
                  <a:pt x="15133" y="29504"/>
                  <a:pt x="15383" y="30135"/>
                  <a:pt x="15764" y="30135"/>
                </a:cubicBezTo>
                <a:cubicBezTo>
                  <a:pt x="15907" y="30135"/>
                  <a:pt x="15979" y="29921"/>
                  <a:pt x="16038" y="29754"/>
                </a:cubicBezTo>
                <a:cubicBezTo>
                  <a:pt x="16181" y="29921"/>
                  <a:pt x="16312" y="30075"/>
                  <a:pt x="16586" y="30075"/>
                </a:cubicBezTo>
                <a:cubicBezTo>
                  <a:pt x="16605" y="30035"/>
                  <a:pt x="16629" y="30019"/>
                  <a:pt x="16656" y="30019"/>
                </a:cubicBezTo>
                <a:cubicBezTo>
                  <a:pt x="16734" y="30019"/>
                  <a:pt x="16837" y="30151"/>
                  <a:pt x="16907" y="30230"/>
                </a:cubicBezTo>
                <a:cubicBezTo>
                  <a:pt x="16848" y="30337"/>
                  <a:pt x="16729" y="30421"/>
                  <a:pt x="16729" y="30683"/>
                </a:cubicBezTo>
                <a:cubicBezTo>
                  <a:pt x="16729" y="30813"/>
                  <a:pt x="16931" y="31004"/>
                  <a:pt x="17003" y="31004"/>
                </a:cubicBezTo>
                <a:cubicBezTo>
                  <a:pt x="17229" y="31004"/>
                  <a:pt x="17146" y="30742"/>
                  <a:pt x="17491" y="30730"/>
                </a:cubicBezTo>
                <a:lnTo>
                  <a:pt x="17491" y="31004"/>
                </a:lnTo>
                <a:cubicBezTo>
                  <a:pt x="17491" y="31183"/>
                  <a:pt x="17217" y="31206"/>
                  <a:pt x="17217" y="31373"/>
                </a:cubicBezTo>
                <a:cubicBezTo>
                  <a:pt x="17217" y="31504"/>
                  <a:pt x="17288" y="31706"/>
                  <a:pt x="17539" y="31706"/>
                </a:cubicBezTo>
                <a:cubicBezTo>
                  <a:pt x="17872" y="31706"/>
                  <a:pt x="18086" y="31706"/>
                  <a:pt x="18086" y="32028"/>
                </a:cubicBezTo>
                <a:lnTo>
                  <a:pt x="18086" y="32349"/>
                </a:lnTo>
                <a:cubicBezTo>
                  <a:pt x="18086" y="32588"/>
                  <a:pt x="18539" y="33004"/>
                  <a:pt x="18848" y="33004"/>
                </a:cubicBezTo>
                <a:cubicBezTo>
                  <a:pt x="18943" y="33004"/>
                  <a:pt x="18943" y="32980"/>
                  <a:pt x="19027" y="32980"/>
                </a:cubicBezTo>
                <a:cubicBezTo>
                  <a:pt x="19027" y="33088"/>
                  <a:pt x="19134" y="33159"/>
                  <a:pt x="19134" y="33290"/>
                </a:cubicBezTo>
                <a:cubicBezTo>
                  <a:pt x="19134" y="33576"/>
                  <a:pt x="19063" y="34159"/>
                  <a:pt x="19313" y="34242"/>
                </a:cubicBezTo>
                <a:cubicBezTo>
                  <a:pt x="19467" y="34290"/>
                  <a:pt x="19610" y="34290"/>
                  <a:pt x="19717" y="34409"/>
                </a:cubicBezTo>
                <a:cubicBezTo>
                  <a:pt x="19884" y="34612"/>
                  <a:pt x="19682" y="34897"/>
                  <a:pt x="19896" y="35064"/>
                </a:cubicBezTo>
                <a:cubicBezTo>
                  <a:pt x="19896" y="35064"/>
                  <a:pt x="20372" y="35409"/>
                  <a:pt x="20384" y="35481"/>
                </a:cubicBezTo>
                <a:cubicBezTo>
                  <a:pt x="20515" y="35981"/>
                  <a:pt x="20551" y="36564"/>
                  <a:pt x="21170" y="36564"/>
                </a:cubicBezTo>
                <a:cubicBezTo>
                  <a:pt x="21253" y="37005"/>
                  <a:pt x="21896" y="36719"/>
                  <a:pt x="22039" y="37279"/>
                </a:cubicBezTo>
                <a:cubicBezTo>
                  <a:pt x="22087" y="37505"/>
                  <a:pt x="22539" y="37540"/>
                  <a:pt x="22730" y="37755"/>
                </a:cubicBezTo>
                <a:cubicBezTo>
                  <a:pt x="22765" y="37802"/>
                  <a:pt x="22849" y="37850"/>
                  <a:pt x="22920" y="37886"/>
                </a:cubicBezTo>
                <a:cubicBezTo>
                  <a:pt x="23003" y="38112"/>
                  <a:pt x="23158" y="38172"/>
                  <a:pt x="23158" y="38386"/>
                </a:cubicBezTo>
                <a:cubicBezTo>
                  <a:pt x="23158" y="38588"/>
                  <a:pt x="22992" y="38850"/>
                  <a:pt x="22908" y="38981"/>
                </a:cubicBezTo>
                <a:cubicBezTo>
                  <a:pt x="22813" y="38779"/>
                  <a:pt x="22658" y="38612"/>
                  <a:pt x="22384" y="38612"/>
                </a:cubicBezTo>
                <a:cubicBezTo>
                  <a:pt x="22313" y="38612"/>
                  <a:pt x="22111" y="38624"/>
                  <a:pt x="22111" y="38755"/>
                </a:cubicBezTo>
                <a:cubicBezTo>
                  <a:pt x="22111" y="39231"/>
                  <a:pt x="22563" y="39434"/>
                  <a:pt x="22563" y="39910"/>
                </a:cubicBezTo>
                <a:cubicBezTo>
                  <a:pt x="22563" y="40577"/>
                  <a:pt x="22087" y="41815"/>
                  <a:pt x="22253" y="42339"/>
                </a:cubicBezTo>
                <a:cubicBezTo>
                  <a:pt x="22432" y="42886"/>
                  <a:pt x="22241" y="43684"/>
                  <a:pt x="22432" y="44172"/>
                </a:cubicBezTo>
                <a:cubicBezTo>
                  <a:pt x="22325" y="44256"/>
                  <a:pt x="22158" y="44387"/>
                  <a:pt x="22253" y="44577"/>
                </a:cubicBezTo>
                <a:cubicBezTo>
                  <a:pt x="22563" y="45220"/>
                  <a:pt x="22956" y="46184"/>
                  <a:pt x="23337" y="46256"/>
                </a:cubicBezTo>
                <a:cubicBezTo>
                  <a:pt x="23254" y="47137"/>
                  <a:pt x="23754" y="47399"/>
                  <a:pt x="24016" y="48161"/>
                </a:cubicBezTo>
                <a:cubicBezTo>
                  <a:pt x="24063" y="48328"/>
                  <a:pt x="24016" y="48578"/>
                  <a:pt x="24158" y="48637"/>
                </a:cubicBezTo>
                <a:cubicBezTo>
                  <a:pt x="24813" y="48947"/>
                  <a:pt x="25730" y="49399"/>
                  <a:pt x="26004" y="50054"/>
                </a:cubicBezTo>
                <a:lnTo>
                  <a:pt x="25968" y="50054"/>
                </a:lnTo>
                <a:lnTo>
                  <a:pt x="25968" y="50197"/>
                </a:lnTo>
                <a:cubicBezTo>
                  <a:pt x="26099" y="50697"/>
                  <a:pt x="26254" y="50828"/>
                  <a:pt x="26421" y="51221"/>
                </a:cubicBezTo>
                <a:cubicBezTo>
                  <a:pt x="26528" y="51483"/>
                  <a:pt x="26516" y="52090"/>
                  <a:pt x="26730" y="52257"/>
                </a:cubicBezTo>
                <a:cubicBezTo>
                  <a:pt x="27052" y="52495"/>
                  <a:pt x="27349" y="52959"/>
                  <a:pt x="27611" y="53423"/>
                </a:cubicBezTo>
                <a:cubicBezTo>
                  <a:pt x="27719" y="53593"/>
                  <a:pt x="27578" y="53623"/>
                  <a:pt x="27439" y="53623"/>
                </a:cubicBezTo>
                <a:cubicBezTo>
                  <a:pt x="27363" y="53623"/>
                  <a:pt x="27288" y="53614"/>
                  <a:pt x="27254" y="53614"/>
                </a:cubicBezTo>
                <a:cubicBezTo>
                  <a:pt x="27433" y="53935"/>
                  <a:pt x="27837" y="53876"/>
                  <a:pt x="28087" y="54173"/>
                </a:cubicBezTo>
                <a:cubicBezTo>
                  <a:pt x="28266" y="54388"/>
                  <a:pt x="28421" y="54626"/>
                  <a:pt x="28611" y="54876"/>
                </a:cubicBezTo>
                <a:lnTo>
                  <a:pt x="28611" y="55436"/>
                </a:lnTo>
                <a:cubicBezTo>
                  <a:pt x="28671" y="55543"/>
                  <a:pt x="28683" y="55543"/>
                  <a:pt x="28802" y="55626"/>
                </a:cubicBezTo>
                <a:cubicBezTo>
                  <a:pt x="28992" y="55781"/>
                  <a:pt x="29171" y="56293"/>
                  <a:pt x="29492" y="56293"/>
                </a:cubicBezTo>
                <a:cubicBezTo>
                  <a:pt x="29516" y="56388"/>
                  <a:pt x="29754" y="56757"/>
                  <a:pt x="29790" y="56757"/>
                </a:cubicBezTo>
                <a:cubicBezTo>
                  <a:pt x="29850" y="56757"/>
                  <a:pt x="29921" y="56543"/>
                  <a:pt x="29921" y="56436"/>
                </a:cubicBezTo>
                <a:cubicBezTo>
                  <a:pt x="29921" y="56290"/>
                  <a:pt x="29779" y="56019"/>
                  <a:pt x="29643" y="56019"/>
                </a:cubicBezTo>
                <a:cubicBezTo>
                  <a:pt x="29612" y="56019"/>
                  <a:pt x="29581" y="56033"/>
                  <a:pt x="29552" y="56067"/>
                </a:cubicBezTo>
                <a:cubicBezTo>
                  <a:pt x="29230" y="55805"/>
                  <a:pt x="29123" y="55245"/>
                  <a:pt x="28980" y="54721"/>
                </a:cubicBezTo>
                <a:cubicBezTo>
                  <a:pt x="28849" y="54257"/>
                  <a:pt x="28492" y="54019"/>
                  <a:pt x="28361" y="53519"/>
                </a:cubicBezTo>
                <a:cubicBezTo>
                  <a:pt x="28266" y="53161"/>
                  <a:pt x="28230" y="52935"/>
                  <a:pt x="27980" y="52638"/>
                </a:cubicBezTo>
                <a:cubicBezTo>
                  <a:pt x="27802" y="52411"/>
                  <a:pt x="27564" y="52411"/>
                  <a:pt x="27433" y="52090"/>
                </a:cubicBezTo>
                <a:cubicBezTo>
                  <a:pt x="27290" y="51721"/>
                  <a:pt x="27111" y="51435"/>
                  <a:pt x="27111" y="50983"/>
                </a:cubicBezTo>
                <a:cubicBezTo>
                  <a:pt x="27111" y="50923"/>
                  <a:pt x="27087" y="50792"/>
                  <a:pt x="27147" y="50709"/>
                </a:cubicBezTo>
                <a:cubicBezTo>
                  <a:pt x="27385" y="50983"/>
                  <a:pt x="27671" y="50959"/>
                  <a:pt x="27980" y="51137"/>
                </a:cubicBezTo>
                <a:cubicBezTo>
                  <a:pt x="28123" y="51221"/>
                  <a:pt x="28087" y="51697"/>
                  <a:pt x="28254" y="51899"/>
                </a:cubicBezTo>
                <a:cubicBezTo>
                  <a:pt x="28421" y="52090"/>
                  <a:pt x="28361" y="52459"/>
                  <a:pt x="28528" y="52661"/>
                </a:cubicBezTo>
                <a:cubicBezTo>
                  <a:pt x="28718" y="52900"/>
                  <a:pt x="28909" y="53138"/>
                  <a:pt x="29135" y="53411"/>
                </a:cubicBezTo>
                <a:cubicBezTo>
                  <a:pt x="29161" y="53385"/>
                  <a:pt x="29171" y="53375"/>
                  <a:pt x="29189" y="53375"/>
                </a:cubicBezTo>
                <a:cubicBezTo>
                  <a:pt x="29211" y="53375"/>
                  <a:pt x="29244" y="53391"/>
                  <a:pt x="29338" y="53411"/>
                </a:cubicBezTo>
                <a:cubicBezTo>
                  <a:pt x="29338" y="53935"/>
                  <a:pt x="29897" y="53983"/>
                  <a:pt x="30064" y="54376"/>
                </a:cubicBezTo>
                <a:cubicBezTo>
                  <a:pt x="30159" y="54614"/>
                  <a:pt x="30028" y="54828"/>
                  <a:pt x="30171" y="54995"/>
                </a:cubicBezTo>
                <a:cubicBezTo>
                  <a:pt x="30350" y="55221"/>
                  <a:pt x="30647" y="55305"/>
                  <a:pt x="30826" y="55519"/>
                </a:cubicBezTo>
                <a:cubicBezTo>
                  <a:pt x="31231" y="55995"/>
                  <a:pt x="31838" y="56626"/>
                  <a:pt x="32052" y="57412"/>
                </a:cubicBezTo>
                <a:cubicBezTo>
                  <a:pt x="32088" y="57567"/>
                  <a:pt x="32243" y="57626"/>
                  <a:pt x="32243" y="57912"/>
                </a:cubicBezTo>
                <a:cubicBezTo>
                  <a:pt x="32243" y="58150"/>
                  <a:pt x="32052" y="58281"/>
                  <a:pt x="32052" y="58519"/>
                </a:cubicBezTo>
                <a:cubicBezTo>
                  <a:pt x="32052" y="58710"/>
                  <a:pt x="32171" y="58948"/>
                  <a:pt x="32326" y="58948"/>
                </a:cubicBezTo>
                <a:cubicBezTo>
                  <a:pt x="32386" y="59234"/>
                  <a:pt x="32945" y="59388"/>
                  <a:pt x="33160" y="59650"/>
                </a:cubicBezTo>
                <a:cubicBezTo>
                  <a:pt x="33219" y="59710"/>
                  <a:pt x="33255" y="59734"/>
                  <a:pt x="33362" y="59805"/>
                </a:cubicBezTo>
                <a:cubicBezTo>
                  <a:pt x="33600" y="59924"/>
                  <a:pt x="33731" y="59888"/>
                  <a:pt x="33957" y="60019"/>
                </a:cubicBezTo>
                <a:cubicBezTo>
                  <a:pt x="34219" y="60174"/>
                  <a:pt x="34267" y="60436"/>
                  <a:pt x="34517" y="60520"/>
                </a:cubicBezTo>
                <a:cubicBezTo>
                  <a:pt x="34558" y="60532"/>
                  <a:pt x="34596" y="60536"/>
                  <a:pt x="34632" y="60536"/>
                </a:cubicBezTo>
                <a:cubicBezTo>
                  <a:pt x="34719" y="60536"/>
                  <a:pt x="34796" y="60511"/>
                  <a:pt x="34879" y="60511"/>
                </a:cubicBezTo>
                <a:cubicBezTo>
                  <a:pt x="34933" y="60511"/>
                  <a:pt x="34989" y="60522"/>
                  <a:pt x="35053" y="60555"/>
                </a:cubicBezTo>
                <a:cubicBezTo>
                  <a:pt x="35231" y="60662"/>
                  <a:pt x="35850" y="61186"/>
                  <a:pt x="36065" y="61186"/>
                </a:cubicBezTo>
                <a:cubicBezTo>
                  <a:pt x="36131" y="61186"/>
                  <a:pt x="36194" y="61179"/>
                  <a:pt x="36257" y="61179"/>
                </a:cubicBezTo>
                <a:cubicBezTo>
                  <a:pt x="36331" y="61179"/>
                  <a:pt x="36404" y="61189"/>
                  <a:pt x="36481" y="61234"/>
                </a:cubicBezTo>
                <a:cubicBezTo>
                  <a:pt x="36553" y="61282"/>
                  <a:pt x="36696" y="61424"/>
                  <a:pt x="36839" y="61424"/>
                </a:cubicBezTo>
                <a:cubicBezTo>
                  <a:pt x="37148" y="61424"/>
                  <a:pt x="37208" y="60996"/>
                  <a:pt x="37529" y="60996"/>
                </a:cubicBezTo>
                <a:cubicBezTo>
                  <a:pt x="37672" y="60996"/>
                  <a:pt x="37779" y="61055"/>
                  <a:pt x="37934" y="61162"/>
                </a:cubicBezTo>
                <a:lnTo>
                  <a:pt x="38041" y="61162"/>
                </a:lnTo>
                <a:cubicBezTo>
                  <a:pt x="38529" y="61448"/>
                  <a:pt x="38601" y="61948"/>
                  <a:pt x="39160" y="62282"/>
                </a:cubicBezTo>
                <a:cubicBezTo>
                  <a:pt x="39529" y="62496"/>
                  <a:pt x="39779" y="62389"/>
                  <a:pt x="40125" y="62579"/>
                </a:cubicBezTo>
                <a:cubicBezTo>
                  <a:pt x="40363" y="62710"/>
                  <a:pt x="40541" y="62948"/>
                  <a:pt x="40887" y="62948"/>
                </a:cubicBezTo>
                <a:cubicBezTo>
                  <a:pt x="41006" y="62948"/>
                  <a:pt x="41101" y="62841"/>
                  <a:pt x="41232" y="62841"/>
                </a:cubicBezTo>
                <a:lnTo>
                  <a:pt x="41339" y="62841"/>
                </a:lnTo>
                <a:cubicBezTo>
                  <a:pt x="41446" y="63353"/>
                  <a:pt x="41756" y="63556"/>
                  <a:pt x="42042" y="63901"/>
                </a:cubicBezTo>
                <a:cubicBezTo>
                  <a:pt x="42137" y="64008"/>
                  <a:pt x="42220" y="64056"/>
                  <a:pt x="42280" y="64270"/>
                </a:cubicBezTo>
                <a:cubicBezTo>
                  <a:pt x="42375" y="64603"/>
                  <a:pt x="42184" y="64901"/>
                  <a:pt x="42458" y="65115"/>
                </a:cubicBezTo>
                <a:lnTo>
                  <a:pt x="42637" y="65115"/>
                </a:lnTo>
                <a:cubicBezTo>
                  <a:pt x="42601" y="65080"/>
                  <a:pt x="42601" y="64984"/>
                  <a:pt x="42637" y="64925"/>
                </a:cubicBezTo>
                <a:cubicBezTo>
                  <a:pt x="42661" y="64925"/>
                  <a:pt x="43280" y="65377"/>
                  <a:pt x="43327" y="65508"/>
                </a:cubicBezTo>
                <a:cubicBezTo>
                  <a:pt x="43399" y="65687"/>
                  <a:pt x="43399" y="65901"/>
                  <a:pt x="43661" y="65973"/>
                </a:cubicBezTo>
                <a:cubicBezTo>
                  <a:pt x="43661" y="66008"/>
                  <a:pt x="43708" y="66092"/>
                  <a:pt x="43744" y="66092"/>
                </a:cubicBezTo>
                <a:cubicBezTo>
                  <a:pt x="43826" y="66092"/>
                  <a:pt x="43968" y="66045"/>
                  <a:pt x="44096" y="66045"/>
                </a:cubicBezTo>
                <a:cubicBezTo>
                  <a:pt x="44172" y="66045"/>
                  <a:pt x="44243" y="66062"/>
                  <a:pt x="44292" y="66115"/>
                </a:cubicBezTo>
                <a:cubicBezTo>
                  <a:pt x="44435" y="66294"/>
                  <a:pt x="44613" y="66711"/>
                  <a:pt x="44911" y="66711"/>
                </a:cubicBezTo>
                <a:cubicBezTo>
                  <a:pt x="45054" y="66711"/>
                  <a:pt x="45137" y="66592"/>
                  <a:pt x="45185" y="66377"/>
                </a:cubicBezTo>
                <a:cubicBezTo>
                  <a:pt x="45137" y="66354"/>
                  <a:pt x="45030" y="66270"/>
                  <a:pt x="45030" y="66187"/>
                </a:cubicBezTo>
                <a:cubicBezTo>
                  <a:pt x="45030" y="66056"/>
                  <a:pt x="45542" y="65615"/>
                  <a:pt x="45673" y="65615"/>
                </a:cubicBezTo>
                <a:cubicBezTo>
                  <a:pt x="45863" y="65615"/>
                  <a:pt x="45923" y="65901"/>
                  <a:pt x="46125" y="66008"/>
                </a:cubicBezTo>
                <a:cubicBezTo>
                  <a:pt x="46090" y="66092"/>
                  <a:pt x="46006" y="66139"/>
                  <a:pt x="46006" y="66223"/>
                </a:cubicBezTo>
                <a:cubicBezTo>
                  <a:pt x="46006" y="66294"/>
                  <a:pt x="46185" y="66354"/>
                  <a:pt x="46221" y="66401"/>
                </a:cubicBezTo>
                <a:cubicBezTo>
                  <a:pt x="46221" y="66401"/>
                  <a:pt x="46244" y="66389"/>
                  <a:pt x="46256" y="66377"/>
                </a:cubicBezTo>
                <a:lnTo>
                  <a:pt x="46256" y="66377"/>
                </a:lnTo>
                <a:cubicBezTo>
                  <a:pt x="46244" y="66413"/>
                  <a:pt x="46233" y="66461"/>
                  <a:pt x="46233" y="66508"/>
                </a:cubicBezTo>
                <a:cubicBezTo>
                  <a:pt x="46233" y="66901"/>
                  <a:pt x="46554" y="66830"/>
                  <a:pt x="46554" y="67294"/>
                </a:cubicBezTo>
                <a:cubicBezTo>
                  <a:pt x="46554" y="67508"/>
                  <a:pt x="46471" y="67592"/>
                  <a:pt x="46471" y="67854"/>
                </a:cubicBezTo>
                <a:cubicBezTo>
                  <a:pt x="46471" y="68032"/>
                  <a:pt x="46578" y="68163"/>
                  <a:pt x="46578" y="68330"/>
                </a:cubicBezTo>
                <a:lnTo>
                  <a:pt x="46578" y="68437"/>
                </a:lnTo>
                <a:lnTo>
                  <a:pt x="46506" y="68616"/>
                </a:lnTo>
                <a:cubicBezTo>
                  <a:pt x="46506" y="68675"/>
                  <a:pt x="46590" y="68794"/>
                  <a:pt x="46685" y="68830"/>
                </a:cubicBezTo>
                <a:cubicBezTo>
                  <a:pt x="46578" y="69413"/>
                  <a:pt x="46102" y="69271"/>
                  <a:pt x="45899" y="69747"/>
                </a:cubicBezTo>
                <a:cubicBezTo>
                  <a:pt x="45756" y="70092"/>
                  <a:pt x="45625" y="70676"/>
                  <a:pt x="45137" y="70676"/>
                </a:cubicBezTo>
                <a:cubicBezTo>
                  <a:pt x="45221" y="71640"/>
                  <a:pt x="44756" y="71545"/>
                  <a:pt x="44756" y="72045"/>
                </a:cubicBezTo>
                <a:cubicBezTo>
                  <a:pt x="44756" y="72354"/>
                  <a:pt x="44792" y="72783"/>
                  <a:pt x="45054" y="72783"/>
                </a:cubicBezTo>
                <a:cubicBezTo>
                  <a:pt x="45135" y="72783"/>
                  <a:pt x="45157" y="72742"/>
                  <a:pt x="45201" y="72742"/>
                </a:cubicBezTo>
                <a:cubicBezTo>
                  <a:pt x="45229" y="72742"/>
                  <a:pt x="45264" y="72757"/>
                  <a:pt x="45328" y="72807"/>
                </a:cubicBezTo>
                <a:cubicBezTo>
                  <a:pt x="45256" y="73152"/>
                  <a:pt x="44923" y="73235"/>
                  <a:pt x="44756" y="73569"/>
                </a:cubicBezTo>
                <a:cubicBezTo>
                  <a:pt x="44685" y="73652"/>
                  <a:pt x="44566" y="73962"/>
                  <a:pt x="44566" y="74224"/>
                </a:cubicBezTo>
                <a:cubicBezTo>
                  <a:pt x="44566" y="74605"/>
                  <a:pt x="44816" y="75045"/>
                  <a:pt x="45018" y="75283"/>
                </a:cubicBezTo>
                <a:cubicBezTo>
                  <a:pt x="45090" y="75367"/>
                  <a:pt x="45232" y="75331"/>
                  <a:pt x="45292" y="75450"/>
                </a:cubicBezTo>
                <a:cubicBezTo>
                  <a:pt x="45340" y="75605"/>
                  <a:pt x="45375" y="75914"/>
                  <a:pt x="45506" y="76069"/>
                </a:cubicBezTo>
                <a:cubicBezTo>
                  <a:pt x="45554" y="76129"/>
                  <a:pt x="45685" y="76093"/>
                  <a:pt x="45744" y="76212"/>
                </a:cubicBezTo>
                <a:cubicBezTo>
                  <a:pt x="45899" y="76629"/>
                  <a:pt x="46006" y="76914"/>
                  <a:pt x="46137" y="77403"/>
                </a:cubicBezTo>
                <a:cubicBezTo>
                  <a:pt x="46268" y="77891"/>
                  <a:pt x="46625" y="78272"/>
                  <a:pt x="46768" y="78796"/>
                </a:cubicBezTo>
                <a:cubicBezTo>
                  <a:pt x="46852" y="79105"/>
                  <a:pt x="47114" y="79272"/>
                  <a:pt x="47114" y="79629"/>
                </a:cubicBezTo>
                <a:cubicBezTo>
                  <a:pt x="47114" y="79879"/>
                  <a:pt x="47042" y="80129"/>
                  <a:pt x="47185" y="80296"/>
                </a:cubicBezTo>
                <a:cubicBezTo>
                  <a:pt x="47518" y="80689"/>
                  <a:pt x="47768" y="80998"/>
                  <a:pt x="48280" y="81189"/>
                </a:cubicBezTo>
                <a:cubicBezTo>
                  <a:pt x="48530" y="81272"/>
                  <a:pt x="48638" y="81367"/>
                  <a:pt x="48852" y="81617"/>
                </a:cubicBezTo>
                <a:cubicBezTo>
                  <a:pt x="49054" y="81855"/>
                  <a:pt x="49257" y="81820"/>
                  <a:pt x="49531" y="81975"/>
                </a:cubicBezTo>
                <a:cubicBezTo>
                  <a:pt x="49852" y="82165"/>
                  <a:pt x="50138" y="82486"/>
                  <a:pt x="50305" y="83010"/>
                </a:cubicBezTo>
                <a:cubicBezTo>
                  <a:pt x="50364" y="83248"/>
                  <a:pt x="50447" y="84534"/>
                  <a:pt x="50447" y="84749"/>
                </a:cubicBezTo>
                <a:cubicBezTo>
                  <a:pt x="50447" y="85094"/>
                  <a:pt x="50293" y="85677"/>
                  <a:pt x="50293" y="85987"/>
                </a:cubicBezTo>
                <a:lnTo>
                  <a:pt x="50293" y="86939"/>
                </a:lnTo>
                <a:cubicBezTo>
                  <a:pt x="50257" y="87154"/>
                  <a:pt x="50162" y="87547"/>
                  <a:pt x="50162" y="87701"/>
                </a:cubicBezTo>
                <a:lnTo>
                  <a:pt x="50162" y="87892"/>
                </a:lnTo>
                <a:cubicBezTo>
                  <a:pt x="50162" y="88630"/>
                  <a:pt x="49745" y="89178"/>
                  <a:pt x="49745" y="89999"/>
                </a:cubicBezTo>
                <a:cubicBezTo>
                  <a:pt x="49745" y="90357"/>
                  <a:pt x="49543" y="90654"/>
                  <a:pt x="49650" y="91047"/>
                </a:cubicBezTo>
                <a:lnTo>
                  <a:pt x="49673" y="92678"/>
                </a:lnTo>
                <a:cubicBezTo>
                  <a:pt x="49566" y="93202"/>
                  <a:pt x="49566" y="93559"/>
                  <a:pt x="49435" y="94059"/>
                </a:cubicBezTo>
                <a:cubicBezTo>
                  <a:pt x="49423" y="94155"/>
                  <a:pt x="49328" y="94131"/>
                  <a:pt x="49269" y="94214"/>
                </a:cubicBezTo>
                <a:cubicBezTo>
                  <a:pt x="49185" y="94369"/>
                  <a:pt x="49150" y="94678"/>
                  <a:pt x="49078" y="94821"/>
                </a:cubicBezTo>
                <a:cubicBezTo>
                  <a:pt x="48911" y="95131"/>
                  <a:pt x="48661" y="95631"/>
                  <a:pt x="48661" y="96131"/>
                </a:cubicBezTo>
                <a:cubicBezTo>
                  <a:pt x="48661" y="96286"/>
                  <a:pt x="48673" y="96893"/>
                  <a:pt x="48745" y="96893"/>
                </a:cubicBezTo>
                <a:cubicBezTo>
                  <a:pt x="48745" y="96893"/>
                  <a:pt x="48852" y="97000"/>
                  <a:pt x="48852" y="97131"/>
                </a:cubicBezTo>
                <a:cubicBezTo>
                  <a:pt x="48852" y="97191"/>
                  <a:pt x="48804" y="97250"/>
                  <a:pt x="48673" y="97250"/>
                </a:cubicBezTo>
                <a:cubicBezTo>
                  <a:pt x="48626" y="97643"/>
                  <a:pt x="48495" y="97822"/>
                  <a:pt x="48495" y="98238"/>
                </a:cubicBezTo>
                <a:cubicBezTo>
                  <a:pt x="48495" y="98477"/>
                  <a:pt x="48602" y="98977"/>
                  <a:pt x="48745" y="98977"/>
                </a:cubicBezTo>
                <a:cubicBezTo>
                  <a:pt x="48876" y="98977"/>
                  <a:pt x="48888" y="98798"/>
                  <a:pt x="49019" y="98727"/>
                </a:cubicBezTo>
                <a:cubicBezTo>
                  <a:pt x="49038" y="98723"/>
                  <a:pt x="49057" y="98721"/>
                  <a:pt x="49075" y="98721"/>
                </a:cubicBezTo>
                <a:cubicBezTo>
                  <a:pt x="49111" y="98721"/>
                  <a:pt x="49146" y="98727"/>
                  <a:pt x="49185" y="98727"/>
                </a:cubicBezTo>
                <a:lnTo>
                  <a:pt x="49185" y="99060"/>
                </a:lnTo>
                <a:lnTo>
                  <a:pt x="48590" y="102275"/>
                </a:lnTo>
                <a:cubicBezTo>
                  <a:pt x="48316" y="102275"/>
                  <a:pt x="48435" y="101882"/>
                  <a:pt x="48114" y="101882"/>
                </a:cubicBezTo>
                <a:cubicBezTo>
                  <a:pt x="48019" y="101882"/>
                  <a:pt x="47947" y="101989"/>
                  <a:pt x="47947" y="102120"/>
                </a:cubicBezTo>
                <a:lnTo>
                  <a:pt x="47935" y="102120"/>
                </a:lnTo>
                <a:lnTo>
                  <a:pt x="47935" y="102334"/>
                </a:lnTo>
                <a:cubicBezTo>
                  <a:pt x="47971" y="102572"/>
                  <a:pt x="48185" y="102929"/>
                  <a:pt x="48185" y="103096"/>
                </a:cubicBezTo>
                <a:cubicBezTo>
                  <a:pt x="48185" y="103441"/>
                  <a:pt x="47768" y="103596"/>
                  <a:pt x="47768" y="103989"/>
                </a:cubicBezTo>
                <a:cubicBezTo>
                  <a:pt x="47768" y="104358"/>
                  <a:pt x="48042" y="105120"/>
                  <a:pt x="48042" y="105596"/>
                </a:cubicBezTo>
                <a:lnTo>
                  <a:pt x="48042" y="105894"/>
                </a:lnTo>
                <a:cubicBezTo>
                  <a:pt x="48042" y="106358"/>
                  <a:pt x="48530" y="106263"/>
                  <a:pt x="48530" y="106787"/>
                </a:cubicBezTo>
                <a:cubicBezTo>
                  <a:pt x="48530" y="106918"/>
                  <a:pt x="48459" y="107049"/>
                  <a:pt x="48400" y="107156"/>
                </a:cubicBezTo>
                <a:cubicBezTo>
                  <a:pt x="48459" y="107204"/>
                  <a:pt x="48495" y="107240"/>
                  <a:pt x="48542" y="107263"/>
                </a:cubicBezTo>
                <a:cubicBezTo>
                  <a:pt x="48530" y="107466"/>
                  <a:pt x="48209" y="107442"/>
                  <a:pt x="48209" y="107632"/>
                </a:cubicBezTo>
                <a:cubicBezTo>
                  <a:pt x="48209" y="107680"/>
                  <a:pt x="48316" y="107787"/>
                  <a:pt x="48364" y="107859"/>
                </a:cubicBezTo>
                <a:cubicBezTo>
                  <a:pt x="48602" y="108132"/>
                  <a:pt x="48745" y="108442"/>
                  <a:pt x="49257" y="108442"/>
                </a:cubicBezTo>
                <a:cubicBezTo>
                  <a:pt x="49269" y="108549"/>
                  <a:pt x="49316" y="108728"/>
                  <a:pt x="49459" y="108728"/>
                </a:cubicBezTo>
                <a:lnTo>
                  <a:pt x="49804" y="108728"/>
                </a:lnTo>
                <a:cubicBezTo>
                  <a:pt x="49804" y="109109"/>
                  <a:pt x="50197" y="109109"/>
                  <a:pt x="50471" y="109216"/>
                </a:cubicBezTo>
                <a:cubicBezTo>
                  <a:pt x="50757" y="109323"/>
                  <a:pt x="50614" y="109918"/>
                  <a:pt x="51031" y="109918"/>
                </a:cubicBezTo>
                <a:lnTo>
                  <a:pt x="51543" y="109918"/>
                </a:lnTo>
                <a:cubicBezTo>
                  <a:pt x="51590" y="109918"/>
                  <a:pt x="51662" y="109823"/>
                  <a:pt x="51721" y="109823"/>
                </a:cubicBezTo>
                <a:lnTo>
                  <a:pt x="51924" y="109823"/>
                </a:lnTo>
                <a:cubicBezTo>
                  <a:pt x="52079" y="109823"/>
                  <a:pt x="52531" y="109418"/>
                  <a:pt x="52805" y="109418"/>
                </a:cubicBezTo>
                <a:cubicBezTo>
                  <a:pt x="52856" y="109418"/>
                  <a:pt x="52910" y="109432"/>
                  <a:pt x="52960" y="109432"/>
                </a:cubicBezTo>
                <a:cubicBezTo>
                  <a:pt x="53015" y="109432"/>
                  <a:pt x="53065" y="109416"/>
                  <a:pt x="53102" y="109347"/>
                </a:cubicBezTo>
                <a:cubicBezTo>
                  <a:pt x="52602" y="109073"/>
                  <a:pt x="52114" y="108871"/>
                  <a:pt x="51721" y="108394"/>
                </a:cubicBezTo>
                <a:cubicBezTo>
                  <a:pt x="51483" y="108109"/>
                  <a:pt x="51507" y="107109"/>
                  <a:pt x="51174" y="106894"/>
                </a:cubicBezTo>
                <a:cubicBezTo>
                  <a:pt x="51067" y="106870"/>
                  <a:pt x="50900" y="106608"/>
                  <a:pt x="50900" y="106394"/>
                </a:cubicBezTo>
                <a:cubicBezTo>
                  <a:pt x="50900" y="105989"/>
                  <a:pt x="50995" y="105680"/>
                  <a:pt x="51209" y="105418"/>
                </a:cubicBezTo>
                <a:cubicBezTo>
                  <a:pt x="51376" y="105227"/>
                  <a:pt x="51662" y="105358"/>
                  <a:pt x="51793" y="105049"/>
                </a:cubicBezTo>
                <a:cubicBezTo>
                  <a:pt x="51900" y="104763"/>
                  <a:pt x="51852" y="104489"/>
                  <a:pt x="51995" y="104311"/>
                </a:cubicBezTo>
                <a:cubicBezTo>
                  <a:pt x="52245" y="104013"/>
                  <a:pt x="52698" y="103942"/>
                  <a:pt x="52698" y="103334"/>
                </a:cubicBezTo>
                <a:cubicBezTo>
                  <a:pt x="52698" y="102668"/>
                  <a:pt x="51888" y="102965"/>
                  <a:pt x="51888" y="102120"/>
                </a:cubicBezTo>
                <a:cubicBezTo>
                  <a:pt x="51888" y="101751"/>
                  <a:pt x="52138" y="101441"/>
                  <a:pt x="52424" y="101358"/>
                </a:cubicBezTo>
                <a:cubicBezTo>
                  <a:pt x="52555" y="101334"/>
                  <a:pt x="52876" y="101322"/>
                  <a:pt x="52912" y="101072"/>
                </a:cubicBezTo>
                <a:cubicBezTo>
                  <a:pt x="53019" y="100536"/>
                  <a:pt x="53019" y="100143"/>
                  <a:pt x="53353" y="99751"/>
                </a:cubicBezTo>
                <a:cubicBezTo>
                  <a:pt x="53257" y="99715"/>
                  <a:pt x="53150" y="99667"/>
                  <a:pt x="53150" y="99429"/>
                </a:cubicBezTo>
                <a:cubicBezTo>
                  <a:pt x="53329" y="99429"/>
                  <a:pt x="53412" y="99620"/>
                  <a:pt x="53626" y="99620"/>
                </a:cubicBezTo>
                <a:cubicBezTo>
                  <a:pt x="53662" y="99620"/>
                  <a:pt x="53805" y="99465"/>
                  <a:pt x="53805" y="99346"/>
                </a:cubicBezTo>
                <a:cubicBezTo>
                  <a:pt x="53805" y="99239"/>
                  <a:pt x="53710" y="99215"/>
                  <a:pt x="53638" y="99119"/>
                </a:cubicBezTo>
                <a:cubicBezTo>
                  <a:pt x="53591" y="99143"/>
                  <a:pt x="53483" y="99274"/>
                  <a:pt x="53388" y="99274"/>
                </a:cubicBezTo>
                <a:cubicBezTo>
                  <a:pt x="53222" y="99274"/>
                  <a:pt x="53007" y="98715"/>
                  <a:pt x="53007" y="98405"/>
                </a:cubicBezTo>
                <a:cubicBezTo>
                  <a:pt x="53007" y="98298"/>
                  <a:pt x="53067" y="98143"/>
                  <a:pt x="53186" y="98143"/>
                </a:cubicBezTo>
                <a:cubicBezTo>
                  <a:pt x="53555" y="98143"/>
                  <a:pt x="53626" y="98453"/>
                  <a:pt x="54007" y="98453"/>
                </a:cubicBezTo>
                <a:cubicBezTo>
                  <a:pt x="54126" y="98453"/>
                  <a:pt x="54424" y="98298"/>
                  <a:pt x="54424" y="98191"/>
                </a:cubicBezTo>
                <a:lnTo>
                  <a:pt x="54424" y="97976"/>
                </a:lnTo>
                <a:cubicBezTo>
                  <a:pt x="54543" y="97667"/>
                  <a:pt x="54365" y="97012"/>
                  <a:pt x="54603" y="96738"/>
                </a:cubicBezTo>
                <a:cubicBezTo>
                  <a:pt x="54656" y="96673"/>
                  <a:pt x="54755" y="96654"/>
                  <a:pt x="54873" y="96654"/>
                </a:cubicBezTo>
                <a:cubicBezTo>
                  <a:pt x="55047" y="96654"/>
                  <a:pt x="55265" y="96696"/>
                  <a:pt x="55446" y="96696"/>
                </a:cubicBezTo>
                <a:cubicBezTo>
                  <a:pt x="55523" y="96696"/>
                  <a:pt x="55593" y="96688"/>
                  <a:pt x="55650" y="96667"/>
                </a:cubicBezTo>
                <a:cubicBezTo>
                  <a:pt x="56091" y="96500"/>
                  <a:pt x="56472" y="96607"/>
                  <a:pt x="56782" y="96238"/>
                </a:cubicBezTo>
                <a:cubicBezTo>
                  <a:pt x="56960" y="96012"/>
                  <a:pt x="57079" y="95881"/>
                  <a:pt x="57246" y="95571"/>
                </a:cubicBezTo>
                <a:cubicBezTo>
                  <a:pt x="57341" y="95405"/>
                  <a:pt x="57341" y="95262"/>
                  <a:pt x="57341" y="95000"/>
                </a:cubicBezTo>
                <a:cubicBezTo>
                  <a:pt x="57341" y="94762"/>
                  <a:pt x="57043" y="94762"/>
                  <a:pt x="56996" y="94524"/>
                </a:cubicBezTo>
                <a:cubicBezTo>
                  <a:pt x="56924" y="94262"/>
                  <a:pt x="56924" y="94024"/>
                  <a:pt x="56782" y="93845"/>
                </a:cubicBezTo>
                <a:cubicBezTo>
                  <a:pt x="56722" y="93785"/>
                  <a:pt x="56448" y="93678"/>
                  <a:pt x="56448" y="93476"/>
                </a:cubicBezTo>
                <a:cubicBezTo>
                  <a:pt x="56448" y="93416"/>
                  <a:pt x="56543" y="93369"/>
                  <a:pt x="56591" y="93369"/>
                </a:cubicBezTo>
                <a:cubicBezTo>
                  <a:pt x="56865" y="93369"/>
                  <a:pt x="57103" y="93631"/>
                  <a:pt x="57353" y="93631"/>
                </a:cubicBezTo>
                <a:cubicBezTo>
                  <a:pt x="57484" y="93631"/>
                  <a:pt x="57889" y="93869"/>
                  <a:pt x="58175" y="93869"/>
                </a:cubicBezTo>
                <a:cubicBezTo>
                  <a:pt x="59008" y="93869"/>
                  <a:pt x="59151" y="92785"/>
                  <a:pt x="59508" y="92131"/>
                </a:cubicBezTo>
                <a:cubicBezTo>
                  <a:pt x="59818" y="91571"/>
                  <a:pt x="60187" y="91499"/>
                  <a:pt x="60508" y="90916"/>
                </a:cubicBezTo>
                <a:cubicBezTo>
                  <a:pt x="60651" y="90630"/>
                  <a:pt x="60639" y="90487"/>
                  <a:pt x="60758" y="90202"/>
                </a:cubicBezTo>
                <a:lnTo>
                  <a:pt x="60758" y="90226"/>
                </a:lnTo>
                <a:cubicBezTo>
                  <a:pt x="60949" y="89761"/>
                  <a:pt x="61127" y="89392"/>
                  <a:pt x="61484" y="89178"/>
                </a:cubicBezTo>
                <a:lnTo>
                  <a:pt x="61484" y="88166"/>
                </a:lnTo>
                <a:cubicBezTo>
                  <a:pt x="61484" y="87749"/>
                  <a:pt x="61449" y="87439"/>
                  <a:pt x="61687" y="87154"/>
                </a:cubicBezTo>
                <a:cubicBezTo>
                  <a:pt x="61830" y="86987"/>
                  <a:pt x="62068" y="86987"/>
                  <a:pt x="62211" y="86701"/>
                </a:cubicBezTo>
                <a:cubicBezTo>
                  <a:pt x="62544" y="86094"/>
                  <a:pt x="62997" y="86404"/>
                  <a:pt x="63425" y="85880"/>
                </a:cubicBezTo>
                <a:cubicBezTo>
                  <a:pt x="63485" y="85808"/>
                  <a:pt x="63497" y="85701"/>
                  <a:pt x="63604" y="85642"/>
                </a:cubicBezTo>
                <a:cubicBezTo>
                  <a:pt x="63813" y="85523"/>
                  <a:pt x="64023" y="85509"/>
                  <a:pt x="64264" y="85509"/>
                </a:cubicBezTo>
                <a:cubicBezTo>
                  <a:pt x="64338" y="85509"/>
                  <a:pt x="64416" y="85511"/>
                  <a:pt x="64497" y="85511"/>
                </a:cubicBezTo>
                <a:cubicBezTo>
                  <a:pt x="64806" y="85511"/>
                  <a:pt x="65187" y="85201"/>
                  <a:pt x="65294" y="84939"/>
                </a:cubicBezTo>
                <a:cubicBezTo>
                  <a:pt x="65330" y="84856"/>
                  <a:pt x="65306" y="84594"/>
                  <a:pt x="65390" y="84463"/>
                </a:cubicBezTo>
                <a:cubicBezTo>
                  <a:pt x="65652" y="84034"/>
                  <a:pt x="65747" y="83820"/>
                  <a:pt x="66021" y="83320"/>
                </a:cubicBezTo>
                <a:cubicBezTo>
                  <a:pt x="66056" y="83225"/>
                  <a:pt x="66104" y="82796"/>
                  <a:pt x="66104" y="82582"/>
                </a:cubicBezTo>
                <a:cubicBezTo>
                  <a:pt x="66104" y="82403"/>
                  <a:pt x="66271" y="82189"/>
                  <a:pt x="66342" y="82070"/>
                </a:cubicBezTo>
                <a:cubicBezTo>
                  <a:pt x="66366" y="82010"/>
                  <a:pt x="66437" y="81927"/>
                  <a:pt x="66437" y="81820"/>
                </a:cubicBezTo>
                <a:cubicBezTo>
                  <a:pt x="66437" y="81534"/>
                  <a:pt x="66557" y="81177"/>
                  <a:pt x="66557" y="80784"/>
                </a:cubicBezTo>
                <a:cubicBezTo>
                  <a:pt x="66557" y="80260"/>
                  <a:pt x="66295" y="79558"/>
                  <a:pt x="66557" y="79236"/>
                </a:cubicBezTo>
                <a:cubicBezTo>
                  <a:pt x="66747" y="79022"/>
                  <a:pt x="66938" y="78974"/>
                  <a:pt x="67128" y="78653"/>
                </a:cubicBezTo>
                <a:cubicBezTo>
                  <a:pt x="67235" y="78450"/>
                  <a:pt x="67307" y="78403"/>
                  <a:pt x="67426" y="78200"/>
                </a:cubicBezTo>
                <a:cubicBezTo>
                  <a:pt x="67914" y="77319"/>
                  <a:pt x="68640" y="76891"/>
                  <a:pt x="68640" y="75283"/>
                </a:cubicBezTo>
                <a:cubicBezTo>
                  <a:pt x="68640" y="74831"/>
                  <a:pt x="68557" y="74366"/>
                  <a:pt x="68188" y="74235"/>
                </a:cubicBezTo>
                <a:cubicBezTo>
                  <a:pt x="68122" y="74213"/>
                  <a:pt x="68061" y="74206"/>
                  <a:pt x="68004" y="74206"/>
                </a:cubicBezTo>
                <a:cubicBezTo>
                  <a:pt x="67901" y="74206"/>
                  <a:pt x="67807" y="74229"/>
                  <a:pt x="67705" y="74229"/>
                </a:cubicBezTo>
                <a:cubicBezTo>
                  <a:pt x="67647" y="74229"/>
                  <a:pt x="67587" y="74222"/>
                  <a:pt x="67521" y="74200"/>
                </a:cubicBezTo>
                <a:cubicBezTo>
                  <a:pt x="67235" y="74081"/>
                  <a:pt x="66676" y="73473"/>
                  <a:pt x="66509" y="73152"/>
                </a:cubicBezTo>
                <a:cubicBezTo>
                  <a:pt x="66307" y="73045"/>
                  <a:pt x="65997" y="72890"/>
                  <a:pt x="65652" y="72807"/>
                </a:cubicBezTo>
                <a:lnTo>
                  <a:pt x="64973" y="72914"/>
                </a:lnTo>
                <a:cubicBezTo>
                  <a:pt x="64604" y="72914"/>
                  <a:pt x="64532" y="72569"/>
                  <a:pt x="64151" y="72569"/>
                </a:cubicBezTo>
                <a:cubicBezTo>
                  <a:pt x="63985" y="72569"/>
                  <a:pt x="63913" y="72723"/>
                  <a:pt x="63759" y="72807"/>
                </a:cubicBezTo>
                <a:lnTo>
                  <a:pt x="63628" y="72807"/>
                </a:lnTo>
                <a:cubicBezTo>
                  <a:pt x="63628" y="72616"/>
                  <a:pt x="63640" y="72461"/>
                  <a:pt x="63592" y="72259"/>
                </a:cubicBezTo>
                <a:cubicBezTo>
                  <a:pt x="63556" y="72092"/>
                  <a:pt x="63389" y="72128"/>
                  <a:pt x="63247" y="72021"/>
                </a:cubicBezTo>
                <a:cubicBezTo>
                  <a:pt x="63008" y="71854"/>
                  <a:pt x="62354" y="71438"/>
                  <a:pt x="62032" y="71438"/>
                </a:cubicBezTo>
                <a:cubicBezTo>
                  <a:pt x="61746" y="71438"/>
                  <a:pt x="61520" y="71890"/>
                  <a:pt x="61342" y="72247"/>
                </a:cubicBezTo>
                <a:cubicBezTo>
                  <a:pt x="61294" y="72342"/>
                  <a:pt x="61211" y="72497"/>
                  <a:pt x="61139" y="72497"/>
                </a:cubicBezTo>
                <a:cubicBezTo>
                  <a:pt x="61092" y="72497"/>
                  <a:pt x="61056" y="72330"/>
                  <a:pt x="61056" y="72259"/>
                </a:cubicBezTo>
                <a:lnTo>
                  <a:pt x="60615" y="72259"/>
                </a:lnTo>
                <a:cubicBezTo>
                  <a:pt x="60580" y="72045"/>
                  <a:pt x="60484" y="71878"/>
                  <a:pt x="60306" y="71759"/>
                </a:cubicBezTo>
                <a:cubicBezTo>
                  <a:pt x="60222" y="71723"/>
                  <a:pt x="60056" y="71747"/>
                  <a:pt x="60056" y="71521"/>
                </a:cubicBezTo>
                <a:cubicBezTo>
                  <a:pt x="60056" y="70878"/>
                  <a:pt x="60580" y="70652"/>
                  <a:pt x="60865" y="70223"/>
                </a:cubicBezTo>
                <a:cubicBezTo>
                  <a:pt x="60865" y="70009"/>
                  <a:pt x="60639" y="70009"/>
                  <a:pt x="60544" y="69783"/>
                </a:cubicBezTo>
                <a:cubicBezTo>
                  <a:pt x="60449" y="69544"/>
                  <a:pt x="60222" y="68854"/>
                  <a:pt x="60222" y="68592"/>
                </a:cubicBezTo>
                <a:cubicBezTo>
                  <a:pt x="59913" y="68509"/>
                  <a:pt x="59532" y="67794"/>
                  <a:pt x="59234" y="67794"/>
                </a:cubicBezTo>
                <a:lnTo>
                  <a:pt x="59127" y="67794"/>
                </a:lnTo>
                <a:lnTo>
                  <a:pt x="59127" y="67747"/>
                </a:lnTo>
                <a:cubicBezTo>
                  <a:pt x="58948" y="67747"/>
                  <a:pt x="58663" y="67568"/>
                  <a:pt x="58532" y="67508"/>
                </a:cubicBezTo>
                <a:lnTo>
                  <a:pt x="58067" y="67508"/>
                </a:lnTo>
                <a:cubicBezTo>
                  <a:pt x="57567" y="67401"/>
                  <a:pt x="56817" y="67461"/>
                  <a:pt x="56686" y="66854"/>
                </a:cubicBezTo>
                <a:cubicBezTo>
                  <a:pt x="56591" y="66854"/>
                  <a:pt x="56448" y="66806"/>
                  <a:pt x="56412" y="66723"/>
                </a:cubicBezTo>
                <a:cubicBezTo>
                  <a:pt x="56198" y="66187"/>
                  <a:pt x="56031" y="66246"/>
                  <a:pt x="55686" y="65830"/>
                </a:cubicBezTo>
                <a:lnTo>
                  <a:pt x="55186" y="65830"/>
                </a:lnTo>
                <a:cubicBezTo>
                  <a:pt x="55103" y="65556"/>
                  <a:pt x="55162" y="65222"/>
                  <a:pt x="54924" y="65139"/>
                </a:cubicBezTo>
                <a:cubicBezTo>
                  <a:pt x="54650" y="65032"/>
                  <a:pt x="54269" y="64972"/>
                  <a:pt x="54150" y="64663"/>
                </a:cubicBezTo>
                <a:lnTo>
                  <a:pt x="54150" y="64484"/>
                </a:lnTo>
                <a:cubicBezTo>
                  <a:pt x="54168" y="64502"/>
                  <a:pt x="54200" y="64510"/>
                  <a:pt x="54237" y="64510"/>
                </a:cubicBezTo>
                <a:cubicBezTo>
                  <a:pt x="54300" y="64510"/>
                  <a:pt x="54379" y="64486"/>
                  <a:pt x="54424" y="64449"/>
                </a:cubicBezTo>
                <a:cubicBezTo>
                  <a:pt x="54424" y="64449"/>
                  <a:pt x="54091" y="64377"/>
                  <a:pt x="53912" y="64377"/>
                </a:cubicBezTo>
                <a:cubicBezTo>
                  <a:pt x="53853" y="64425"/>
                  <a:pt x="53472" y="64425"/>
                  <a:pt x="53460" y="64484"/>
                </a:cubicBezTo>
                <a:cubicBezTo>
                  <a:pt x="53353" y="64746"/>
                  <a:pt x="53174" y="64746"/>
                  <a:pt x="52900" y="64794"/>
                </a:cubicBezTo>
                <a:cubicBezTo>
                  <a:pt x="52757" y="64794"/>
                  <a:pt x="52531" y="64746"/>
                  <a:pt x="52531" y="64556"/>
                </a:cubicBezTo>
                <a:lnTo>
                  <a:pt x="51555" y="64556"/>
                </a:lnTo>
                <a:cubicBezTo>
                  <a:pt x="51448" y="64532"/>
                  <a:pt x="51340" y="64377"/>
                  <a:pt x="51340" y="64163"/>
                </a:cubicBezTo>
                <a:cubicBezTo>
                  <a:pt x="51067" y="64091"/>
                  <a:pt x="50662" y="63972"/>
                  <a:pt x="50590" y="63627"/>
                </a:cubicBezTo>
                <a:lnTo>
                  <a:pt x="50269" y="63615"/>
                </a:lnTo>
                <a:lnTo>
                  <a:pt x="50269" y="63615"/>
                </a:lnTo>
                <a:cubicBezTo>
                  <a:pt x="50269" y="63877"/>
                  <a:pt x="50543" y="63770"/>
                  <a:pt x="50614" y="64032"/>
                </a:cubicBezTo>
                <a:lnTo>
                  <a:pt x="50185" y="64032"/>
                </a:lnTo>
                <a:cubicBezTo>
                  <a:pt x="50019" y="64163"/>
                  <a:pt x="49721" y="64127"/>
                  <a:pt x="49721" y="64449"/>
                </a:cubicBezTo>
                <a:cubicBezTo>
                  <a:pt x="49721" y="64710"/>
                  <a:pt x="49947" y="64865"/>
                  <a:pt x="49947" y="65115"/>
                </a:cubicBezTo>
                <a:cubicBezTo>
                  <a:pt x="49947" y="65211"/>
                  <a:pt x="49840" y="65472"/>
                  <a:pt x="49769" y="65472"/>
                </a:cubicBezTo>
                <a:cubicBezTo>
                  <a:pt x="49578" y="65472"/>
                  <a:pt x="49471" y="65056"/>
                  <a:pt x="49471" y="64818"/>
                </a:cubicBezTo>
                <a:cubicBezTo>
                  <a:pt x="49471" y="64615"/>
                  <a:pt x="49578" y="64246"/>
                  <a:pt x="49638" y="63925"/>
                </a:cubicBezTo>
                <a:cubicBezTo>
                  <a:pt x="49709" y="63925"/>
                  <a:pt x="49816" y="63841"/>
                  <a:pt x="49816" y="63663"/>
                </a:cubicBezTo>
                <a:cubicBezTo>
                  <a:pt x="49816" y="63639"/>
                  <a:pt x="49745" y="63401"/>
                  <a:pt x="49650" y="63401"/>
                </a:cubicBezTo>
                <a:cubicBezTo>
                  <a:pt x="49423" y="63401"/>
                  <a:pt x="49364" y="63722"/>
                  <a:pt x="49126" y="63818"/>
                </a:cubicBezTo>
                <a:cubicBezTo>
                  <a:pt x="48673" y="63984"/>
                  <a:pt x="48388" y="64079"/>
                  <a:pt x="47947" y="64246"/>
                </a:cubicBezTo>
                <a:cubicBezTo>
                  <a:pt x="47709" y="64341"/>
                  <a:pt x="47554" y="64401"/>
                  <a:pt x="47459" y="64746"/>
                </a:cubicBezTo>
                <a:cubicBezTo>
                  <a:pt x="47423" y="64925"/>
                  <a:pt x="47411" y="65211"/>
                  <a:pt x="47292" y="65294"/>
                </a:cubicBezTo>
                <a:cubicBezTo>
                  <a:pt x="47185" y="65377"/>
                  <a:pt x="47006" y="65449"/>
                  <a:pt x="47006" y="65663"/>
                </a:cubicBezTo>
                <a:cubicBezTo>
                  <a:pt x="46971" y="65663"/>
                  <a:pt x="46899" y="65723"/>
                  <a:pt x="46899" y="65770"/>
                </a:cubicBezTo>
                <a:lnTo>
                  <a:pt x="46899" y="65901"/>
                </a:lnTo>
                <a:cubicBezTo>
                  <a:pt x="46834" y="65925"/>
                  <a:pt x="46816" y="65937"/>
                  <a:pt x="46797" y="65937"/>
                </a:cubicBezTo>
                <a:cubicBezTo>
                  <a:pt x="46777" y="65937"/>
                  <a:pt x="46756" y="65925"/>
                  <a:pt x="46685" y="65901"/>
                </a:cubicBezTo>
                <a:cubicBezTo>
                  <a:pt x="46661" y="65949"/>
                  <a:pt x="46602" y="65996"/>
                  <a:pt x="46554" y="66044"/>
                </a:cubicBezTo>
                <a:cubicBezTo>
                  <a:pt x="46614" y="65961"/>
                  <a:pt x="46661" y="65901"/>
                  <a:pt x="46673" y="65877"/>
                </a:cubicBezTo>
                <a:cubicBezTo>
                  <a:pt x="46375" y="65615"/>
                  <a:pt x="46149" y="65187"/>
                  <a:pt x="45649" y="65187"/>
                </a:cubicBezTo>
                <a:cubicBezTo>
                  <a:pt x="45209" y="65187"/>
                  <a:pt x="44982" y="65615"/>
                  <a:pt x="44506" y="65615"/>
                </a:cubicBezTo>
                <a:cubicBezTo>
                  <a:pt x="44197" y="65615"/>
                  <a:pt x="44197" y="65211"/>
                  <a:pt x="43994" y="65091"/>
                </a:cubicBezTo>
                <a:cubicBezTo>
                  <a:pt x="43708" y="64925"/>
                  <a:pt x="43327" y="64734"/>
                  <a:pt x="43327" y="64246"/>
                </a:cubicBezTo>
                <a:lnTo>
                  <a:pt x="43327" y="62925"/>
                </a:lnTo>
                <a:cubicBezTo>
                  <a:pt x="43435" y="62710"/>
                  <a:pt x="43458" y="62163"/>
                  <a:pt x="43458" y="61972"/>
                </a:cubicBezTo>
                <a:lnTo>
                  <a:pt x="43458" y="61639"/>
                </a:lnTo>
                <a:cubicBezTo>
                  <a:pt x="43137" y="61555"/>
                  <a:pt x="43018" y="61186"/>
                  <a:pt x="42589" y="61186"/>
                </a:cubicBezTo>
                <a:cubicBezTo>
                  <a:pt x="41946" y="61186"/>
                  <a:pt x="41458" y="61317"/>
                  <a:pt x="40863" y="61317"/>
                </a:cubicBezTo>
                <a:cubicBezTo>
                  <a:pt x="40756" y="61317"/>
                  <a:pt x="40649" y="61234"/>
                  <a:pt x="40649" y="61079"/>
                </a:cubicBezTo>
                <a:lnTo>
                  <a:pt x="40649" y="60972"/>
                </a:lnTo>
                <a:cubicBezTo>
                  <a:pt x="40756" y="60841"/>
                  <a:pt x="40970" y="60758"/>
                  <a:pt x="40970" y="60543"/>
                </a:cubicBezTo>
                <a:lnTo>
                  <a:pt x="40970" y="59496"/>
                </a:lnTo>
                <a:lnTo>
                  <a:pt x="41113" y="59496"/>
                </a:lnTo>
                <a:lnTo>
                  <a:pt x="41113" y="59650"/>
                </a:lnTo>
                <a:cubicBezTo>
                  <a:pt x="41232" y="59424"/>
                  <a:pt x="41339" y="59281"/>
                  <a:pt x="41339" y="58936"/>
                </a:cubicBezTo>
                <a:cubicBezTo>
                  <a:pt x="41339" y="58519"/>
                  <a:pt x="41649" y="58126"/>
                  <a:pt x="41649" y="57829"/>
                </a:cubicBezTo>
                <a:lnTo>
                  <a:pt x="41649" y="57626"/>
                </a:lnTo>
                <a:cubicBezTo>
                  <a:pt x="41542" y="57626"/>
                  <a:pt x="41303" y="57602"/>
                  <a:pt x="41232" y="57579"/>
                </a:cubicBezTo>
                <a:cubicBezTo>
                  <a:pt x="41161" y="57543"/>
                  <a:pt x="41030" y="57519"/>
                  <a:pt x="40863" y="57519"/>
                </a:cubicBezTo>
                <a:cubicBezTo>
                  <a:pt x="40375" y="57519"/>
                  <a:pt x="39779" y="57733"/>
                  <a:pt x="39779" y="58364"/>
                </a:cubicBezTo>
                <a:cubicBezTo>
                  <a:pt x="39779" y="58686"/>
                  <a:pt x="39470" y="58972"/>
                  <a:pt x="39398" y="59234"/>
                </a:cubicBezTo>
                <a:cubicBezTo>
                  <a:pt x="39375" y="59317"/>
                  <a:pt x="39291" y="59579"/>
                  <a:pt x="39148" y="59579"/>
                </a:cubicBezTo>
                <a:cubicBezTo>
                  <a:pt x="39065" y="59579"/>
                  <a:pt x="38994" y="59448"/>
                  <a:pt x="38803" y="59448"/>
                </a:cubicBezTo>
                <a:cubicBezTo>
                  <a:pt x="38434" y="59448"/>
                  <a:pt x="38148" y="59758"/>
                  <a:pt x="37803" y="59758"/>
                </a:cubicBezTo>
                <a:cubicBezTo>
                  <a:pt x="37660" y="59758"/>
                  <a:pt x="37660" y="59555"/>
                  <a:pt x="37493" y="59496"/>
                </a:cubicBezTo>
                <a:cubicBezTo>
                  <a:pt x="37017" y="59317"/>
                  <a:pt x="37017" y="58948"/>
                  <a:pt x="36696" y="58567"/>
                </a:cubicBezTo>
                <a:cubicBezTo>
                  <a:pt x="36565" y="58412"/>
                  <a:pt x="36338" y="58103"/>
                  <a:pt x="36267" y="57924"/>
                </a:cubicBezTo>
                <a:cubicBezTo>
                  <a:pt x="36196" y="57733"/>
                  <a:pt x="36279" y="57602"/>
                  <a:pt x="36208" y="57412"/>
                </a:cubicBezTo>
                <a:cubicBezTo>
                  <a:pt x="36172" y="57329"/>
                  <a:pt x="36029" y="57150"/>
                  <a:pt x="36065" y="56971"/>
                </a:cubicBezTo>
                <a:lnTo>
                  <a:pt x="36065" y="55757"/>
                </a:lnTo>
                <a:cubicBezTo>
                  <a:pt x="36112" y="55436"/>
                  <a:pt x="36243" y="55281"/>
                  <a:pt x="36243" y="54888"/>
                </a:cubicBezTo>
                <a:cubicBezTo>
                  <a:pt x="36243" y="54757"/>
                  <a:pt x="36208" y="54674"/>
                  <a:pt x="36172" y="54543"/>
                </a:cubicBezTo>
                <a:lnTo>
                  <a:pt x="36160" y="54495"/>
                </a:lnTo>
                <a:lnTo>
                  <a:pt x="36208" y="54495"/>
                </a:lnTo>
                <a:cubicBezTo>
                  <a:pt x="36208" y="54435"/>
                  <a:pt x="36112" y="54352"/>
                  <a:pt x="36112" y="54281"/>
                </a:cubicBezTo>
                <a:cubicBezTo>
                  <a:pt x="36112" y="53626"/>
                  <a:pt x="36350" y="53042"/>
                  <a:pt x="36755" y="52876"/>
                </a:cubicBezTo>
                <a:cubicBezTo>
                  <a:pt x="36805" y="52849"/>
                  <a:pt x="36853" y="52842"/>
                  <a:pt x="36900" y="52842"/>
                </a:cubicBezTo>
                <a:cubicBezTo>
                  <a:pt x="36953" y="52842"/>
                  <a:pt x="37004" y="52851"/>
                  <a:pt x="37054" y="52851"/>
                </a:cubicBezTo>
                <a:cubicBezTo>
                  <a:pt x="37118" y="52851"/>
                  <a:pt x="37181" y="52836"/>
                  <a:pt x="37243" y="52769"/>
                </a:cubicBezTo>
                <a:cubicBezTo>
                  <a:pt x="37458" y="52507"/>
                  <a:pt x="37708" y="51959"/>
                  <a:pt x="38232" y="51959"/>
                </a:cubicBezTo>
                <a:cubicBezTo>
                  <a:pt x="38434" y="51959"/>
                  <a:pt x="38541" y="52173"/>
                  <a:pt x="38744" y="52173"/>
                </a:cubicBezTo>
                <a:cubicBezTo>
                  <a:pt x="38851" y="52173"/>
                  <a:pt x="38910" y="52007"/>
                  <a:pt x="39017" y="52007"/>
                </a:cubicBezTo>
                <a:cubicBezTo>
                  <a:pt x="39313" y="52007"/>
                  <a:pt x="39665" y="52511"/>
                  <a:pt x="40067" y="52511"/>
                </a:cubicBezTo>
                <a:cubicBezTo>
                  <a:pt x="40152" y="52511"/>
                  <a:pt x="40238" y="52489"/>
                  <a:pt x="40327" y="52435"/>
                </a:cubicBezTo>
                <a:cubicBezTo>
                  <a:pt x="40101" y="52268"/>
                  <a:pt x="40268" y="52066"/>
                  <a:pt x="40279" y="51745"/>
                </a:cubicBezTo>
                <a:lnTo>
                  <a:pt x="40279" y="51745"/>
                </a:lnTo>
                <a:cubicBezTo>
                  <a:pt x="40226" y="51774"/>
                  <a:pt x="40208" y="51789"/>
                  <a:pt x="40181" y="51789"/>
                </a:cubicBezTo>
                <a:cubicBezTo>
                  <a:pt x="40154" y="51789"/>
                  <a:pt x="40119" y="51774"/>
                  <a:pt x="40029" y="51745"/>
                </a:cubicBezTo>
                <a:cubicBezTo>
                  <a:pt x="40339" y="51614"/>
                  <a:pt x="40720" y="51661"/>
                  <a:pt x="41006" y="51566"/>
                </a:cubicBezTo>
                <a:cubicBezTo>
                  <a:pt x="41006" y="51637"/>
                  <a:pt x="41077" y="51745"/>
                  <a:pt x="41137" y="51745"/>
                </a:cubicBezTo>
                <a:cubicBezTo>
                  <a:pt x="41280" y="51745"/>
                  <a:pt x="41339" y="51566"/>
                  <a:pt x="41589" y="51566"/>
                </a:cubicBezTo>
                <a:cubicBezTo>
                  <a:pt x="42030" y="51566"/>
                  <a:pt x="42220" y="52066"/>
                  <a:pt x="42554" y="52066"/>
                </a:cubicBezTo>
                <a:cubicBezTo>
                  <a:pt x="42708" y="52066"/>
                  <a:pt x="42792" y="51780"/>
                  <a:pt x="42946" y="51780"/>
                </a:cubicBezTo>
                <a:cubicBezTo>
                  <a:pt x="43744" y="51780"/>
                  <a:pt x="43530" y="53114"/>
                  <a:pt x="43816" y="53804"/>
                </a:cubicBezTo>
                <a:cubicBezTo>
                  <a:pt x="43958" y="54150"/>
                  <a:pt x="44149" y="54257"/>
                  <a:pt x="44363" y="54614"/>
                </a:cubicBezTo>
                <a:cubicBezTo>
                  <a:pt x="44470" y="54805"/>
                  <a:pt x="44459" y="55150"/>
                  <a:pt x="44720" y="55150"/>
                </a:cubicBezTo>
                <a:cubicBezTo>
                  <a:pt x="45030" y="55150"/>
                  <a:pt x="45125" y="54745"/>
                  <a:pt x="45125" y="54281"/>
                </a:cubicBezTo>
                <a:cubicBezTo>
                  <a:pt x="45125" y="53888"/>
                  <a:pt x="44959" y="53673"/>
                  <a:pt x="44911" y="53411"/>
                </a:cubicBezTo>
                <a:lnTo>
                  <a:pt x="44911" y="53304"/>
                </a:lnTo>
                <a:cubicBezTo>
                  <a:pt x="44911" y="52614"/>
                  <a:pt x="44399" y="52399"/>
                  <a:pt x="44399" y="51673"/>
                </a:cubicBezTo>
                <a:cubicBezTo>
                  <a:pt x="44399" y="50102"/>
                  <a:pt x="45482" y="49685"/>
                  <a:pt x="46328" y="49113"/>
                </a:cubicBezTo>
                <a:lnTo>
                  <a:pt x="46280" y="49078"/>
                </a:lnTo>
                <a:cubicBezTo>
                  <a:pt x="46387" y="48935"/>
                  <a:pt x="46375" y="48875"/>
                  <a:pt x="46590" y="48792"/>
                </a:cubicBezTo>
                <a:cubicBezTo>
                  <a:pt x="46733" y="48744"/>
                  <a:pt x="46828" y="48578"/>
                  <a:pt x="47042" y="48530"/>
                </a:cubicBezTo>
                <a:cubicBezTo>
                  <a:pt x="47149" y="48506"/>
                  <a:pt x="47197" y="48375"/>
                  <a:pt x="47257" y="48292"/>
                </a:cubicBezTo>
                <a:lnTo>
                  <a:pt x="47042" y="48137"/>
                </a:lnTo>
                <a:lnTo>
                  <a:pt x="47042" y="47970"/>
                </a:lnTo>
                <a:cubicBezTo>
                  <a:pt x="47057" y="47970"/>
                  <a:pt x="47072" y="47970"/>
                  <a:pt x="47086" y="47970"/>
                </a:cubicBezTo>
                <a:cubicBezTo>
                  <a:pt x="47224" y="47970"/>
                  <a:pt x="47295" y="47961"/>
                  <a:pt x="47328" y="47744"/>
                </a:cubicBezTo>
                <a:cubicBezTo>
                  <a:pt x="47233" y="47720"/>
                  <a:pt x="47149" y="47708"/>
                  <a:pt x="47078" y="47554"/>
                </a:cubicBezTo>
                <a:cubicBezTo>
                  <a:pt x="47161" y="47554"/>
                  <a:pt x="47316" y="47470"/>
                  <a:pt x="47316" y="47292"/>
                </a:cubicBezTo>
                <a:lnTo>
                  <a:pt x="47316" y="47077"/>
                </a:lnTo>
                <a:lnTo>
                  <a:pt x="47185" y="47077"/>
                </a:lnTo>
                <a:cubicBezTo>
                  <a:pt x="47078" y="46946"/>
                  <a:pt x="47185" y="46970"/>
                  <a:pt x="47185" y="46756"/>
                </a:cubicBezTo>
                <a:cubicBezTo>
                  <a:pt x="47185" y="46530"/>
                  <a:pt x="47102" y="46137"/>
                  <a:pt x="47102" y="45994"/>
                </a:cubicBezTo>
                <a:cubicBezTo>
                  <a:pt x="47102" y="45994"/>
                  <a:pt x="47078" y="45815"/>
                  <a:pt x="47114" y="45708"/>
                </a:cubicBezTo>
                <a:cubicBezTo>
                  <a:pt x="47149" y="45922"/>
                  <a:pt x="47316" y="46268"/>
                  <a:pt x="47316" y="46423"/>
                </a:cubicBezTo>
                <a:lnTo>
                  <a:pt x="47316" y="46661"/>
                </a:lnTo>
                <a:cubicBezTo>
                  <a:pt x="47316" y="46708"/>
                  <a:pt x="47352" y="46792"/>
                  <a:pt x="47387" y="46792"/>
                </a:cubicBezTo>
                <a:cubicBezTo>
                  <a:pt x="47447" y="46792"/>
                  <a:pt x="47804" y="46030"/>
                  <a:pt x="47804" y="45899"/>
                </a:cubicBezTo>
                <a:cubicBezTo>
                  <a:pt x="47804" y="45732"/>
                  <a:pt x="47685" y="45661"/>
                  <a:pt x="47638" y="45482"/>
                </a:cubicBezTo>
                <a:lnTo>
                  <a:pt x="47733" y="45387"/>
                </a:lnTo>
                <a:cubicBezTo>
                  <a:pt x="47768" y="45422"/>
                  <a:pt x="47804" y="45553"/>
                  <a:pt x="47864" y="45553"/>
                </a:cubicBezTo>
                <a:cubicBezTo>
                  <a:pt x="47983" y="45553"/>
                  <a:pt x="48328" y="44791"/>
                  <a:pt x="48364" y="44625"/>
                </a:cubicBezTo>
                <a:cubicBezTo>
                  <a:pt x="48364" y="44625"/>
                  <a:pt x="48209" y="44470"/>
                  <a:pt x="48209" y="44363"/>
                </a:cubicBezTo>
                <a:cubicBezTo>
                  <a:pt x="48209" y="44291"/>
                  <a:pt x="48257" y="44232"/>
                  <a:pt x="48316" y="44208"/>
                </a:cubicBezTo>
                <a:cubicBezTo>
                  <a:pt x="48364" y="44208"/>
                  <a:pt x="48423" y="44232"/>
                  <a:pt x="48471" y="44232"/>
                </a:cubicBezTo>
                <a:cubicBezTo>
                  <a:pt x="48733" y="44232"/>
                  <a:pt x="48911" y="44232"/>
                  <a:pt x="49162" y="44125"/>
                </a:cubicBezTo>
                <a:cubicBezTo>
                  <a:pt x="49122" y="44089"/>
                  <a:pt x="49077" y="44077"/>
                  <a:pt x="49028" y="44077"/>
                </a:cubicBezTo>
                <a:cubicBezTo>
                  <a:pt x="48931" y="44077"/>
                  <a:pt x="48820" y="44125"/>
                  <a:pt x="48709" y="44125"/>
                </a:cubicBezTo>
                <a:lnTo>
                  <a:pt x="48530" y="44125"/>
                </a:lnTo>
                <a:cubicBezTo>
                  <a:pt x="48888" y="43839"/>
                  <a:pt x="49507" y="43970"/>
                  <a:pt x="49876" y="43648"/>
                </a:cubicBezTo>
                <a:cubicBezTo>
                  <a:pt x="49897" y="43673"/>
                  <a:pt x="49939" y="43683"/>
                  <a:pt x="49994" y="43683"/>
                </a:cubicBezTo>
                <a:cubicBezTo>
                  <a:pt x="50123" y="43683"/>
                  <a:pt x="50321" y="43627"/>
                  <a:pt x="50471" y="43577"/>
                </a:cubicBezTo>
                <a:lnTo>
                  <a:pt x="50471" y="43434"/>
                </a:lnTo>
                <a:cubicBezTo>
                  <a:pt x="50471" y="43434"/>
                  <a:pt x="50305" y="43577"/>
                  <a:pt x="50269" y="43577"/>
                </a:cubicBezTo>
                <a:cubicBezTo>
                  <a:pt x="50162" y="43577"/>
                  <a:pt x="50090" y="43291"/>
                  <a:pt x="50090" y="43184"/>
                </a:cubicBezTo>
                <a:cubicBezTo>
                  <a:pt x="50031" y="43160"/>
                  <a:pt x="50019" y="43053"/>
                  <a:pt x="50019" y="42994"/>
                </a:cubicBezTo>
                <a:cubicBezTo>
                  <a:pt x="50019" y="42172"/>
                  <a:pt x="50638" y="41934"/>
                  <a:pt x="50924" y="41577"/>
                </a:cubicBezTo>
                <a:cubicBezTo>
                  <a:pt x="50983" y="41541"/>
                  <a:pt x="51026" y="41529"/>
                  <a:pt x="51063" y="41529"/>
                </a:cubicBezTo>
                <a:cubicBezTo>
                  <a:pt x="51139" y="41529"/>
                  <a:pt x="51197" y="41577"/>
                  <a:pt x="51340" y="41577"/>
                </a:cubicBezTo>
                <a:cubicBezTo>
                  <a:pt x="51590" y="41577"/>
                  <a:pt x="51793" y="41446"/>
                  <a:pt x="51924" y="41208"/>
                </a:cubicBezTo>
                <a:cubicBezTo>
                  <a:pt x="51888" y="41160"/>
                  <a:pt x="51864" y="41100"/>
                  <a:pt x="51840" y="41041"/>
                </a:cubicBezTo>
                <a:lnTo>
                  <a:pt x="51829" y="40993"/>
                </a:lnTo>
                <a:lnTo>
                  <a:pt x="51829" y="40934"/>
                </a:lnTo>
                <a:cubicBezTo>
                  <a:pt x="51840" y="40938"/>
                  <a:pt x="51859" y="40939"/>
                  <a:pt x="51880" y="40939"/>
                </a:cubicBezTo>
                <a:cubicBezTo>
                  <a:pt x="51922" y="40939"/>
                  <a:pt x="51975" y="40934"/>
                  <a:pt x="52007" y="40934"/>
                </a:cubicBezTo>
                <a:cubicBezTo>
                  <a:pt x="52067" y="40934"/>
                  <a:pt x="52235" y="40960"/>
                  <a:pt x="52401" y="40960"/>
                </a:cubicBezTo>
                <a:cubicBezTo>
                  <a:pt x="52531" y="40960"/>
                  <a:pt x="52660" y="40944"/>
                  <a:pt x="52733" y="40886"/>
                </a:cubicBezTo>
                <a:cubicBezTo>
                  <a:pt x="52900" y="40755"/>
                  <a:pt x="52900" y="40469"/>
                  <a:pt x="53174" y="40458"/>
                </a:cubicBezTo>
                <a:lnTo>
                  <a:pt x="53174" y="40458"/>
                </a:lnTo>
                <a:cubicBezTo>
                  <a:pt x="53174" y="40755"/>
                  <a:pt x="53150" y="40779"/>
                  <a:pt x="53448" y="40779"/>
                </a:cubicBezTo>
                <a:cubicBezTo>
                  <a:pt x="53019" y="40815"/>
                  <a:pt x="52376" y="41172"/>
                  <a:pt x="52376" y="41648"/>
                </a:cubicBezTo>
                <a:cubicBezTo>
                  <a:pt x="52376" y="41839"/>
                  <a:pt x="52626" y="42196"/>
                  <a:pt x="52733" y="42196"/>
                </a:cubicBezTo>
                <a:cubicBezTo>
                  <a:pt x="52876" y="42196"/>
                  <a:pt x="53222" y="41601"/>
                  <a:pt x="53579" y="41481"/>
                </a:cubicBezTo>
                <a:cubicBezTo>
                  <a:pt x="53674" y="41458"/>
                  <a:pt x="54912" y="40886"/>
                  <a:pt x="54912" y="40708"/>
                </a:cubicBezTo>
                <a:cubicBezTo>
                  <a:pt x="54912" y="40469"/>
                  <a:pt x="54436" y="40458"/>
                  <a:pt x="54329" y="40458"/>
                </a:cubicBezTo>
                <a:cubicBezTo>
                  <a:pt x="53805" y="40458"/>
                  <a:pt x="52972" y="39838"/>
                  <a:pt x="52972" y="39303"/>
                </a:cubicBezTo>
                <a:cubicBezTo>
                  <a:pt x="52972" y="39172"/>
                  <a:pt x="53114" y="38993"/>
                  <a:pt x="53150" y="38779"/>
                </a:cubicBezTo>
                <a:cubicBezTo>
                  <a:pt x="53067" y="38779"/>
                  <a:pt x="52864" y="38719"/>
                  <a:pt x="52698" y="38719"/>
                </a:cubicBezTo>
                <a:cubicBezTo>
                  <a:pt x="52805" y="38541"/>
                  <a:pt x="53460" y="38433"/>
                  <a:pt x="53460" y="37993"/>
                </a:cubicBezTo>
                <a:cubicBezTo>
                  <a:pt x="53460" y="37706"/>
                  <a:pt x="53179" y="37664"/>
                  <a:pt x="52880" y="37664"/>
                </a:cubicBezTo>
                <a:cubicBezTo>
                  <a:pt x="52757" y="37664"/>
                  <a:pt x="52630" y="37671"/>
                  <a:pt x="52519" y="37671"/>
                </a:cubicBezTo>
                <a:cubicBezTo>
                  <a:pt x="51721" y="37671"/>
                  <a:pt x="51352" y="38350"/>
                  <a:pt x="50816" y="38433"/>
                </a:cubicBezTo>
                <a:cubicBezTo>
                  <a:pt x="51055" y="37850"/>
                  <a:pt x="51436" y="38041"/>
                  <a:pt x="51829" y="37564"/>
                </a:cubicBezTo>
                <a:cubicBezTo>
                  <a:pt x="52079" y="37255"/>
                  <a:pt x="51900" y="37064"/>
                  <a:pt x="52281" y="36909"/>
                </a:cubicBezTo>
                <a:cubicBezTo>
                  <a:pt x="52597" y="36789"/>
                  <a:pt x="52851" y="36757"/>
                  <a:pt x="53100" y="36757"/>
                </a:cubicBezTo>
                <a:cubicBezTo>
                  <a:pt x="53394" y="36757"/>
                  <a:pt x="53681" y="36802"/>
                  <a:pt x="54055" y="36802"/>
                </a:cubicBezTo>
                <a:cubicBezTo>
                  <a:pt x="54473" y="36802"/>
                  <a:pt x="54804" y="36878"/>
                  <a:pt x="55093" y="36878"/>
                </a:cubicBezTo>
                <a:cubicBezTo>
                  <a:pt x="55429" y="36878"/>
                  <a:pt x="55707" y="36775"/>
                  <a:pt x="55996" y="36326"/>
                </a:cubicBezTo>
                <a:cubicBezTo>
                  <a:pt x="56258" y="35921"/>
                  <a:pt x="57722" y="35826"/>
                  <a:pt x="57722" y="35135"/>
                </a:cubicBezTo>
                <a:cubicBezTo>
                  <a:pt x="57722" y="34635"/>
                  <a:pt x="57579" y="34409"/>
                  <a:pt x="57413" y="34088"/>
                </a:cubicBezTo>
                <a:cubicBezTo>
                  <a:pt x="57270" y="34088"/>
                  <a:pt x="57472" y="33873"/>
                  <a:pt x="57270" y="33766"/>
                </a:cubicBezTo>
                <a:lnTo>
                  <a:pt x="57270" y="33504"/>
                </a:lnTo>
                <a:cubicBezTo>
                  <a:pt x="56853" y="33790"/>
                  <a:pt x="55984" y="34159"/>
                  <a:pt x="55543" y="34159"/>
                </a:cubicBezTo>
                <a:cubicBezTo>
                  <a:pt x="55484" y="34159"/>
                  <a:pt x="55377" y="34111"/>
                  <a:pt x="55365" y="34064"/>
                </a:cubicBezTo>
                <a:cubicBezTo>
                  <a:pt x="55722" y="33826"/>
                  <a:pt x="56734" y="33659"/>
                  <a:pt x="56841" y="33254"/>
                </a:cubicBezTo>
                <a:cubicBezTo>
                  <a:pt x="56853" y="33147"/>
                  <a:pt x="56698" y="33111"/>
                  <a:pt x="56686" y="33004"/>
                </a:cubicBezTo>
                <a:cubicBezTo>
                  <a:pt x="56644" y="33010"/>
                  <a:pt x="56597" y="33013"/>
                  <a:pt x="56546" y="33013"/>
                </a:cubicBezTo>
                <a:cubicBezTo>
                  <a:pt x="56077" y="33013"/>
                  <a:pt x="55329" y="32754"/>
                  <a:pt x="55329" y="32087"/>
                </a:cubicBezTo>
                <a:lnTo>
                  <a:pt x="55329" y="32028"/>
                </a:lnTo>
                <a:cubicBezTo>
                  <a:pt x="54924" y="32028"/>
                  <a:pt x="54686" y="31718"/>
                  <a:pt x="54460" y="31504"/>
                </a:cubicBezTo>
                <a:cubicBezTo>
                  <a:pt x="54543" y="31445"/>
                  <a:pt x="54734" y="31373"/>
                  <a:pt x="54734" y="31111"/>
                </a:cubicBezTo>
                <a:cubicBezTo>
                  <a:pt x="54734" y="30897"/>
                  <a:pt x="54567" y="30718"/>
                  <a:pt x="54603" y="30504"/>
                </a:cubicBezTo>
                <a:cubicBezTo>
                  <a:pt x="54436" y="30444"/>
                  <a:pt x="53853" y="29992"/>
                  <a:pt x="54007" y="29599"/>
                </a:cubicBezTo>
                <a:cubicBezTo>
                  <a:pt x="54198" y="29099"/>
                  <a:pt x="53424" y="28992"/>
                  <a:pt x="53364" y="28397"/>
                </a:cubicBezTo>
                <a:cubicBezTo>
                  <a:pt x="53317" y="28397"/>
                  <a:pt x="53138" y="28206"/>
                  <a:pt x="53067" y="28123"/>
                </a:cubicBezTo>
                <a:cubicBezTo>
                  <a:pt x="52936" y="28230"/>
                  <a:pt x="52650" y="28420"/>
                  <a:pt x="52650" y="28730"/>
                </a:cubicBezTo>
                <a:cubicBezTo>
                  <a:pt x="52650" y="29051"/>
                  <a:pt x="52067" y="29849"/>
                  <a:pt x="51614" y="29849"/>
                </a:cubicBezTo>
                <a:cubicBezTo>
                  <a:pt x="51281" y="29849"/>
                  <a:pt x="51233" y="29373"/>
                  <a:pt x="51019" y="29373"/>
                </a:cubicBezTo>
                <a:cubicBezTo>
                  <a:pt x="50709" y="29373"/>
                  <a:pt x="50578" y="28313"/>
                  <a:pt x="50531" y="27861"/>
                </a:cubicBezTo>
                <a:cubicBezTo>
                  <a:pt x="50447" y="27254"/>
                  <a:pt x="49471" y="27682"/>
                  <a:pt x="49471" y="26884"/>
                </a:cubicBezTo>
                <a:cubicBezTo>
                  <a:pt x="48959" y="26789"/>
                  <a:pt x="48852" y="26051"/>
                  <a:pt x="48352" y="26051"/>
                </a:cubicBezTo>
                <a:cubicBezTo>
                  <a:pt x="48114" y="26051"/>
                  <a:pt x="48114" y="26277"/>
                  <a:pt x="47840" y="26277"/>
                </a:cubicBezTo>
                <a:cubicBezTo>
                  <a:pt x="47316" y="26277"/>
                  <a:pt x="46995" y="25908"/>
                  <a:pt x="46483" y="25908"/>
                </a:cubicBezTo>
                <a:cubicBezTo>
                  <a:pt x="46209" y="25908"/>
                  <a:pt x="45935" y="26051"/>
                  <a:pt x="45935" y="26444"/>
                </a:cubicBezTo>
                <a:cubicBezTo>
                  <a:pt x="45935" y="26658"/>
                  <a:pt x="46578" y="26980"/>
                  <a:pt x="45994" y="27420"/>
                </a:cubicBezTo>
                <a:cubicBezTo>
                  <a:pt x="45768" y="27599"/>
                  <a:pt x="46328" y="28075"/>
                  <a:pt x="46352" y="28397"/>
                </a:cubicBezTo>
                <a:cubicBezTo>
                  <a:pt x="46423" y="29039"/>
                  <a:pt x="45911" y="29206"/>
                  <a:pt x="45673" y="29313"/>
                </a:cubicBezTo>
                <a:cubicBezTo>
                  <a:pt x="46090" y="30159"/>
                  <a:pt x="46721" y="30444"/>
                  <a:pt x="46721" y="31873"/>
                </a:cubicBezTo>
                <a:cubicBezTo>
                  <a:pt x="46721" y="32266"/>
                  <a:pt x="45637" y="33242"/>
                  <a:pt x="45268" y="33326"/>
                </a:cubicBezTo>
                <a:cubicBezTo>
                  <a:pt x="45899" y="33707"/>
                  <a:pt x="45649" y="34897"/>
                  <a:pt x="45899" y="35266"/>
                </a:cubicBezTo>
                <a:cubicBezTo>
                  <a:pt x="45828" y="35397"/>
                  <a:pt x="45590" y="35540"/>
                  <a:pt x="45578" y="35778"/>
                </a:cubicBezTo>
                <a:cubicBezTo>
                  <a:pt x="45398" y="35778"/>
                  <a:pt x="45261" y="36079"/>
                  <a:pt x="45116" y="36079"/>
                </a:cubicBezTo>
                <a:cubicBezTo>
                  <a:pt x="45088" y="36079"/>
                  <a:pt x="45059" y="36067"/>
                  <a:pt x="45030" y="36040"/>
                </a:cubicBezTo>
                <a:cubicBezTo>
                  <a:pt x="44590" y="35612"/>
                  <a:pt x="43947" y="34933"/>
                  <a:pt x="43947" y="34302"/>
                </a:cubicBezTo>
                <a:cubicBezTo>
                  <a:pt x="43947" y="33611"/>
                  <a:pt x="44054" y="33064"/>
                  <a:pt x="43542" y="32683"/>
                </a:cubicBezTo>
                <a:lnTo>
                  <a:pt x="42375" y="32683"/>
                </a:lnTo>
                <a:cubicBezTo>
                  <a:pt x="41696" y="32087"/>
                  <a:pt x="40934" y="31742"/>
                  <a:pt x="40137" y="31373"/>
                </a:cubicBezTo>
                <a:cubicBezTo>
                  <a:pt x="39994" y="31314"/>
                  <a:pt x="39577" y="30944"/>
                  <a:pt x="39327" y="30944"/>
                </a:cubicBezTo>
                <a:cubicBezTo>
                  <a:pt x="39053" y="30944"/>
                  <a:pt x="38922" y="31266"/>
                  <a:pt x="38648" y="31266"/>
                </a:cubicBezTo>
                <a:cubicBezTo>
                  <a:pt x="38648" y="30742"/>
                  <a:pt x="38363" y="29528"/>
                  <a:pt x="37970" y="29528"/>
                </a:cubicBezTo>
                <a:cubicBezTo>
                  <a:pt x="37779" y="29528"/>
                  <a:pt x="37696" y="29706"/>
                  <a:pt x="37517" y="29742"/>
                </a:cubicBezTo>
                <a:cubicBezTo>
                  <a:pt x="37589" y="29480"/>
                  <a:pt x="37517" y="29397"/>
                  <a:pt x="37517" y="28766"/>
                </a:cubicBezTo>
                <a:cubicBezTo>
                  <a:pt x="37517" y="27896"/>
                  <a:pt x="37732" y="27384"/>
                  <a:pt x="38148" y="26884"/>
                </a:cubicBezTo>
                <a:cubicBezTo>
                  <a:pt x="38291" y="26706"/>
                  <a:pt x="38601" y="25860"/>
                  <a:pt x="38744" y="25789"/>
                </a:cubicBezTo>
                <a:cubicBezTo>
                  <a:pt x="39053" y="25670"/>
                  <a:pt x="39601" y="25884"/>
                  <a:pt x="39601" y="25360"/>
                </a:cubicBezTo>
                <a:cubicBezTo>
                  <a:pt x="39601" y="25039"/>
                  <a:pt x="38898" y="25015"/>
                  <a:pt x="38648" y="24837"/>
                </a:cubicBezTo>
                <a:lnTo>
                  <a:pt x="38648" y="24837"/>
                </a:lnTo>
                <a:cubicBezTo>
                  <a:pt x="38659" y="24840"/>
                  <a:pt x="38667" y="24842"/>
                  <a:pt x="38673" y="24842"/>
                </a:cubicBezTo>
                <a:cubicBezTo>
                  <a:pt x="38718" y="24842"/>
                  <a:pt x="38608" y="24725"/>
                  <a:pt x="38771" y="24725"/>
                </a:cubicBezTo>
                <a:cubicBezTo>
                  <a:pt x="38890" y="24725"/>
                  <a:pt x="39155" y="24787"/>
                  <a:pt x="39732" y="25003"/>
                </a:cubicBezTo>
                <a:cubicBezTo>
                  <a:pt x="39770" y="25016"/>
                  <a:pt x="39801" y="25022"/>
                  <a:pt x="39828" y="25022"/>
                </a:cubicBezTo>
                <a:cubicBezTo>
                  <a:pt x="40072" y="25022"/>
                  <a:pt x="39908" y="24539"/>
                  <a:pt x="40101" y="24539"/>
                </a:cubicBezTo>
                <a:lnTo>
                  <a:pt x="40506" y="24539"/>
                </a:lnTo>
                <a:cubicBezTo>
                  <a:pt x="40934" y="24539"/>
                  <a:pt x="41172" y="23991"/>
                  <a:pt x="41458" y="23729"/>
                </a:cubicBezTo>
                <a:lnTo>
                  <a:pt x="41458" y="23408"/>
                </a:lnTo>
                <a:cubicBezTo>
                  <a:pt x="40851" y="23229"/>
                  <a:pt x="40232" y="23336"/>
                  <a:pt x="39958" y="22693"/>
                </a:cubicBezTo>
                <a:lnTo>
                  <a:pt x="40291" y="22693"/>
                </a:lnTo>
                <a:cubicBezTo>
                  <a:pt x="40518" y="22860"/>
                  <a:pt x="40756" y="23193"/>
                  <a:pt x="41101" y="23193"/>
                </a:cubicBezTo>
                <a:cubicBezTo>
                  <a:pt x="41387" y="23193"/>
                  <a:pt x="41923" y="22729"/>
                  <a:pt x="41923" y="22467"/>
                </a:cubicBezTo>
                <a:cubicBezTo>
                  <a:pt x="41923" y="22384"/>
                  <a:pt x="41649" y="21991"/>
                  <a:pt x="41792" y="21991"/>
                </a:cubicBezTo>
                <a:cubicBezTo>
                  <a:pt x="42184" y="21991"/>
                  <a:pt x="42327" y="22431"/>
                  <a:pt x="42589" y="22431"/>
                </a:cubicBezTo>
                <a:cubicBezTo>
                  <a:pt x="42744" y="22431"/>
                  <a:pt x="42863" y="22253"/>
                  <a:pt x="43185" y="22253"/>
                </a:cubicBezTo>
                <a:cubicBezTo>
                  <a:pt x="43121" y="22165"/>
                  <a:pt x="43143" y="21964"/>
                  <a:pt x="43229" y="21964"/>
                </a:cubicBezTo>
                <a:cubicBezTo>
                  <a:pt x="43271" y="21964"/>
                  <a:pt x="43328" y="22013"/>
                  <a:pt x="43399" y="22146"/>
                </a:cubicBezTo>
                <a:cubicBezTo>
                  <a:pt x="43411" y="22167"/>
                  <a:pt x="43431" y="22177"/>
                  <a:pt x="43457" y="22177"/>
                </a:cubicBezTo>
                <a:cubicBezTo>
                  <a:pt x="43696" y="22177"/>
                  <a:pt x="44459" y="21379"/>
                  <a:pt x="44459" y="21122"/>
                </a:cubicBezTo>
                <a:cubicBezTo>
                  <a:pt x="44459" y="20931"/>
                  <a:pt x="44042" y="20717"/>
                  <a:pt x="44042" y="20586"/>
                </a:cubicBezTo>
                <a:cubicBezTo>
                  <a:pt x="44042" y="20431"/>
                  <a:pt x="43792" y="20086"/>
                  <a:pt x="44363" y="19753"/>
                </a:cubicBezTo>
                <a:cubicBezTo>
                  <a:pt x="44435" y="19562"/>
                  <a:pt x="44363" y="19586"/>
                  <a:pt x="44363" y="19217"/>
                </a:cubicBezTo>
                <a:cubicBezTo>
                  <a:pt x="43780" y="19217"/>
                  <a:pt x="43923" y="18669"/>
                  <a:pt x="43185" y="18669"/>
                </a:cubicBezTo>
                <a:cubicBezTo>
                  <a:pt x="43018" y="18645"/>
                  <a:pt x="42899" y="18514"/>
                  <a:pt x="42732" y="18514"/>
                </a:cubicBezTo>
                <a:cubicBezTo>
                  <a:pt x="42518" y="18514"/>
                  <a:pt x="42280" y="18693"/>
                  <a:pt x="42280" y="18955"/>
                </a:cubicBezTo>
                <a:cubicBezTo>
                  <a:pt x="42280" y="19241"/>
                  <a:pt x="42554" y="19348"/>
                  <a:pt x="42554" y="19538"/>
                </a:cubicBezTo>
                <a:cubicBezTo>
                  <a:pt x="42554" y="19753"/>
                  <a:pt x="42137" y="19753"/>
                  <a:pt x="42042" y="19979"/>
                </a:cubicBezTo>
                <a:cubicBezTo>
                  <a:pt x="41899" y="20348"/>
                  <a:pt x="41946" y="20634"/>
                  <a:pt x="41684" y="21038"/>
                </a:cubicBezTo>
                <a:cubicBezTo>
                  <a:pt x="41592" y="21180"/>
                  <a:pt x="41493" y="21236"/>
                  <a:pt x="41395" y="21236"/>
                </a:cubicBezTo>
                <a:cubicBezTo>
                  <a:pt x="41063" y="21236"/>
                  <a:pt x="40744" y="20591"/>
                  <a:pt x="40744" y="20407"/>
                </a:cubicBezTo>
                <a:cubicBezTo>
                  <a:pt x="40744" y="20122"/>
                  <a:pt x="41041" y="20193"/>
                  <a:pt x="41041" y="19872"/>
                </a:cubicBezTo>
                <a:cubicBezTo>
                  <a:pt x="41041" y="19717"/>
                  <a:pt x="40518" y="19110"/>
                  <a:pt x="40375" y="19110"/>
                </a:cubicBezTo>
                <a:cubicBezTo>
                  <a:pt x="39851" y="19110"/>
                  <a:pt x="40208" y="20038"/>
                  <a:pt x="39648" y="20038"/>
                </a:cubicBezTo>
                <a:cubicBezTo>
                  <a:pt x="39648" y="19669"/>
                  <a:pt x="39613" y="19407"/>
                  <a:pt x="39232" y="19193"/>
                </a:cubicBezTo>
                <a:cubicBezTo>
                  <a:pt x="39291" y="19086"/>
                  <a:pt x="39327" y="19026"/>
                  <a:pt x="39410" y="18931"/>
                </a:cubicBezTo>
                <a:cubicBezTo>
                  <a:pt x="39125" y="18717"/>
                  <a:pt x="38732" y="18931"/>
                  <a:pt x="38505" y="18610"/>
                </a:cubicBezTo>
                <a:cubicBezTo>
                  <a:pt x="38636" y="18514"/>
                  <a:pt x="38958" y="18371"/>
                  <a:pt x="38958" y="18086"/>
                </a:cubicBezTo>
                <a:cubicBezTo>
                  <a:pt x="38958" y="17669"/>
                  <a:pt x="38422" y="17693"/>
                  <a:pt x="38422" y="17371"/>
                </a:cubicBezTo>
                <a:cubicBezTo>
                  <a:pt x="38398" y="16693"/>
                  <a:pt x="38005" y="16264"/>
                  <a:pt x="37291" y="16240"/>
                </a:cubicBezTo>
                <a:cubicBezTo>
                  <a:pt x="37284" y="16240"/>
                  <a:pt x="37277" y="16240"/>
                  <a:pt x="37270" y="16240"/>
                </a:cubicBezTo>
                <a:close/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155" name="Picture 154" descr="A red and blue flag&#10;&#10;Description automatically generated with low confidence">
            <a:extLst>
              <a:ext uri="{FF2B5EF4-FFF2-40B4-BE49-F238E27FC236}">
                <a16:creationId xmlns:a16="http://schemas.microsoft.com/office/drawing/2014/main" id="{C7176911-059A-1874-90A5-E8FC26F6332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364" t="6985" r="13687" b="14487"/>
          <a:stretch/>
        </p:blipFill>
        <p:spPr>
          <a:xfrm>
            <a:off x="4288228" y="3902552"/>
            <a:ext cx="1136926" cy="1136926"/>
          </a:xfrm>
          <a:custGeom>
            <a:avLst/>
            <a:gdLst>
              <a:gd name="connsiteX0" fmla="*/ 568463 w 1136926"/>
              <a:gd name="connsiteY0" fmla="*/ 0 h 1136926"/>
              <a:gd name="connsiteX1" fmla="*/ 1136926 w 1136926"/>
              <a:gd name="connsiteY1" fmla="*/ 568463 h 1136926"/>
              <a:gd name="connsiteX2" fmla="*/ 568463 w 1136926"/>
              <a:gd name="connsiteY2" fmla="*/ 1136926 h 1136926"/>
              <a:gd name="connsiteX3" fmla="*/ 0 w 1136926"/>
              <a:gd name="connsiteY3" fmla="*/ 568463 h 1136926"/>
              <a:gd name="connsiteX4" fmla="*/ 568463 w 1136926"/>
              <a:gd name="connsiteY4" fmla="*/ 0 h 113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6926" h="1136926">
                <a:moveTo>
                  <a:pt x="568463" y="0"/>
                </a:moveTo>
                <a:cubicBezTo>
                  <a:pt x="882416" y="0"/>
                  <a:pt x="1136926" y="254510"/>
                  <a:pt x="1136926" y="568463"/>
                </a:cubicBezTo>
                <a:cubicBezTo>
                  <a:pt x="1136926" y="882416"/>
                  <a:pt x="882416" y="1136926"/>
                  <a:pt x="568463" y="1136926"/>
                </a:cubicBezTo>
                <a:cubicBezTo>
                  <a:pt x="254510" y="1136926"/>
                  <a:pt x="0" y="882416"/>
                  <a:pt x="0" y="568463"/>
                </a:cubicBezTo>
                <a:cubicBezTo>
                  <a:pt x="0" y="254510"/>
                  <a:pt x="254510" y="0"/>
                  <a:pt x="568463" y="0"/>
                </a:cubicBezTo>
                <a:close/>
              </a:path>
            </a:pathLst>
          </a:custGeom>
        </p:spPr>
      </p:pic>
      <p:sp>
        <p:nvSpPr>
          <p:cNvPr id="101" name="TextBox 100">
            <a:extLst>
              <a:ext uri="{FF2B5EF4-FFF2-40B4-BE49-F238E27FC236}">
                <a16:creationId xmlns:a16="http://schemas.microsoft.com/office/drawing/2014/main" id="{B9D22618-3943-06F8-ECA0-6499B6CD1EA6}"/>
              </a:ext>
            </a:extLst>
          </p:cNvPr>
          <p:cNvSpPr txBox="1"/>
          <p:nvPr/>
        </p:nvSpPr>
        <p:spPr>
          <a:xfrm>
            <a:off x="1837728" y="2635381"/>
            <a:ext cx="2157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USA vs China</a:t>
            </a:r>
          </a:p>
          <a:p>
            <a:pPr algn="ctr"/>
            <a:r>
              <a:rPr lang="en-US" sz="1800" b="1" dirty="0"/>
              <a:t>Trade War</a:t>
            </a:r>
            <a:endParaRPr lang="en-ID" sz="1800" b="1" dirty="0"/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380D2CEB-0D66-F634-503D-43CC20F4376B}"/>
              </a:ext>
            </a:extLst>
          </p:cNvPr>
          <p:cNvSpPr txBox="1"/>
          <p:nvPr/>
        </p:nvSpPr>
        <p:spPr>
          <a:xfrm>
            <a:off x="5479667" y="2635381"/>
            <a:ext cx="16391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/>
              <a:t>COVID-19</a:t>
            </a:r>
          </a:p>
          <a:p>
            <a:pPr algn="ctr"/>
            <a:r>
              <a:rPr lang="en-US" b="1" dirty="0"/>
              <a:t>Pandemic</a:t>
            </a:r>
            <a:endParaRPr lang="en-ID" sz="1800" b="1" dirty="0"/>
          </a:p>
        </p:txBody>
      </p:sp>
      <p:pic>
        <p:nvPicPr>
          <p:cNvPr id="110" name="Picture 109" descr="Arrow, funnel chart&#10;&#10;Description automatically generated">
            <a:extLst>
              <a:ext uri="{FF2B5EF4-FFF2-40B4-BE49-F238E27FC236}">
                <a16:creationId xmlns:a16="http://schemas.microsoft.com/office/drawing/2014/main" id="{B76AB60F-1878-51C5-6070-A5F2B938E6BE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3815" t="105" r="19308"/>
          <a:stretch>
            <a:fillRect/>
          </a:stretch>
        </p:blipFill>
        <p:spPr>
          <a:xfrm>
            <a:off x="2332863" y="1388554"/>
            <a:ext cx="1136925" cy="1132156"/>
          </a:xfrm>
          <a:custGeom>
            <a:avLst/>
            <a:gdLst>
              <a:gd name="connsiteX0" fmla="*/ 692610 w 1385220"/>
              <a:gd name="connsiteY0" fmla="*/ 0 h 1379409"/>
              <a:gd name="connsiteX1" fmla="*/ 1385220 w 1385220"/>
              <a:gd name="connsiteY1" fmla="*/ 692610 h 1379409"/>
              <a:gd name="connsiteX2" fmla="*/ 832195 w 1385220"/>
              <a:gd name="connsiteY2" fmla="*/ 1371149 h 1379409"/>
              <a:gd name="connsiteX3" fmla="*/ 750254 w 1385220"/>
              <a:gd name="connsiteY3" fmla="*/ 1379409 h 1379409"/>
              <a:gd name="connsiteX4" fmla="*/ 634966 w 1385220"/>
              <a:gd name="connsiteY4" fmla="*/ 1379409 h 1379409"/>
              <a:gd name="connsiteX5" fmla="*/ 553025 w 1385220"/>
              <a:gd name="connsiteY5" fmla="*/ 1371149 h 1379409"/>
              <a:gd name="connsiteX6" fmla="*/ 0 w 1385220"/>
              <a:gd name="connsiteY6" fmla="*/ 692610 h 1379409"/>
              <a:gd name="connsiteX7" fmla="*/ 692610 w 1385220"/>
              <a:gd name="connsiteY7" fmla="*/ 0 h 1379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85220" h="1379409">
                <a:moveTo>
                  <a:pt x="692610" y="0"/>
                </a:moveTo>
                <a:cubicBezTo>
                  <a:pt x="1075128" y="0"/>
                  <a:pt x="1385220" y="310092"/>
                  <a:pt x="1385220" y="692610"/>
                </a:cubicBezTo>
                <a:cubicBezTo>
                  <a:pt x="1385220" y="1027313"/>
                  <a:pt x="1147806" y="1306565"/>
                  <a:pt x="832195" y="1371149"/>
                </a:cubicBezTo>
                <a:lnTo>
                  <a:pt x="750254" y="1379409"/>
                </a:lnTo>
                <a:lnTo>
                  <a:pt x="634966" y="1379409"/>
                </a:lnTo>
                <a:lnTo>
                  <a:pt x="553025" y="1371149"/>
                </a:lnTo>
                <a:cubicBezTo>
                  <a:pt x="237414" y="1306565"/>
                  <a:pt x="0" y="1027313"/>
                  <a:pt x="0" y="692610"/>
                </a:cubicBezTo>
                <a:cubicBezTo>
                  <a:pt x="0" y="310092"/>
                  <a:pt x="310092" y="0"/>
                  <a:pt x="692610" y="0"/>
                </a:cubicBezTo>
                <a:close/>
              </a:path>
            </a:pathLst>
          </a:custGeom>
        </p:spPr>
      </p:pic>
      <p:pic>
        <p:nvPicPr>
          <p:cNvPr id="114" name="Picture 113" descr="A close up of some berries&#10;&#10;Description automatically generated with low confidence">
            <a:extLst>
              <a:ext uri="{FF2B5EF4-FFF2-40B4-BE49-F238E27FC236}">
                <a16:creationId xmlns:a16="http://schemas.microsoft.com/office/drawing/2014/main" id="{2046FB51-BE08-6C55-BA6B-CBC4B68EB11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49295" t="7062" r="11486" b="23083"/>
          <a:stretch>
            <a:fillRect/>
          </a:stretch>
        </p:blipFill>
        <p:spPr>
          <a:xfrm>
            <a:off x="5677685" y="1388554"/>
            <a:ext cx="1136926" cy="1136926"/>
          </a:xfrm>
          <a:custGeom>
            <a:avLst/>
            <a:gdLst>
              <a:gd name="connsiteX0" fmla="*/ 568463 w 1136926"/>
              <a:gd name="connsiteY0" fmla="*/ 0 h 1136926"/>
              <a:gd name="connsiteX1" fmla="*/ 1136926 w 1136926"/>
              <a:gd name="connsiteY1" fmla="*/ 568463 h 1136926"/>
              <a:gd name="connsiteX2" fmla="*/ 568463 w 1136926"/>
              <a:gd name="connsiteY2" fmla="*/ 1136926 h 1136926"/>
              <a:gd name="connsiteX3" fmla="*/ 0 w 1136926"/>
              <a:gd name="connsiteY3" fmla="*/ 568463 h 1136926"/>
              <a:gd name="connsiteX4" fmla="*/ 568463 w 1136926"/>
              <a:gd name="connsiteY4" fmla="*/ 0 h 113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6926" h="1136926">
                <a:moveTo>
                  <a:pt x="568463" y="0"/>
                </a:moveTo>
                <a:cubicBezTo>
                  <a:pt x="882416" y="0"/>
                  <a:pt x="1136926" y="254510"/>
                  <a:pt x="1136926" y="568463"/>
                </a:cubicBezTo>
                <a:cubicBezTo>
                  <a:pt x="1136926" y="882416"/>
                  <a:pt x="882416" y="1136926"/>
                  <a:pt x="568463" y="1136926"/>
                </a:cubicBezTo>
                <a:cubicBezTo>
                  <a:pt x="254510" y="1136926"/>
                  <a:pt x="0" y="882416"/>
                  <a:pt x="0" y="568463"/>
                </a:cubicBezTo>
                <a:cubicBezTo>
                  <a:pt x="0" y="254510"/>
                  <a:pt x="254510" y="0"/>
                  <a:pt x="568463" y="0"/>
                </a:cubicBezTo>
                <a:close/>
              </a:path>
            </a:pathLst>
          </a:custGeom>
        </p:spPr>
      </p:pic>
      <p:grpSp>
        <p:nvGrpSpPr>
          <p:cNvPr id="116" name="Google Shape;417;p20">
            <a:extLst>
              <a:ext uri="{FF2B5EF4-FFF2-40B4-BE49-F238E27FC236}">
                <a16:creationId xmlns:a16="http://schemas.microsoft.com/office/drawing/2014/main" id="{8813601D-7516-F3E3-E91E-B7FD18BBE143}"/>
              </a:ext>
            </a:extLst>
          </p:cNvPr>
          <p:cNvGrpSpPr/>
          <p:nvPr/>
        </p:nvGrpSpPr>
        <p:grpSpPr>
          <a:xfrm>
            <a:off x="2717469" y="1259270"/>
            <a:ext cx="397998" cy="507511"/>
            <a:chOff x="5514813" y="1952688"/>
            <a:chExt cx="209875" cy="267625"/>
          </a:xfrm>
        </p:grpSpPr>
        <p:sp>
          <p:nvSpPr>
            <p:cNvPr id="117" name="Google Shape;418;p20">
              <a:extLst>
                <a:ext uri="{FF2B5EF4-FFF2-40B4-BE49-F238E27FC236}">
                  <a16:creationId xmlns:a16="http://schemas.microsoft.com/office/drawing/2014/main" id="{F614BB8B-C2CE-781D-C95B-207CC29D2494}"/>
                </a:ext>
              </a:extLst>
            </p:cNvPr>
            <p:cNvSpPr/>
            <p:nvPr/>
          </p:nvSpPr>
          <p:spPr>
            <a:xfrm>
              <a:off x="5514813" y="1952688"/>
              <a:ext cx="209875" cy="267625"/>
            </a:xfrm>
            <a:custGeom>
              <a:avLst/>
              <a:gdLst/>
              <a:ahLst/>
              <a:cxnLst/>
              <a:rect l="l" t="t" r="r" b="b"/>
              <a:pathLst>
                <a:path w="8395" h="10705" extrusionOk="0">
                  <a:moveTo>
                    <a:pt x="4204" y="1"/>
                  </a:moveTo>
                  <a:cubicBezTo>
                    <a:pt x="1882" y="1"/>
                    <a:pt x="1" y="1882"/>
                    <a:pt x="1" y="4192"/>
                  </a:cubicBezTo>
                  <a:cubicBezTo>
                    <a:pt x="1" y="6514"/>
                    <a:pt x="4204" y="10705"/>
                    <a:pt x="4204" y="10705"/>
                  </a:cubicBezTo>
                  <a:cubicBezTo>
                    <a:pt x="4204" y="10705"/>
                    <a:pt x="8395" y="6514"/>
                    <a:pt x="8395" y="4192"/>
                  </a:cubicBezTo>
                  <a:cubicBezTo>
                    <a:pt x="8395" y="1882"/>
                    <a:pt x="6513" y="1"/>
                    <a:pt x="4204" y="1"/>
                  </a:cubicBezTo>
                  <a:close/>
                </a:path>
              </a:pathLst>
            </a:custGeom>
            <a:solidFill>
              <a:srgbClr val="EC3A3B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8" name="Google Shape;419;p20">
              <a:extLst>
                <a:ext uri="{FF2B5EF4-FFF2-40B4-BE49-F238E27FC236}">
                  <a16:creationId xmlns:a16="http://schemas.microsoft.com/office/drawing/2014/main" id="{D4E7FC8F-C6CD-DC7F-7BF6-0D2B4937C6D8}"/>
                </a:ext>
              </a:extLst>
            </p:cNvPr>
            <p:cNvSpPr/>
            <p:nvPr/>
          </p:nvSpPr>
          <p:spPr>
            <a:xfrm>
              <a:off x="5577913" y="2020863"/>
              <a:ext cx="83975" cy="83950"/>
            </a:xfrm>
            <a:custGeom>
              <a:avLst/>
              <a:gdLst/>
              <a:ahLst/>
              <a:cxnLst/>
              <a:rect l="l" t="t" r="r" b="b"/>
              <a:pathLst>
                <a:path w="3359" h="3358" extrusionOk="0">
                  <a:moveTo>
                    <a:pt x="1680" y="0"/>
                  </a:moveTo>
                  <a:cubicBezTo>
                    <a:pt x="751" y="0"/>
                    <a:pt x="1" y="750"/>
                    <a:pt x="1" y="1679"/>
                  </a:cubicBezTo>
                  <a:cubicBezTo>
                    <a:pt x="1" y="2608"/>
                    <a:pt x="751" y="3358"/>
                    <a:pt x="1680" y="3358"/>
                  </a:cubicBezTo>
                  <a:cubicBezTo>
                    <a:pt x="2608" y="3358"/>
                    <a:pt x="3358" y="2608"/>
                    <a:pt x="3358" y="1679"/>
                  </a:cubicBezTo>
                  <a:cubicBezTo>
                    <a:pt x="3358" y="750"/>
                    <a:pt x="2608" y="0"/>
                    <a:pt x="16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24" name="Picture 123">
            <a:extLst>
              <a:ext uri="{FF2B5EF4-FFF2-40B4-BE49-F238E27FC236}">
                <a16:creationId xmlns:a16="http://schemas.microsoft.com/office/drawing/2014/main" id="{8F78C808-6D73-807A-060A-9A98A7EFA8F3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31111" t="18027" r="21602" b="10954"/>
          <a:stretch>
            <a:fillRect/>
          </a:stretch>
        </p:blipFill>
        <p:spPr>
          <a:xfrm>
            <a:off x="9022508" y="1388554"/>
            <a:ext cx="1136926" cy="1136926"/>
          </a:xfrm>
          <a:custGeom>
            <a:avLst/>
            <a:gdLst>
              <a:gd name="connsiteX0" fmla="*/ 568463 w 1136926"/>
              <a:gd name="connsiteY0" fmla="*/ 0 h 1136926"/>
              <a:gd name="connsiteX1" fmla="*/ 1136926 w 1136926"/>
              <a:gd name="connsiteY1" fmla="*/ 568463 h 1136926"/>
              <a:gd name="connsiteX2" fmla="*/ 568463 w 1136926"/>
              <a:gd name="connsiteY2" fmla="*/ 1136926 h 1136926"/>
              <a:gd name="connsiteX3" fmla="*/ 0 w 1136926"/>
              <a:gd name="connsiteY3" fmla="*/ 568463 h 1136926"/>
              <a:gd name="connsiteX4" fmla="*/ 568463 w 1136926"/>
              <a:gd name="connsiteY4" fmla="*/ 0 h 1136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36926" h="1136926">
                <a:moveTo>
                  <a:pt x="568463" y="0"/>
                </a:moveTo>
                <a:cubicBezTo>
                  <a:pt x="882416" y="0"/>
                  <a:pt x="1136926" y="254510"/>
                  <a:pt x="1136926" y="568463"/>
                </a:cubicBezTo>
                <a:cubicBezTo>
                  <a:pt x="1136926" y="882416"/>
                  <a:pt x="882416" y="1136926"/>
                  <a:pt x="568463" y="1136926"/>
                </a:cubicBezTo>
                <a:cubicBezTo>
                  <a:pt x="254510" y="1136926"/>
                  <a:pt x="0" y="882416"/>
                  <a:pt x="0" y="568463"/>
                </a:cubicBezTo>
                <a:cubicBezTo>
                  <a:pt x="0" y="254510"/>
                  <a:pt x="254510" y="0"/>
                  <a:pt x="568463" y="0"/>
                </a:cubicBezTo>
                <a:close/>
              </a:path>
            </a:pathLst>
          </a:custGeom>
        </p:spPr>
      </p:pic>
      <p:sp>
        <p:nvSpPr>
          <p:cNvPr id="125" name="TextBox 124">
            <a:extLst>
              <a:ext uri="{FF2B5EF4-FFF2-40B4-BE49-F238E27FC236}">
                <a16:creationId xmlns:a16="http://schemas.microsoft.com/office/drawing/2014/main" id="{96F2A868-AD3A-ADDB-D1A3-193768A4B9D6}"/>
              </a:ext>
            </a:extLst>
          </p:cNvPr>
          <p:cNvSpPr txBox="1"/>
          <p:nvPr/>
        </p:nvSpPr>
        <p:spPr>
          <a:xfrm>
            <a:off x="8656035" y="2562675"/>
            <a:ext cx="2157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/>
              <a:t>Russia vs Ukraine War</a:t>
            </a:r>
            <a:endParaRPr lang="en-ID" sz="1800" b="1" dirty="0"/>
          </a:p>
        </p:txBody>
      </p:sp>
      <p:grpSp>
        <p:nvGrpSpPr>
          <p:cNvPr id="144" name="Google Shape;410;p20">
            <a:extLst>
              <a:ext uri="{FF2B5EF4-FFF2-40B4-BE49-F238E27FC236}">
                <a16:creationId xmlns:a16="http://schemas.microsoft.com/office/drawing/2014/main" id="{AEE9CDDE-810E-544E-1659-4F14E9DB3185}"/>
              </a:ext>
            </a:extLst>
          </p:cNvPr>
          <p:cNvGrpSpPr/>
          <p:nvPr/>
        </p:nvGrpSpPr>
        <p:grpSpPr>
          <a:xfrm>
            <a:off x="9391171" y="1259270"/>
            <a:ext cx="399600" cy="507600"/>
            <a:chOff x="5514813" y="1952688"/>
            <a:chExt cx="209875" cy="267625"/>
          </a:xfrm>
        </p:grpSpPr>
        <p:sp>
          <p:nvSpPr>
            <p:cNvPr id="145" name="Google Shape;411;p20">
              <a:extLst>
                <a:ext uri="{FF2B5EF4-FFF2-40B4-BE49-F238E27FC236}">
                  <a16:creationId xmlns:a16="http://schemas.microsoft.com/office/drawing/2014/main" id="{F363D545-6F85-084B-4EC8-992EE6CB8A2B}"/>
                </a:ext>
              </a:extLst>
            </p:cNvPr>
            <p:cNvSpPr/>
            <p:nvPr/>
          </p:nvSpPr>
          <p:spPr>
            <a:xfrm>
              <a:off x="5514813" y="1952688"/>
              <a:ext cx="209875" cy="267625"/>
            </a:xfrm>
            <a:custGeom>
              <a:avLst/>
              <a:gdLst/>
              <a:ahLst/>
              <a:cxnLst/>
              <a:rect l="l" t="t" r="r" b="b"/>
              <a:pathLst>
                <a:path w="8395" h="10705" extrusionOk="0">
                  <a:moveTo>
                    <a:pt x="4204" y="1"/>
                  </a:moveTo>
                  <a:cubicBezTo>
                    <a:pt x="1882" y="1"/>
                    <a:pt x="1" y="1882"/>
                    <a:pt x="1" y="4192"/>
                  </a:cubicBezTo>
                  <a:cubicBezTo>
                    <a:pt x="1" y="6514"/>
                    <a:pt x="4204" y="10705"/>
                    <a:pt x="4204" y="10705"/>
                  </a:cubicBezTo>
                  <a:cubicBezTo>
                    <a:pt x="4204" y="10705"/>
                    <a:pt x="8395" y="6514"/>
                    <a:pt x="8395" y="4192"/>
                  </a:cubicBezTo>
                  <a:cubicBezTo>
                    <a:pt x="8395" y="1882"/>
                    <a:pt x="6513" y="1"/>
                    <a:pt x="4204" y="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46" name="Google Shape;412;p20">
              <a:extLst>
                <a:ext uri="{FF2B5EF4-FFF2-40B4-BE49-F238E27FC236}">
                  <a16:creationId xmlns:a16="http://schemas.microsoft.com/office/drawing/2014/main" id="{52B32E3D-6FFB-E6C0-B5D7-DAA7F9849DD8}"/>
                </a:ext>
              </a:extLst>
            </p:cNvPr>
            <p:cNvSpPr/>
            <p:nvPr/>
          </p:nvSpPr>
          <p:spPr>
            <a:xfrm>
              <a:off x="5577913" y="2020863"/>
              <a:ext cx="83975" cy="83950"/>
            </a:xfrm>
            <a:custGeom>
              <a:avLst/>
              <a:gdLst/>
              <a:ahLst/>
              <a:cxnLst/>
              <a:rect l="l" t="t" r="r" b="b"/>
              <a:pathLst>
                <a:path w="3359" h="3358" extrusionOk="0">
                  <a:moveTo>
                    <a:pt x="1680" y="0"/>
                  </a:moveTo>
                  <a:cubicBezTo>
                    <a:pt x="751" y="0"/>
                    <a:pt x="1" y="750"/>
                    <a:pt x="1" y="1679"/>
                  </a:cubicBezTo>
                  <a:cubicBezTo>
                    <a:pt x="1" y="2608"/>
                    <a:pt x="751" y="3358"/>
                    <a:pt x="1680" y="3358"/>
                  </a:cubicBezTo>
                  <a:cubicBezTo>
                    <a:pt x="2608" y="3358"/>
                    <a:pt x="3358" y="2608"/>
                    <a:pt x="3358" y="1679"/>
                  </a:cubicBezTo>
                  <a:cubicBezTo>
                    <a:pt x="3358" y="750"/>
                    <a:pt x="2608" y="0"/>
                    <a:pt x="16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50" name="TextBox 149">
            <a:extLst>
              <a:ext uri="{FF2B5EF4-FFF2-40B4-BE49-F238E27FC236}">
                <a16:creationId xmlns:a16="http://schemas.microsoft.com/office/drawing/2014/main" id="{B0E753DD-39C3-0C10-6E29-A253C670792E}"/>
              </a:ext>
            </a:extLst>
          </p:cNvPr>
          <p:cNvSpPr txBox="1"/>
          <p:nvPr/>
        </p:nvSpPr>
        <p:spPr>
          <a:xfrm>
            <a:off x="3761817" y="5053943"/>
            <a:ext cx="2189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/>
              <a:t>China – Taiwan</a:t>
            </a:r>
          </a:p>
          <a:p>
            <a:pPr algn="ctr"/>
            <a:r>
              <a:rPr lang="en-US" b="1" dirty="0"/>
              <a:t>Tension</a:t>
            </a:r>
            <a:endParaRPr lang="en-ID" sz="1800" b="1" dirty="0"/>
          </a:p>
        </p:txBody>
      </p:sp>
      <p:grpSp>
        <p:nvGrpSpPr>
          <p:cNvPr id="162" name="Google Shape;431;p20">
            <a:extLst>
              <a:ext uri="{FF2B5EF4-FFF2-40B4-BE49-F238E27FC236}">
                <a16:creationId xmlns:a16="http://schemas.microsoft.com/office/drawing/2014/main" id="{3260F674-FCC8-3F22-C720-8D8253B9413F}"/>
              </a:ext>
            </a:extLst>
          </p:cNvPr>
          <p:cNvGrpSpPr/>
          <p:nvPr/>
        </p:nvGrpSpPr>
        <p:grpSpPr>
          <a:xfrm>
            <a:off x="4656891" y="3683485"/>
            <a:ext cx="399600" cy="507600"/>
            <a:chOff x="5514813" y="1952688"/>
            <a:chExt cx="209875" cy="267625"/>
          </a:xfrm>
        </p:grpSpPr>
        <p:sp>
          <p:nvSpPr>
            <p:cNvPr id="163" name="Google Shape;432;p20">
              <a:extLst>
                <a:ext uri="{FF2B5EF4-FFF2-40B4-BE49-F238E27FC236}">
                  <a16:creationId xmlns:a16="http://schemas.microsoft.com/office/drawing/2014/main" id="{4D00C3D9-0359-239D-EABF-27F0D13FA322}"/>
                </a:ext>
              </a:extLst>
            </p:cNvPr>
            <p:cNvSpPr/>
            <p:nvPr/>
          </p:nvSpPr>
          <p:spPr>
            <a:xfrm>
              <a:off x="5514813" y="1952688"/>
              <a:ext cx="209875" cy="267625"/>
            </a:xfrm>
            <a:custGeom>
              <a:avLst/>
              <a:gdLst/>
              <a:ahLst/>
              <a:cxnLst/>
              <a:rect l="l" t="t" r="r" b="b"/>
              <a:pathLst>
                <a:path w="8395" h="10705" extrusionOk="0">
                  <a:moveTo>
                    <a:pt x="4204" y="1"/>
                  </a:moveTo>
                  <a:cubicBezTo>
                    <a:pt x="1882" y="1"/>
                    <a:pt x="1" y="1882"/>
                    <a:pt x="1" y="4192"/>
                  </a:cubicBezTo>
                  <a:cubicBezTo>
                    <a:pt x="1" y="6514"/>
                    <a:pt x="4204" y="10705"/>
                    <a:pt x="4204" y="10705"/>
                  </a:cubicBezTo>
                  <a:cubicBezTo>
                    <a:pt x="4204" y="10705"/>
                    <a:pt x="8395" y="6514"/>
                    <a:pt x="8395" y="4192"/>
                  </a:cubicBezTo>
                  <a:cubicBezTo>
                    <a:pt x="8395" y="1882"/>
                    <a:pt x="6513" y="1"/>
                    <a:pt x="4204" y="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64" name="Google Shape;433;p20">
              <a:extLst>
                <a:ext uri="{FF2B5EF4-FFF2-40B4-BE49-F238E27FC236}">
                  <a16:creationId xmlns:a16="http://schemas.microsoft.com/office/drawing/2014/main" id="{2BDDBCD6-2093-397E-8E41-770B7EE90579}"/>
                </a:ext>
              </a:extLst>
            </p:cNvPr>
            <p:cNvSpPr/>
            <p:nvPr/>
          </p:nvSpPr>
          <p:spPr>
            <a:xfrm>
              <a:off x="5577913" y="2020863"/>
              <a:ext cx="83975" cy="83950"/>
            </a:xfrm>
            <a:custGeom>
              <a:avLst/>
              <a:gdLst/>
              <a:ahLst/>
              <a:cxnLst/>
              <a:rect l="l" t="t" r="r" b="b"/>
              <a:pathLst>
                <a:path w="3359" h="3358" extrusionOk="0">
                  <a:moveTo>
                    <a:pt x="1680" y="0"/>
                  </a:moveTo>
                  <a:cubicBezTo>
                    <a:pt x="751" y="0"/>
                    <a:pt x="1" y="750"/>
                    <a:pt x="1" y="1679"/>
                  </a:cubicBezTo>
                  <a:cubicBezTo>
                    <a:pt x="1" y="2608"/>
                    <a:pt x="751" y="3358"/>
                    <a:pt x="1680" y="3358"/>
                  </a:cubicBezTo>
                  <a:cubicBezTo>
                    <a:pt x="2608" y="3358"/>
                    <a:pt x="3358" y="2608"/>
                    <a:pt x="3358" y="1679"/>
                  </a:cubicBezTo>
                  <a:cubicBezTo>
                    <a:pt x="3358" y="750"/>
                    <a:pt x="2608" y="0"/>
                    <a:pt x="16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68" name="Google Shape;417;p20">
            <a:extLst>
              <a:ext uri="{FF2B5EF4-FFF2-40B4-BE49-F238E27FC236}">
                <a16:creationId xmlns:a16="http://schemas.microsoft.com/office/drawing/2014/main" id="{EFE585C4-5C7E-6D4A-2EA1-84E1AEE0FBDF}"/>
              </a:ext>
            </a:extLst>
          </p:cNvPr>
          <p:cNvGrpSpPr/>
          <p:nvPr/>
        </p:nvGrpSpPr>
        <p:grpSpPr>
          <a:xfrm>
            <a:off x="7840069" y="3680198"/>
            <a:ext cx="399600" cy="507600"/>
            <a:chOff x="5514813" y="1952688"/>
            <a:chExt cx="209875" cy="267625"/>
          </a:xfrm>
        </p:grpSpPr>
        <p:sp>
          <p:nvSpPr>
            <p:cNvPr id="169" name="Google Shape;418;p20">
              <a:extLst>
                <a:ext uri="{FF2B5EF4-FFF2-40B4-BE49-F238E27FC236}">
                  <a16:creationId xmlns:a16="http://schemas.microsoft.com/office/drawing/2014/main" id="{C1F591E8-4644-FA24-87CC-050CB976D05C}"/>
                </a:ext>
              </a:extLst>
            </p:cNvPr>
            <p:cNvSpPr/>
            <p:nvPr/>
          </p:nvSpPr>
          <p:spPr>
            <a:xfrm>
              <a:off x="5514813" y="1952688"/>
              <a:ext cx="209875" cy="267625"/>
            </a:xfrm>
            <a:custGeom>
              <a:avLst/>
              <a:gdLst/>
              <a:ahLst/>
              <a:cxnLst/>
              <a:rect l="l" t="t" r="r" b="b"/>
              <a:pathLst>
                <a:path w="8395" h="10705" extrusionOk="0">
                  <a:moveTo>
                    <a:pt x="4204" y="1"/>
                  </a:moveTo>
                  <a:cubicBezTo>
                    <a:pt x="1882" y="1"/>
                    <a:pt x="1" y="1882"/>
                    <a:pt x="1" y="4192"/>
                  </a:cubicBezTo>
                  <a:cubicBezTo>
                    <a:pt x="1" y="6514"/>
                    <a:pt x="4204" y="10705"/>
                    <a:pt x="4204" y="10705"/>
                  </a:cubicBezTo>
                  <a:cubicBezTo>
                    <a:pt x="4204" y="10705"/>
                    <a:pt x="8395" y="6514"/>
                    <a:pt x="8395" y="4192"/>
                  </a:cubicBezTo>
                  <a:cubicBezTo>
                    <a:pt x="8395" y="1882"/>
                    <a:pt x="6513" y="1"/>
                    <a:pt x="420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70" name="Google Shape;419;p20">
              <a:extLst>
                <a:ext uri="{FF2B5EF4-FFF2-40B4-BE49-F238E27FC236}">
                  <a16:creationId xmlns:a16="http://schemas.microsoft.com/office/drawing/2014/main" id="{EA9AF68F-51F4-D715-1C4C-98715BFC4435}"/>
                </a:ext>
              </a:extLst>
            </p:cNvPr>
            <p:cNvSpPr/>
            <p:nvPr/>
          </p:nvSpPr>
          <p:spPr>
            <a:xfrm>
              <a:off x="5577913" y="2020863"/>
              <a:ext cx="83975" cy="83950"/>
            </a:xfrm>
            <a:custGeom>
              <a:avLst/>
              <a:gdLst/>
              <a:ahLst/>
              <a:cxnLst/>
              <a:rect l="l" t="t" r="r" b="b"/>
              <a:pathLst>
                <a:path w="3359" h="3358" extrusionOk="0">
                  <a:moveTo>
                    <a:pt x="1680" y="0"/>
                  </a:moveTo>
                  <a:cubicBezTo>
                    <a:pt x="751" y="0"/>
                    <a:pt x="1" y="750"/>
                    <a:pt x="1" y="1679"/>
                  </a:cubicBezTo>
                  <a:cubicBezTo>
                    <a:pt x="1" y="2608"/>
                    <a:pt x="751" y="3358"/>
                    <a:pt x="1680" y="3358"/>
                  </a:cubicBezTo>
                  <a:cubicBezTo>
                    <a:pt x="2608" y="3358"/>
                    <a:pt x="3358" y="2608"/>
                    <a:pt x="3358" y="1679"/>
                  </a:cubicBezTo>
                  <a:cubicBezTo>
                    <a:pt x="3358" y="750"/>
                    <a:pt x="2608" y="0"/>
                    <a:pt x="168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BFBC5D0-373E-0A3A-6282-0A6AC7697086}"/>
              </a:ext>
            </a:extLst>
          </p:cNvPr>
          <p:cNvSpPr txBox="1"/>
          <p:nvPr/>
        </p:nvSpPr>
        <p:spPr>
          <a:xfrm>
            <a:off x="7025069" y="5053943"/>
            <a:ext cx="21897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/>
              <a:t>Food &amp; Energy Crisis</a:t>
            </a:r>
            <a:endParaRPr lang="en-ID" sz="1800" b="1" dirty="0"/>
          </a:p>
        </p:txBody>
      </p:sp>
      <p:sp>
        <p:nvSpPr>
          <p:cNvPr id="5" name="Flowchart: Connector 4">
            <a:extLst>
              <a:ext uri="{FF2B5EF4-FFF2-40B4-BE49-F238E27FC236}">
                <a16:creationId xmlns:a16="http://schemas.microsoft.com/office/drawing/2014/main" id="{2FF5FCFE-80C3-3C95-4822-631E2592482B}"/>
              </a:ext>
            </a:extLst>
          </p:cNvPr>
          <p:cNvSpPr/>
          <p:nvPr/>
        </p:nvSpPr>
        <p:spPr>
          <a:xfrm>
            <a:off x="2209640" y="1349452"/>
            <a:ext cx="275463" cy="275463"/>
          </a:xfrm>
          <a:prstGeom prst="flowChartConnector">
            <a:avLst/>
          </a:prstGeom>
          <a:solidFill>
            <a:srgbClr val="0018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  <a:endParaRPr lang="en-ID"/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6C897F3D-3FA4-FCC7-D10A-B0437D81F6F1}"/>
              </a:ext>
            </a:extLst>
          </p:cNvPr>
          <p:cNvSpPr/>
          <p:nvPr/>
        </p:nvSpPr>
        <p:spPr>
          <a:xfrm>
            <a:off x="5539953" y="1355562"/>
            <a:ext cx="275463" cy="275463"/>
          </a:xfrm>
          <a:prstGeom prst="flowChartConnector">
            <a:avLst/>
          </a:prstGeom>
          <a:solidFill>
            <a:srgbClr val="0018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  <a:endParaRPr lang="en-ID"/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B8EF3C65-0648-1D11-D98C-C8FBE0B74886}"/>
              </a:ext>
            </a:extLst>
          </p:cNvPr>
          <p:cNvSpPr/>
          <p:nvPr/>
        </p:nvSpPr>
        <p:spPr>
          <a:xfrm>
            <a:off x="8870266" y="1361672"/>
            <a:ext cx="275463" cy="275463"/>
          </a:xfrm>
          <a:prstGeom prst="flowChartConnector">
            <a:avLst/>
          </a:prstGeom>
          <a:solidFill>
            <a:srgbClr val="0018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  <a:endParaRPr lang="en-ID"/>
          </a:p>
        </p:txBody>
      </p: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9275BC05-55BB-C939-3C9A-9D1E2D65A8E9}"/>
              </a:ext>
            </a:extLst>
          </p:cNvPr>
          <p:cNvSpPr/>
          <p:nvPr/>
        </p:nvSpPr>
        <p:spPr>
          <a:xfrm>
            <a:off x="4132907" y="3967820"/>
            <a:ext cx="275463" cy="275463"/>
          </a:xfrm>
          <a:prstGeom prst="flowChartConnector">
            <a:avLst/>
          </a:prstGeom>
          <a:solidFill>
            <a:srgbClr val="0018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  <a:endParaRPr lang="en-ID"/>
          </a:p>
        </p:txBody>
      </p:sp>
      <p:sp>
        <p:nvSpPr>
          <p:cNvPr id="9" name="Flowchart: Connector 8">
            <a:extLst>
              <a:ext uri="{FF2B5EF4-FFF2-40B4-BE49-F238E27FC236}">
                <a16:creationId xmlns:a16="http://schemas.microsoft.com/office/drawing/2014/main" id="{D8D661EA-32F1-E53F-6C4A-3450D80C7A7E}"/>
              </a:ext>
            </a:extLst>
          </p:cNvPr>
          <p:cNvSpPr/>
          <p:nvPr/>
        </p:nvSpPr>
        <p:spPr>
          <a:xfrm>
            <a:off x="7333674" y="3967819"/>
            <a:ext cx="275463" cy="275463"/>
          </a:xfrm>
          <a:prstGeom prst="flowChartConnector">
            <a:avLst/>
          </a:prstGeom>
          <a:solidFill>
            <a:srgbClr val="0018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5</a:t>
            </a:r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99F3535-F068-B168-5E20-45F44135A591}"/>
              </a:ext>
            </a:extLst>
          </p:cNvPr>
          <p:cNvSpPr txBox="1"/>
          <p:nvPr/>
        </p:nvSpPr>
        <p:spPr>
          <a:xfrm>
            <a:off x="3255906" y="133453"/>
            <a:ext cx="7117410" cy="4924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600" b="1" dirty="0">
                <a:solidFill>
                  <a:srgbClr val="0018C0"/>
                </a:solidFill>
              </a:rPr>
              <a:t>Negative Global Trend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F8B53A9-7C3E-7408-DE29-2410DDB8FDF3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4FA42EE-406F-2673-E975-C90DDE6683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9859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2179D6-AF39-F019-D172-F7188B31FA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509EC4-87CD-404E-9853-B7B18F953ABD}" type="slidenum">
              <a:rPr lang="id-ID" smtClean="0"/>
              <a:t>20</a:t>
            </a:fld>
            <a:endParaRPr lang="id-ID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40B37EF-7909-60B0-92D7-47308E269452}"/>
              </a:ext>
            </a:extLst>
          </p:cNvPr>
          <p:cNvSpPr txBox="1"/>
          <p:nvPr/>
        </p:nvSpPr>
        <p:spPr>
          <a:xfrm>
            <a:off x="1974538" y="454893"/>
            <a:ext cx="88458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vestment Opportunities in Nusantara </a:t>
            </a:r>
            <a:r>
              <a:rPr kumimoji="0" lang="en-US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sic Infrastructure</a:t>
            </a:r>
            <a:endParaRPr kumimoji="0" lang="en-US" sz="1200" i="0" u="none" strike="noStrike" kern="1200" cap="none" spc="-5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D7CF8723-0DA3-FA3D-AC07-A272AEE488B2}"/>
              </a:ext>
            </a:extLst>
          </p:cNvPr>
          <p:cNvGraphicFramePr>
            <a:graphicFrameLocks noGrp="1"/>
          </p:cNvGraphicFramePr>
          <p:nvPr/>
        </p:nvGraphicFramePr>
        <p:xfrm>
          <a:off x="91823" y="916558"/>
          <a:ext cx="12008355" cy="57835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732">
                  <a:extLst>
                    <a:ext uri="{9D8B030D-6E8A-4147-A177-3AD203B41FA5}">
                      <a16:colId xmlns:a16="http://schemas.microsoft.com/office/drawing/2014/main" val="1443812918"/>
                    </a:ext>
                  </a:extLst>
                </a:gridCol>
                <a:gridCol w="1310153">
                  <a:extLst>
                    <a:ext uri="{9D8B030D-6E8A-4147-A177-3AD203B41FA5}">
                      <a16:colId xmlns:a16="http://schemas.microsoft.com/office/drawing/2014/main" val="1791569993"/>
                    </a:ext>
                  </a:extLst>
                </a:gridCol>
                <a:gridCol w="977030">
                  <a:extLst>
                    <a:ext uri="{9D8B030D-6E8A-4147-A177-3AD203B41FA5}">
                      <a16:colId xmlns:a16="http://schemas.microsoft.com/office/drawing/2014/main" val="1987927976"/>
                    </a:ext>
                  </a:extLst>
                </a:gridCol>
                <a:gridCol w="3931920">
                  <a:extLst>
                    <a:ext uri="{9D8B030D-6E8A-4147-A177-3AD203B41FA5}">
                      <a16:colId xmlns:a16="http://schemas.microsoft.com/office/drawing/2014/main" val="2079761911"/>
                    </a:ext>
                  </a:extLst>
                </a:gridCol>
                <a:gridCol w="5303520">
                  <a:extLst>
                    <a:ext uri="{9D8B030D-6E8A-4147-A177-3AD203B41FA5}">
                      <a16:colId xmlns:a16="http://schemas.microsoft.com/office/drawing/2014/main" val="15989393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.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-sector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cation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oal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ential Participation from Investor/Interested Party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487976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lid waste managemen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santar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ste to Energy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KN with net zero emission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rting Management to Waste Processing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aste Reduction (reduce, reuse, recycle)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rting from the source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ual rate of solid waste generation reduction up to 2.5% until 2045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lication of IoT-based instruments to monitor residues and recycled product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cal assistance in planning, design, development and management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technology for solid waste management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and Development Partnership.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for Service Operator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in Waste to Energy Plant Development</a:t>
                      </a:r>
                    </a:p>
                    <a:p>
                      <a:pPr marL="225425" indent="-225425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 and DBO for:</a:t>
                      </a:r>
                    </a:p>
                    <a:p>
                      <a:pPr marL="4000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ganic recycling for agricultural products</a:t>
                      </a:r>
                    </a:p>
                    <a:p>
                      <a:pPr marL="4000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w material recycles and treatments from urban waste (steel, plastic, PET, glass powder, paper pulp)</a:t>
                      </a:r>
                    </a:p>
                    <a:p>
                      <a:pPr marL="400050" indent="-171450">
                        <a:buFont typeface="Courier New" panose="02070309020205020404" pitchFamily="49" charset="0"/>
                        <a:buChar char="o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l waste processing with audited emissions budget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0024005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w water suppl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santara and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ast Kalimantan</a:t>
                      </a:r>
                    </a:p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nce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fe, reliable, and sustainable water supply to provided whole demands of the population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cal assistance in planning, design, development, management, and performanc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technology for operation, monitoring, and maintenanc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and development partnership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tential collaboration for floating solar PV development on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aku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oi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servoir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: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05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forms of cooperation with private sector should be considering the Law No. 17 on Water Resources of 2019 and the Presidential Regulation No. 16 on Procure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11952929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using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santar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ousing provision for gov’t officials and general public in accordance with the predetermined specification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% eco-friendly construction for every residential and commercial buildings (site, energy, water and green optimalization)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-minute walking to essential facilities and public transport nodes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t zero emission through energy, water and material efficiency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mart building application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ical assistance in planning, design, development and managemen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vanced Technology for Green &amp; Smart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and Development Partnership.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or Service Partnership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 and/ Design-Build-Operat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ship in Plant/</a:t>
                      </a:r>
                      <a:r>
                        <a:rPr lang="en-US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ldg</a:t>
                      </a: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velopment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ng and Maintenance Services (PPP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 for Advisor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529118027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5F18352-4D62-56D3-C2AD-A811C89E10DC}"/>
              </a:ext>
            </a:extLst>
          </p:cNvPr>
          <p:cNvSpPr txBox="1"/>
          <p:nvPr/>
        </p:nvSpPr>
        <p:spPr>
          <a:xfrm>
            <a:off x="-40146" y="6643072"/>
            <a:ext cx="752719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ource: Ministry of Planning/</a:t>
            </a:r>
            <a:r>
              <a:rPr kumimoji="0" lang="en-US" sz="1200" b="0" i="0" u="none" strike="noStrike" kern="1200" cap="none" spc="-3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appenas</a:t>
            </a:r>
            <a:r>
              <a:rPr kumimoji="0" lang="en-US" sz="1200" b="0" i="0" u="none" strike="noStrike" kern="1200" cap="none" spc="-3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2022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E6FEA6B-F29C-4BCD-AFCF-D32EE1E3A91E}"/>
              </a:ext>
            </a:extLst>
          </p:cNvPr>
          <p:cNvSpPr/>
          <p:nvPr/>
        </p:nvSpPr>
        <p:spPr>
          <a:xfrm>
            <a:off x="294968" y="157862"/>
            <a:ext cx="2340077" cy="461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D9BF2D-01D3-4E90-AA9B-DE41FEA2A9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717" y="-233200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7288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object 8">
            <a:extLst>
              <a:ext uri="{FF2B5EF4-FFF2-40B4-BE49-F238E27FC236}">
                <a16:creationId xmlns:a16="http://schemas.microsoft.com/office/drawing/2014/main" id="{6472DB3A-EB53-43C7-8150-65124BB1C725}"/>
              </a:ext>
            </a:extLst>
          </p:cNvPr>
          <p:cNvSpPr/>
          <p:nvPr/>
        </p:nvSpPr>
        <p:spPr>
          <a:xfrm>
            <a:off x="1316735" y="2426142"/>
            <a:ext cx="1359535" cy="1033780"/>
          </a:xfrm>
          <a:custGeom>
            <a:avLst/>
            <a:gdLst/>
            <a:ahLst/>
            <a:cxnLst/>
            <a:rect l="l" t="t" r="r" b="b"/>
            <a:pathLst>
              <a:path w="1359535" h="1033779">
                <a:moveTo>
                  <a:pt x="1308227" y="0"/>
                </a:moveTo>
                <a:lnTo>
                  <a:pt x="51180" y="0"/>
                </a:lnTo>
                <a:lnTo>
                  <a:pt x="31236" y="4524"/>
                </a:lnTo>
                <a:lnTo>
                  <a:pt x="14970" y="16859"/>
                </a:lnTo>
                <a:lnTo>
                  <a:pt x="4014" y="35147"/>
                </a:lnTo>
                <a:lnTo>
                  <a:pt x="0" y="57531"/>
                </a:lnTo>
                <a:lnTo>
                  <a:pt x="0" y="975741"/>
                </a:lnTo>
                <a:lnTo>
                  <a:pt x="4032" y="998178"/>
                </a:lnTo>
                <a:lnTo>
                  <a:pt x="15017" y="1016460"/>
                </a:lnTo>
                <a:lnTo>
                  <a:pt x="31289" y="1028765"/>
                </a:lnTo>
                <a:lnTo>
                  <a:pt x="51180" y="1033272"/>
                </a:lnTo>
                <a:lnTo>
                  <a:pt x="1308227" y="1033272"/>
                </a:lnTo>
                <a:lnTo>
                  <a:pt x="1328171" y="1028747"/>
                </a:lnTo>
                <a:lnTo>
                  <a:pt x="1344437" y="1016412"/>
                </a:lnTo>
                <a:lnTo>
                  <a:pt x="1355393" y="998124"/>
                </a:lnTo>
                <a:lnTo>
                  <a:pt x="1359408" y="975741"/>
                </a:lnTo>
                <a:lnTo>
                  <a:pt x="1359408" y="57531"/>
                </a:lnTo>
                <a:lnTo>
                  <a:pt x="1355375" y="35093"/>
                </a:lnTo>
                <a:lnTo>
                  <a:pt x="1344390" y="16811"/>
                </a:lnTo>
                <a:lnTo>
                  <a:pt x="1328118" y="4506"/>
                </a:lnTo>
                <a:lnTo>
                  <a:pt x="1308227" y="0"/>
                </a:lnTo>
                <a:close/>
              </a:path>
            </a:pathLst>
          </a:custGeom>
          <a:solidFill>
            <a:srgbClr val="C12F1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17EBDF-B860-4591-8776-95967A3BF4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6" y="-76052"/>
            <a:ext cx="4435341" cy="1197425"/>
          </a:xfrm>
          <a:prstGeom prst="rect">
            <a:avLst/>
          </a:prstGeom>
        </p:spPr>
      </p:pic>
      <p:sp>
        <p:nvSpPr>
          <p:cNvPr id="125" name="Rectangle 124">
            <a:extLst>
              <a:ext uri="{FF2B5EF4-FFF2-40B4-BE49-F238E27FC236}">
                <a16:creationId xmlns:a16="http://schemas.microsoft.com/office/drawing/2014/main" id="{2E4D4490-5C61-4D83-B06B-C9E6E63B45D8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6CFA02-159F-4F13-9A75-68BDEF1ECFA7}"/>
              </a:ext>
            </a:extLst>
          </p:cNvPr>
          <p:cNvSpPr/>
          <p:nvPr/>
        </p:nvSpPr>
        <p:spPr>
          <a:xfrm>
            <a:off x="1907458" y="1887794"/>
            <a:ext cx="3893574" cy="1691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19" name="object 2">
            <a:extLst>
              <a:ext uri="{FF2B5EF4-FFF2-40B4-BE49-F238E27FC236}">
                <a16:creationId xmlns:a16="http://schemas.microsoft.com/office/drawing/2014/main" id="{508B3FFA-AA4A-4A9A-B593-DD9F9AD971F7}"/>
              </a:ext>
            </a:extLst>
          </p:cNvPr>
          <p:cNvSpPr txBox="1">
            <a:spLocks/>
          </p:cNvSpPr>
          <p:nvPr/>
        </p:nvSpPr>
        <p:spPr>
          <a:xfrm>
            <a:off x="2762865" y="651679"/>
            <a:ext cx="7584093" cy="76367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2700" algn="ctr">
              <a:spcBef>
                <a:spcPts val="95"/>
              </a:spcBef>
            </a:pPr>
            <a:r>
              <a:rPr lang="en-US" sz="2800" b="1" kern="0" dirty="0">
                <a:solidFill>
                  <a:schemeClr val="tx1"/>
                </a:solidFill>
                <a:latin typeface="Carlito"/>
              </a:rPr>
              <a:t>A More Business-Friendly Environment</a:t>
            </a:r>
            <a:br>
              <a:rPr lang="en-US" sz="2800" b="1" kern="0" dirty="0">
                <a:solidFill>
                  <a:schemeClr val="tx1"/>
                </a:solidFill>
                <a:latin typeface="Carlito"/>
              </a:rPr>
            </a:br>
            <a:r>
              <a:rPr lang="en-US" sz="2000" b="1" kern="0" spc="-10" dirty="0">
                <a:latin typeface="Carlito"/>
                <a:cs typeface="Carlito"/>
              </a:rPr>
              <a:t>Policies are increasingly open </a:t>
            </a:r>
            <a:r>
              <a:rPr lang="en-US" sz="2000" b="1" kern="0" spc="-10">
                <a:latin typeface="Carlito"/>
                <a:cs typeface="Carlito"/>
              </a:rPr>
              <a:t>to foreign </a:t>
            </a:r>
            <a:r>
              <a:rPr lang="en-US" sz="2000" b="1" kern="0" spc="-10" dirty="0">
                <a:latin typeface="Carlito"/>
                <a:cs typeface="Carlito"/>
              </a:rPr>
              <a:t>&amp; domestic investment</a:t>
            </a:r>
            <a:endParaRPr lang="en-US" sz="2800" b="1" kern="0" dirty="0">
              <a:solidFill>
                <a:schemeClr val="tx1"/>
              </a:solidFill>
              <a:latin typeface="Carlito"/>
            </a:endParaRPr>
          </a:p>
        </p:txBody>
      </p:sp>
      <p:sp>
        <p:nvSpPr>
          <p:cNvPr id="49" name="object 16">
            <a:extLst>
              <a:ext uri="{FF2B5EF4-FFF2-40B4-BE49-F238E27FC236}">
                <a16:creationId xmlns:a16="http://schemas.microsoft.com/office/drawing/2014/main" id="{681A1663-3F38-4A3C-ADF6-84B9AC92B453}"/>
              </a:ext>
            </a:extLst>
          </p:cNvPr>
          <p:cNvSpPr txBox="1"/>
          <p:nvPr/>
        </p:nvSpPr>
        <p:spPr>
          <a:xfrm>
            <a:off x="346446" y="5061933"/>
            <a:ext cx="5669216" cy="1276631"/>
          </a:xfrm>
          <a:prstGeom prst="rect">
            <a:avLst/>
          </a:prstGeom>
        </p:spPr>
        <p:txBody>
          <a:bodyPr vert="horz" wrap="square" lIns="0" tIns="11366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2000" b="1" spc="-25" dirty="0">
                <a:solidFill>
                  <a:srgbClr val="404040"/>
                </a:solidFill>
                <a:latin typeface="Carlito"/>
                <a:cs typeface="Carlito"/>
              </a:rPr>
              <a:t>Competitive minimum paid-up capital requirements</a:t>
            </a:r>
          </a:p>
          <a:p>
            <a:pPr marL="12700">
              <a:lnSpc>
                <a:spcPct val="100000"/>
              </a:lnSpc>
            </a:pPr>
            <a:r>
              <a:rPr lang="en-US" sz="1600" spc="-25" dirty="0">
                <a:solidFill>
                  <a:srgbClr val="404040"/>
                </a:solidFill>
                <a:latin typeface="Carlito"/>
                <a:cs typeface="Carlito"/>
              </a:rPr>
              <a:t>Minimum paid-up capital is IDR 10 billion (~US$700,000) for Foreign Direct Investment (PT PMA).</a:t>
            </a:r>
          </a:p>
          <a:p>
            <a:pPr marL="12700">
              <a:lnSpc>
                <a:spcPct val="100000"/>
              </a:lnSpc>
              <a:spcBef>
                <a:spcPts val="894"/>
              </a:spcBef>
            </a:pPr>
            <a:endParaRPr sz="1600" dirty="0">
              <a:latin typeface="Carlito"/>
              <a:cs typeface="Carlito"/>
            </a:endParaRPr>
          </a:p>
        </p:txBody>
      </p:sp>
      <p:sp>
        <p:nvSpPr>
          <p:cNvPr id="51" name="object 17">
            <a:extLst>
              <a:ext uri="{FF2B5EF4-FFF2-40B4-BE49-F238E27FC236}">
                <a16:creationId xmlns:a16="http://schemas.microsoft.com/office/drawing/2014/main" id="{5E04D3EB-3CFA-417F-8A6E-2063CF0521AB}"/>
              </a:ext>
            </a:extLst>
          </p:cNvPr>
          <p:cNvSpPr txBox="1"/>
          <p:nvPr/>
        </p:nvSpPr>
        <p:spPr>
          <a:xfrm>
            <a:off x="6153880" y="2411340"/>
            <a:ext cx="6259099" cy="10855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300990">
              <a:lnSpc>
                <a:spcPct val="100000"/>
              </a:lnSpc>
              <a:spcBef>
                <a:spcPts val="105"/>
              </a:spcBef>
            </a:pPr>
            <a:r>
              <a:rPr lang="en-US" b="1" spc="-5" dirty="0">
                <a:solidFill>
                  <a:srgbClr val="404040"/>
                </a:solidFill>
                <a:latin typeface="Carlito"/>
                <a:cs typeface="Carlito"/>
              </a:rPr>
              <a:t>Business license process and investment facilities are centralized &amp; simpler at the Ministry of Investment/BKPM</a:t>
            </a:r>
          </a:p>
          <a:p>
            <a:pPr marL="12700" marR="300990">
              <a:lnSpc>
                <a:spcPct val="100000"/>
              </a:lnSpc>
              <a:spcBef>
                <a:spcPts val="105"/>
              </a:spcBef>
            </a:pPr>
            <a:r>
              <a:rPr lang="en-US" sz="1600" spc="-5" dirty="0">
                <a:solidFill>
                  <a:srgbClr val="404040"/>
                </a:solidFill>
                <a:latin typeface="Carlito"/>
                <a:cs typeface="Carlito"/>
              </a:rPr>
              <a:t>Ministry of Investment/ BKPM issues permits and facilities for all</a:t>
            </a:r>
          </a:p>
          <a:p>
            <a:pPr marL="12700" marR="300990">
              <a:lnSpc>
                <a:spcPct val="100000"/>
              </a:lnSpc>
              <a:spcBef>
                <a:spcPts val="105"/>
              </a:spcBef>
            </a:pPr>
            <a:r>
              <a:rPr lang="en-US" sz="1600" spc="-5" dirty="0">
                <a:solidFill>
                  <a:srgbClr val="404040"/>
                </a:solidFill>
                <a:latin typeface="Carlito"/>
                <a:cs typeface="Carlito"/>
              </a:rPr>
              <a:t>sectors through the Online Single Submission (OSS) system.</a:t>
            </a:r>
          </a:p>
        </p:txBody>
      </p:sp>
      <p:sp>
        <p:nvSpPr>
          <p:cNvPr id="52" name="object 18">
            <a:extLst>
              <a:ext uri="{FF2B5EF4-FFF2-40B4-BE49-F238E27FC236}">
                <a16:creationId xmlns:a16="http://schemas.microsoft.com/office/drawing/2014/main" id="{47FA02EE-9382-4B9F-9B43-72F1A58ADBAA}"/>
              </a:ext>
            </a:extLst>
          </p:cNvPr>
          <p:cNvSpPr txBox="1"/>
          <p:nvPr/>
        </p:nvSpPr>
        <p:spPr>
          <a:xfrm>
            <a:off x="6336405" y="4139620"/>
            <a:ext cx="4602480" cy="3052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1900" b="1" spc="-10" dirty="0">
                <a:solidFill>
                  <a:srgbClr val="404040"/>
                </a:solidFill>
                <a:latin typeface="Carlito"/>
                <a:cs typeface="Carlito"/>
              </a:rPr>
              <a:t>Corporate Tax Income Reduction</a:t>
            </a:r>
            <a:endParaRPr sz="1900" dirty="0">
              <a:latin typeface="Carlito"/>
              <a:cs typeface="Carlito"/>
            </a:endParaRPr>
          </a:p>
        </p:txBody>
      </p:sp>
      <p:sp>
        <p:nvSpPr>
          <p:cNvPr id="55" name="object 21">
            <a:extLst>
              <a:ext uri="{FF2B5EF4-FFF2-40B4-BE49-F238E27FC236}">
                <a16:creationId xmlns:a16="http://schemas.microsoft.com/office/drawing/2014/main" id="{B2994992-B453-41DD-8E87-17EBCC1CA5C7}"/>
              </a:ext>
            </a:extLst>
          </p:cNvPr>
          <p:cNvSpPr txBox="1"/>
          <p:nvPr/>
        </p:nvSpPr>
        <p:spPr>
          <a:xfrm>
            <a:off x="1482344" y="2549144"/>
            <a:ext cx="1096424" cy="922497"/>
          </a:xfrm>
          <a:prstGeom prst="rect">
            <a:avLst/>
          </a:prstGeom>
        </p:spPr>
        <p:txBody>
          <a:bodyPr vert="horz" wrap="square" lIns="0" tIns="55880" rIns="0" bIns="0" rtlCol="0">
            <a:spAutoFit/>
          </a:bodyPr>
          <a:lstStyle/>
          <a:p>
            <a:pPr marL="12065" marR="5080" indent="1270" algn="ctr">
              <a:lnSpc>
                <a:spcPct val="80000"/>
              </a:lnSpc>
              <a:spcBef>
                <a:spcPts val="440"/>
              </a:spcBef>
            </a:pPr>
            <a:r>
              <a:rPr lang="en-US" sz="1400" b="1" spc="-5" dirty="0">
                <a:solidFill>
                  <a:srgbClr val="FFFFFF"/>
                </a:solidFill>
                <a:latin typeface="Carlito"/>
                <a:cs typeface="Carlito"/>
              </a:rPr>
              <a:t>Limitation of foreign ownership in 515 business fields</a:t>
            </a:r>
            <a:endParaRPr sz="1400" dirty="0">
              <a:latin typeface="Carlito"/>
              <a:cs typeface="Carlito"/>
            </a:endParaRPr>
          </a:p>
        </p:txBody>
      </p:sp>
      <p:sp>
        <p:nvSpPr>
          <p:cNvPr id="60" name="object 26">
            <a:extLst>
              <a:ext uri="{FF2B5EF4-FFF2-40B4-BE49-F238E27FC236}">
                <a16:creationId xmlns:a16="http://schemas.microsoft.com/office/drawing/2014/main" id="{3EFD7719-0EAD-481E-B5F7-0D9543D4519D}"/>
              </a:ext>
            </a:extLst>
          </p:cNvPr>
          <p:cNvSpPr txBox="1"/>
          <p:nvPr/>
        </p:nvSpPr>
        <p:spPr>
          <a:xfrm>
            <a:off x="341501" y="4051141"/>
            <a:ext cx="5626252" cy="914993"/>
          </a:xfrm>
          <a:prstGeom prst="rect">
            <a:avLst/>
          </a:prstGeom>
        </p:spPr>
        <p:txBody>
          <a:bodyPr vert="horz" wrap="square" lIns="0" tIns="113664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en-US" sz="2000" b="1" spc="-5" dirty="0">
                <a:solidFill>
                  <a:srgbClr val="404040"/>
                </a:solidFill>
                <a:latin typeface="Carlito"/>
                <a:cs typeface="Carlito"/>
              </a:rPr>
              <a:t>Licensing according to the business risk approach</a:t>
            </a:r>
          </a:p>
          <a:p>
            <a:pPr marL="12700">
              <a:lnSpc>
                <a:spcPct val="100000"/>
              </a:lnSpc>
            </a:pPr>
            <a:r>
              <a:rPr lang="en-US" sz="1600" b="1" spc="-5" dirty="0">
                <a:solidFill>
                  <a:srgbClr val="404040"/>
                </a:solidFill>
                <a:latin typeface="Carlito"/>
                <a:cs typeface="Carlito"/>
              </a:rPr>
              <a:t>No more “one size fits all”: </a:t>
            </a:r>
            <a:r>
              <a:rPr lang="en-US" sz="1600" spc="-5" dirty="0">
                <a:solidFill>
                  <a:srgbClr val="404040"/>
                </a:solidFill>
                <a:latin typeface="Carlito"/>
                <a:cs typeface="Carlito"/>
              </a:rPr>
              <a:t>The lower the risk of a business activity, the simpler the permits required.</a:t>
            </a:r>
          </a:p>
        </p:txBody>
      </p:sp>
      <p:sp>
        <p:nvSpPr>
          <p:cNvPr id="61" name="object 27">
            <a:extLst>
              <a:ext uri="{FF2B5EF4-FFF2-40B4-BE49-F238E27FC236}">
                <a16:creationId xmlns:a16="http://schemas.microsoft.com/office/drawing/2014/main" id="{6487EC62-ABDC-4EF9-8A9C-D14D9BA39B6D}"/>
              </a:ext>
            </a:extLst>
          </p:cNvPr>
          <p:cNvSpPr txBox="1"/>
          <p:nvPr/>
        </p:nvSpPr>
        <p:spPr>
          <a:xfrm>
            <a:off x="3716528" y="2688463"/>
            <a:ext cx="1006475" cy="581025"/>
          </a:xfrm>
          <a:prstGeom prst="rect">
            <a:avLst/>
          </a:prstGeom>
        </p:spPr>
        <p:txBody>
          <a:bodyPr vert="horz" wrap="square" lIns="0" tIns="55880" rIns="0" bIns="0" rtlCol="0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440"/>
              </a:spcBef>
            </a:pPr>
            <a:r>
              <a:rPr sz="1400" b="1" dirty="0">
                <a:solidFill>
                  <a:srgbClr val="FFFFFF"/>
                </a:solidFill>
                <a:latin typeface="Carlito"/>
                <a:cs typeface="Carlito"/>
              </a:rPr>
              <a:t>Insentif </a:t>
            </a:r>
            <a:r>
              <a:rPr sz="1400" b="1" spc="-5" dirty="0">
                <a:solidFill>
                  <a:srgbClr val="FFFFFF"/>
                </a:solidFill>
                <a:latin typeface="Carlito"/>
                <a:cs typeface="Carlito"/>
              </a:rPr>
              <a:t>bagi  </a:t>
            </a:r>
            <a:r>
              <a:rPr sz="1400" b="1" dirty="0">
                <a:solidFill>
                  <a:srgbClr val="FFFFFF"/>
                </a:solidFill>
                <a:latin typeface="Carlito"/>
                <a:cs typeface="Carlito"/>
              </a:rPr>
              <a:t>bidang</a:t>
            </a:r>
            <a:r>
              <a:rPr sz="1400" b="1" spc="-110" dirty="0">
                <a:solidFill>
                  <a:srgbClr val="FFFFFF"/>
                </a:solidFill>
                <a:latin typeface="Carlito"/>
                <a:cs typeface="Carlito"/>
              </a:rPr>
              <a:t> </a:t>
            </a:r>
            <a:r>
              <a:rPr sz="1400" b="1" dirty="0">
                <a:solidFill>
                  <a:srgbClr val="FFFFFF"/>
                </a:solidFill>
                <a:latin typeface="Carlito"/>
                <a:cs typeface="Carlito"/>
              </a:rPr>
              <a:t>usaha  prioritas</a:t>
            </a:r>
            <a:endParaRPr sz="1400">
              <a:latin typeface="Carlito"/>
              <a:cs typeface="Carlito"/>
            </a:endParaRPr>
          </a:p>
        </p:txBody>
      </p:sp>
      <p:sp>
        <p:nvSpPr>
          <p:cNvPr id="63" name="object 12">
            <a:extLst>
              <a:ext uri="{FF2B5EF4-FFF2-40B4-BE49-F238E27FC236}">
                <a16:creationId xmlns:a16="http://schemas.microsoft.com/office/drawing/2014/main" id="{675735FF-EC82-42B0-8413-9CAC60488735}"/>
              </a:ext>
            </a:extLst>
          </p:cNvPr>
          <p:cNvSpPr/>
          <p:nvPr/>
        </p:nvSpPr>
        <p:spPr>
          <a:xfrm>
            <a:off x="3576827" y="2447478"/>
            <a:ext cx="1292860" cy="1039494"/>
          </a:xfrm>
          <a:custGeom>
            <a:avLst/>
            <a:gdLst/>
            <a:ahLst/>
            <a:cxnLst/>
            <a:rect l="l" t="t" r="r" b="b"/>
            <a:pathLst>
              <a:path w="1292860" h="1039495">
                <a:moveTo>
                  <a:pt x="1243711" y="0"/>
                </a:moveTo>
                <a:lnTo>
                  <a:pt x="48641" y="0"/>
                </a:lnTo>
                <a:lnTo>
                  <a:pt x="29682" y="4566"/>
                </a:lnTo>
                <a:lnTo>
                  <a:pt x="14224" y="17002"/>
                </a:lnTo>
                <a:lnTo>
                  <a:pt x="3813" y="35415"/>
                </a:lnTo>
                <a:lnTo>
                  <a:pt x="0" y="57912"/>
                </a:lnTo>
                <a:lnTo>
                  <a:pt x="0" y="981456"/>
                </a:lnTo>
                <a:lnTo>
                  <a:pt x="3831" y="1004060"/>
                </a:lnTo>
                <a:lnTo>
                  <a:pt x="14271" y="1022461"/>
                </a:lnTo>
                <a:lnTo>
                  <a:pt x="29735" y="1034837"/>
                </a:lnTo>
                <a:lnTo>
                  <a:pt x="48641" y="1039368"/>
                </a:lnTo>
                <a:lnTo>
                  <a:pt x="1243711" y="1039368"/>
                </a:lnTo>
                <a:lnTo>
                  <a:pt x="1262669" y="1034801"/>
                </a:lnTo>
                <a:lnTo>
                  <a:pt x="1278127" y="1022365"/>
                </a:lnTo>
                <a:lnTo>
                  <a:pt x="1288538" y="1003952"/>
                </a:lnTo>
                <a:lnTo>
                  <a:pt x="1292352" y="981456"/>
                </a:lnTo>
                <a:lnTo>
                  <a:pt x="1292352" y="57912"/>
                </a:lnTo>
                <a:lnTo>
                  <a:pt x="1288520" y="35307"/>
                </a:lnTo>
                <a:lnTo>
                  <a:pt x="1278080" y="16906"/>
                </a:lnTo>
                <a:lnTo>
                  <a:pt x="1262616" y="4530"/>
                </a:lnTo>
                <a:lnTo>
                  <a:pt x="1243711" y="0"/>
                </a:lnTo>
                <a:close/>
              </a:path>
            </a:pathLst>
          </a:custGeom>
          <a:solidFill>
            <a:srgbClr val="7792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BF9F05D-4408-45E9-BBB1-1F7B52F0303D}"/>
              </a:ext>
            </a:extLst>
          </p:cNvPr>
          <p:cNvSpPr txBox="1"/>
          <p:nvPr/>
        </p:nvSpPr>
        <p:spPr>
          <a:xfrm>
            <a:off x="3397462" y="2634502"/>
            <a:ext cx="1682377" cy="6136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2700" marR="5080" algn="ctr">
              <a:lnSpc>
                <a:spcPct val="80000"/>
              </a:lnSpc>
              <a:spcBef>
                <a:spcPts val="440"/>
              </a:spcBef>
            </a:pPr>
            <a:r>
              <a:rPr lang="en-US" sz="1400" b="1" dirty="0">
                <a:solidFill>
                  <a:srgbClr val="FFFFFF"/>
                </a:solidFill>
                <a:latin typeface="Carlito"/>
                <a:cs typeface="Carlito"/>
              </a:rPr>
              <a:t>Incentives for priority business fields</a:t>
            </a:r>
            <a:endParaRPr lang="en-US" sz="1400" dirty="0">
              <a:latin typeface="Carlito"/>
              <a:cs typeface="Carlito"/>
            </a:endParaRPr>
          </a:p>
        </p:txBody>
      </p:sp>
      <p:sp>
        <p:nvSpPr>
          <p:cNvPr id="87" name="object 7">
            <a:extLst>
              <a:ext uri="{FF2B5EF4-FFF2-40B4-BE49-F238E27FC236}">
                <a16:creationId xmlns:a16="http://schemas.microsoft.com/office/drawing/2014/main" id="{FD210755-74C6-4147-91B0-D916E7D034CC}"/>
              </a:ext>
            </a:extLst>
          </p:cNvPr>
          <p:cNvSpPr/>
          <p:nvPr/>
        </p:nvSpPr>
        <p:spPr>
          <a:xfrm>
            <a:off x="1519299" y="1654617"/>
            <a:ext cx="954405" cy="771525"/>
          </a:xfrm>
          <a:custGeom>
            <a:avLst/>
            <a:gdLst/>
            <a:ahLst/>
            <a:cxnLst/>
            <a:rect l="l" t="t" r="r" b="b"/>
            <a:pathLst>
              <a:path w="954405" h="771525">
                <a:moveTo>
                  <a:pt x="477012" y="0"/>
                </a:moveTo>
                <a:lnTo>
                  <a:pt x="425111" y="2368"/>
                </a:lnTo>
                <a:lnTo>
                  <a:pt x="374810" y="9308"/>
                </a:lnTo>
                <a:lnTo>
                  <a:pt x="326404" y="20571"/>
                </a:lnTo>
                <a:lnTo>
                  <a:pt x="280184" y="35911"/>
                </a:lnTo>
                <a:lnTo>
                  <a:pt x="236445" y="55080"/>
                </a:lnTo>
                <a:lnTo>
                  <a:pt x="195480" y="77829"/>
                </a:lnTo>
                <a:lnTo>
                  <a:pt x="157582" y="103912"/>
                </a:lnTo>
                <a:lnTo>
                  <a:pt x="123043" y="133080"/>
                </a:lnTo>
                <a:lnTo>
                  <a:pt x="92159" y="165085"/>
                </a:lnTo>
                <a:lnTo>
                  <a:pt x="65221" y="199681"/>
                </a:lnTo>
                <a:lnTo>
                  <a:pt x="42523" y="236619"/>
                </a:lnTo>
                <a:lnTo>
                  <a:pt x="24359" y="275652"/>
                </a:lnTo>
                <a:lnTo>
                  <a:pt x="11022" y="316533"/>
                </a:lnTo>
                <a:lnTo>
                  <a:pt x="2804" y="359012"/>
                </a:lnTo>
                <a:lnTo>
                  <a:pt x="0" y="402844"/>
                </a:lnTo>
                <a:lnTo>
                  <a:pt x="0" y="771144"/>
                </a:lnTo>
                <a:lnTo>
                  <a:pt x="131826" y="771144"/>
                </a:lnTo>
                <a:lnTo>
                  <a:pt x="131826" y="402844"/>
                </a:lnTo>
                <a:lnTo>
                  <a:pt x="135574" y="359844"/>
                </a:lnTo>
                <a:lnTo>
                  <a:pt x="146462" y="318780"/>
                </a:lnTo>
                <a:lnTo>
                  <a:pt x="163951" y="280106"/>
                </a:lnTo>
                <a:lnTo>
                  <a:pt x="187505" y="244278"/>
                </a:lnTo>
                <a:lnTo>
                  <a:pt x="216584" y="211750"/>
                </a:lnTo>
                <a:lnTo>
                  <a:pt x="250653" y="182977"/>
                </a:lnTo>
                <a:lnTo>
                  <a:pt x="289172" y="158415"/>
                </a:lnTo>
                <a:lnTo>
                  <a:pt x="331606" y="138519"/>
                </a:lnTo>
                <a:lnTo>
                  <a:pt x="377415" y="123745"/>
                </a:lnTo>
                <a:lnTo>
                  <a:pt x="426063" y="114546"/>
                </a:lnTo>
                <a:lnTo>
                  <a:pt x="477012" y="111378"/>
                </a:lnTo>
                <a:lnTo>
                  <a:pt x="527960" y="114546"/>
                </a:lnTo>
                <a:lnTo>
                  <a:pt x="576608" y="123745"/>
                </a:lnTo>
                <a:lnTo>
                  <a:pt x="622417" y="138519"/>
                </a:lnTo>
                <a:lnTo>
                  <a:pt x="664851" y="158415"/>
                </a:lnTo>
                <a:lnTo>
                  <a:pt x="703370" y="182977"/>
                </a:lnTo>
                <a:lnTo>
                  <a:pt x="737439" y="211750"/>
                </a:lnTo>
                <a:lnTo>
                  <a:pt x="766518" y="244278"/>
                </a:lnTo>
                <a:lnTo>
                  <a:pt x="790072" y="280106"/>
                </a:lnTo>
                <a:lnTo>
                  <a:pt x="807561" y="318780"/>
                </a:lnTo>
                <a:lnTo>
                  <a:pt x="818449" y="359844"/>
                </a:lnTo>
                <a:lnTo>
                  <a:pt x="822197" y="402844"/>
                </a:lnTo>
                <a:lnTo>
                  <a:pt x="822197" y="771144"/>
                </a:lnTo>
                <a:lnTo>
                  <a:pt x="954023" y="771144"/>
                </a:lnTo>
                <a:lnTo>
                  <a:pt x="954023" y="402844"/>
                </a:lnTo>
                <a:lnTo>
                  <a:pt x="951219" y="359012"/>
                </a:lnTo>
                <a:lnTo>
                  <a:pt x="943001" y="316533"/>
                </a:lnTo>
                <a:lnTo>
                  <a:pt x="929664" y="275652"/>
                </a:lnTo>
                <a:lnTo>
                  <a:pt x="911500" y="236619"/>
                </a:lnTo>
                <a:lnTo>
                  <a:pt x="888802" y="199681"/>
                </a:lnTo>
                <a:lnTo>
                  <a:pt x="861864" y="165085"/>
                </a:lnTo>
                <a:lnTo>
                  <a:pt x="830980" y="133080"/>
                </a:lnTo>
                <a:lnTo>
                  <a:pt x="796441" y="103912"/>
                </a:lnTo>
                <a:lnTo>
                  <a:pt x="758543" y="77829"/>
                </a:lnTo>
                <a:lnTo>
                  <a:pt x="717578" y="55080"/>
                </a:lnTo>
                <a:lnTo>
                  <a:pt x="673839" y="35911"/>
                </a:lnTo>
                <a:lnTo>
                  <a:pt x="627619" y="20571"/>
                </a:lnTo>
                <a:lnTo>
                  <a:pt x="579213" y="9308"/>
                </a:lnTo>
                <a:lnTo>
                  <a:pt x="528912" y="2368"/>
                </a:lnTo>
                <a:lnTo>
                  <a:pt x="477012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7">
            <a:extLst>
              <a:ext uri="{FF2B5EF4-FFF2-40B4-BE49-F238E27FC236}">
                <a16:creationId xmlns:a16="http://schemas.microsoft.com/office/drawing/2014/main" id="{55A62EDC-BC4D-4F94-8CA0-19099400861A}"/>
              </a:ext>
            </a:extLst>
          </p:cNvPr>
          <p:cNvSpPr/>
          <p:nvPr/>
        </p:nvSpPr>
        <p:spPr>
          <a:xfrm>
            <a:off x="3750311" y="1680716"/>
            <a:ext cx="954405" cy="771525"/>
          </a:xfrm>
          <a:custGeom>
            <a:avLst/>
            <a:gdLst/>
            <a:ahLst/>
            <a:cxnLst/>
            <a:rect l="l" t="t" r="r" b="b"/>
            <a:pathLst>
              <a:path w="954405" h="771525">
                <a:moveTo>
                  <a:pt x="477012" y="0"/>
                </a:moveTo>
                <a:lnTo>
                  <a:pt x="425111" y="2368"/>
                </a:lnTo>
                <a:lnTo>
                  <a:pt x="374810" y="9308"/>
                </a:lnTo>
                <a:lnTo>
                  <a:pt x="326404" y="20571"/>
                </a:lnTo>
                <a:lnTo>
                  <a:pt x="280184" y="35911"/>
                </a:lnTo>
                <a:lnTo>
                  <a:pt x="236445" y="55080"/>
                </a:lnTo>
                <a:lnTo>
                  <a:pt x="195480" y="77829"/>
                </a:lnTo>
                <a:lnTo>
                  <a:pt x="157582" y="103912"/>
                </a:lnTo>
                <a:lnTo>
                  <a:pt x="123043" y="133080"/>
                </a:lnTo>
                <a:lnTo>
                  <a:pt x="92159" y="165085"/>
                </a:lnTo>
                <a:lnTo>
                  <a:pt x="65221" y="199681"/>
                </a:lnTo>
                <a:lnTo>
                  <a:pt x="42523" y="236619"/>
                </a:lnTo>
                <a:lnTo>
                  <a:pt x="24359" y="275652"/>
                </a:lnTo>
                <a:lnTo>
                  <a:pt x="11022" y="316533"/>
                </a:lnTo>
                <a:lnTo>
                  <a:pt x="2804" y="359012"/>
                </a:lnTo>
                <a:lnTo>
                  <a:pt x="0" y="402844"/>
                </a:lnTo>
                <a:lnTo>
                  <a:pt x="0" y="771144"/>
                </a:lnTo>
                <a:lnTo>
                  <a:pt x="131826" y="771144"/>
                </a:lnTo>
                <a:lnTo>
                  <a:pt x="131826" y="402844"/>
                </a:lnTo>
                <a:lnTo>
                  <a:pt x="135574" y="359844"/>
                </a:lnTo>
                <a:lnTo>
                  <a:pt x="146462" y="318780"/>
                </a:lnTo>
                <a:lnTo>
                  <a:pt x="163951" y="280106"/>
                </a:lnTo>
                <a:lnTo>
                  <a:pt x="187505" y="244278"/>
                </a:lnTo>
                <a:lnTo>
                  <a:pt x="216584" y="211750"/>
                </a:lnTo>
                <a:lnTo>
                  <a:pt x="250653" y="182977"/>
                </a:lnTo>
                <a:lnTo>
                  <a:pt x="289172" y="158415"/>
                </a:lnTo>
                <a:lnTo>
                  <a:pt x="331606" y="138519"/>
                </a:lnTo>
                <a:lnTo>
                  <a:pt x="377415" y="123745"/>
                </a:lnTo>
                <a:lnTo>
                  <a:pt x="426063" y="114546"/>
                </a:lnTo>
                <a:lnTo>
                  <a:pt x="477012" y="111378"/>
                </a:lnTo>
                <a:lnTo>
                  <a:pt x="527960" y="114546"/>
                </a:lnTo>
                <a:lnTo>
                  <a:pt x="576608" y="123745"/>
                </a:lnTo>
                <a:lnTo>
                  <a:pt x="622417" y="138519"/>
                </a:lnTo>
                <a:lnTo>
                  <a:pt x="664851" y="158415"/>
                </a:lnTo>
                <a:lnTo>
                  <a:pt x="703370" y="182977"/>
                </a:lnTo>
                <a:lnTo>
                  <a:pt x="737439" y="211750"/>
                </a:lnTo>
                <a:lnTo>
                  <a:pt x="766518" y="244278"/>
                </a:lnTo>
                <a:lnTo>
                  <a:pt x="790072" y="280106"/>
                </a:lnTo>
                <a:lnTo>
                  <a:pt x="807561" y="318780"/>
                </a:lnTo>
                <a:lnTo>
                  <a:pt x="818449" y="359844"/>
                </a:lnTo>
                <a:lnTo>
                  <a:pt x="822197" y="402844"/>
                </a:lnTo>
                <a:lnTo>
                  <a:pt x="822197" y="771144"/>
                </a:lnTo>
                <a:lnTo>
                  <a:pt x="954023" y="771144"/>
                </a:lnTo>
                <a:lnTo>
                  <a:pt x="954023" y="402844"/>
                </a:lnTo>
                <a:lnTo>
                  <a:pt x="951219" y="359012"/>
                </a:lnTo>
                <a:lnTo>
                  <a:pt x="943001" y="316533"/>
                </a:lnTo>
                <a:lnTo>
                  <a:pt x="929664" y="275652"/>
                </a:lnTo>
                <a:lnTo>
                  <a:pt x="911500" y="236619"/>
                </a:lnTo>
                <a:lnTo>
                  <a:pt x="888802" y="199681"/>
                </a:lnTo>
                <a:lnTo>
                  <a:pt x="861864" y="165085"/>
                </a:lnTo>
                <a:lnTo>
                  <a:pt x="830980" y="133080"/>
                </a:lnTo>
                <a:lnTo>
                  <a:pt x="796441" y="103912"/>
                </a:lnTo>
                <a:lnTo>
                  <a:pt x="758543" y="77829"/>
                </a:lnTo>
                <a:lnTo>
                  <a:pt x="717578" y="55080"/>
                </a:lnTo>
                <a:lnTo>
                  <a:pt x="673839" y="35911"/>
                </a:lnTo>
                <a:lnTo>
                  <a:pt x="627619" y="20571"/>
                </a:lnTo>
                <a:lnTo>
                  <a:pt x="579213" y="9308"/>
                </a:lnTo>
                <a:lnTo>
                  <a:pt x="528912" y="2368"/>
                </a:lnTo>
                <a:lnTo>
                  <a:pt x="477012" y="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0F335CA2-8A90-4591-9736-B95547A2AFD9}"/>
              </a:ext>
            </a:extLst>
          </p:cNvPr>
          <p:cNvGrpSpPr/>
          <p:nvPr/>
        </p:nvGrpSpPr>
        <p:grpSpPr>
          <a:xfrm>
            <a:off x="6096000" y="4462621"/>
            <a:ext cx="6096000" cy="1547730"/>
            <a:chOff x="666454" y="4996317"/>
            <a:chExt cx="6096000" cy="1547730"/>
          </a:xfrm>
        </p:grpSpPr>
        <p:sp>
          <p:nvSpPr>
            <p:cNvPr id="90" name="Arrow: Down 89">
              <a:extLst>
                <a:ext uri="{FF2B5EF4-FFF2-40B4-BE49-F238E27FC236}">
                  <a16:creationId xmlns:a16="http://schemas.microsoft.com/office/drawing/2014/main" id="{2D9DD8DD-D3FD-48BE-B6A3-625CC1CE1689}"/>
                </a:ext>
              </a:extLst>
            </p:cNvPr>
            <p:cNvSpPr/>
            <p:nvPr/>
          </p:nvSpPr>
          <p:spPr>
            <a:xfrm rot="16200000">
              <a:off x="3062891" y="5074131"/>
              <a:ext cx="1321097" cy="1396727"/>
            </a:xfrm>
            <a:prstGeom prst="downArrow">
              <a:avLst/>
            </a:prstGeom>
            <a:solidFill>
              <a:srgbClr val="1E487C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oxygenRegular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BDA6B91C-458D-4986-A6AA-07158C4E1FF3}"/>
                </a:ext>
              </a:extLst>
            </p:cNvPr>
            <p:cNvSpPr/>
            <p:nvPr/>
          </p:nvSpPr>
          <p:spPr>
            <a:xfrm>
              <a:off x="4761828" y="4996317"/>
              <a:ext cx="1495024" cy="1547730"/>
            </a:xfrm>
            <a:prstGeom prst="ellipse">
              <a:avLst/>
            </a:prstGeom>
            <a:solidFill>
              <a:srgbClr val="51C22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800" b="1" baseline="-25000">
                <a:solidFill>
                  <a:prstClr val="white"/>
                </a:solidFill>
                <a:latin typeface="oxygenRegular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42F6FF6E-1D73-45E4-8815-E4B723482242}"/>
                </a:ext>
              </a:extLst>
            </p:cNvPr>
            <p:cNvSpPr txBox="1"/>
            <p:nvPr/>
          </p:nvSpPr>
          <p:spPr>
            <a:xfrm>
              <a:off x="4590283" y="5193040"/>
              <a:ext cx="1838113" cy="844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solidFill>
                    <a:schemeClr val="bg1"/>
                  </a:solidFill>
                  <a:latin typeface="oxygenRegular"/>
                </a:rPr>
                <a:t>22%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91453F5E-6E8D-4F13-BF3C-0225B70858A6}"/>
                </a:ext>
              </a:extLst>
            </p:cNvPr>
            <p:cNvSpPr txBox="1"/>
            <p:nvPr/>
          </p:nvSpPr>
          <p:spPr>
            <a:xfrm>
              <a:off x="4335645" y="5833682"/>
              <a:ext cx="2426809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i="1" dirty="0">
                  <a:solidFill>
                    <a:schemeClr val="bg1"/>
                  </a:solidFill>
                  <a:latin typeface="oxygenRegular"/>
                </a:rPr>
                <a:t>2020 onwards</a:t>
              </a:r>
              <a:endParaRPr lang="en-US" i="1" dirty="0">
                <a:solidFill>
                  <a:schemeClr val="bg1"/>
                </a:solidFill>
                <a:latin typeface="oxygenRegular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7F372FDA-D4CC-4EF7-AA21-F171E7F741F4}"/>
                </a:ext>
              </a:extLst>
            </p:cNvPr>
            <p:cNvSpPr/>
            <p:nvPr/>
          </p:nvSpPr>
          <p:spPr>
            <a:xfrm>
              <a:off x="1175928" y="5000944"/>
              <a:ext cx="1493487" cy="1543103"/>
            </a:xfrm>
            <a:prstGeom prst="ellipse">
              <a:avLst/>
            </a:prstGeom>
            <a:solidFill>
              <a:srgbClr val="4A742E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800" baseline="-2500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oxygenRegular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BF162FD8-668E-479F-B7CF-473AC2447927}"/>
                </a:ext>
              </a:extLst>
            </p:cNvPr>
            <p:cNvSpPr txBox="1"/>
            <p:nvPr/>
          </p:nvSpPr>
          <p:spPr>
            <a:xfrm>
              <a:off x="1010650" y="5186790"/>
              <a:ext cx="190958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800" b="1" dirty="0">
                  <a:solidFill>
                    <a:schemeClr val="bg1"/>
                  </a:solidFill>
                  <a:latin typeface="oxygenRegular"/>
                </a:rPr>
                <a:t>25%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2541D423-9371-4774-9B7C-BF85279197BE}"/>
                </a:ext>
              </a:extLst>
            </p:cNvPr>
            <p:cNvSpPr txBox="1"/>
            <p:nvPr/>
          </p:nvSpPr>
          <p:spPr>
            <a:xfrm>
              <a:off x="666454" y="5880807"/>
              <a:ext cx="252116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i="1" dirty="0">
                  <a:solidFill>
                    <a:schemeClr val="bg1"/>
                  </a:solidFill>
                  <a:latin typeface="oxygenRegular"/>
                </a:rPr>
                <a:t>&lt; 202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07001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17EBDF-B860-4591-8776-95967A3BF4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6" y="-106009"/>
            <a:ext cx="4435341" cy="1197425"/>
          </a:xfrm>
          <a:prstGeom prst="rect">
            <a:avLst/>
          </a:prstGeom>
        </p:spPr>
      </p:pic>
      <p:sp>
        <p:nvSpPr>
          <p:cNvPr id="125" name="Rectangle 124">
            <a:extLst>
              <a:ext uri="{FF2B5EF4-FFF2-40B4-BE49-F238E27FC236}">
                <a16:creationId xmlns:a16="http://schemas.microsoft.com/office/drawing/2014/main" id="{2E4D4490-5C61-4D83-B06B-C9E6E63B45D8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7A17C41-15AF-49E1-90C7-736B108334A1}"/>
              </a:ext>
            </a:extLst>
          </p:cNvPr>
          <p:cNvSpPr txBox="1">
            <a:spLocks/>
          </p:cNvSpPr>
          <p:nvPr/>
        </p:nvSpPr>
        <p:spPr>
          <a:xfrm>
            <a:off x="1863625" y="730647"/>
            <a:ext cx="8464750" cy="6647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algn="ctr">
              <a:buSzPts val="3400"/>
            </a:pPr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Simplification of Business Licensing: Risk Based Licensing Approach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2F3557D-879A-41A9-B2FF-CB2D0CC85421}"/>
              </a:ext>
            </a:extLst>
          </p:cNvPr>
          <p:cNvGrpSpPr/>
          <p:nvPr/>
        </p:nvGrpSpPr>
        <p:grpSpPr>
          <a:xfrm>
            <a:off x="100436" y="1714173"/>
            <a:ext cx="6087714" cy="4840211"/>
            <a:chOff x="133293" y="1823902"/>
            <a:chExt cx="6087714" cy="4840211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1A81D39-9157-4D82-BD50-2991698F810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000"/>
            <a:stretch/>
          </p:blipFill>
          <p:spPr>
            <a:xfrm>
              <a:off x="133293" y="1875935"/>
              <a:ext cx="4956023" cy="4460421"/>
            </a:xfrm>
            <a:prstGeom prst="rect">
              <a:avLst/>
            </a:prstGeom>
          </p:spPr>
        </p:pic>
        <p:cxnSp>
          <p:nvCxnSpPr>
            <p:cNvPr id="13" name="Connector: Elbow 12">
              <a:extLst>
                <a:ext uri="{FF2B5EF4-FFF2-40B4-BE49-F238E27FC236}">
                  <a16:creationId xmlns:a16="http://schemas.microsoft.com/office/drawing/2014/main" id="{19BE278F-067D-4230-BD51-6419E00077D8}"/>
                </a:ext>
              </a:extLst>
            </p:cNvPr>
            <p:cNvCxnSpPr/>
            <p:nvPr/>
          </p:nvCxnSpPr>
          <p:spPr>
            <a:xfrm flipV="1">
              <a:off x="3388594" y="3078291"/>
              <a:ext cx="940434" cy="655513"/>
            </a:xfrm>
            <a:prstGeom prst="bentConnector3">
              <a:avLst/>
            </a:prstGeom>
            <a:noFill/>
            <a:ln w="28575" cap="flat" cmpd="sng" algn="ctr">
              <a:solidFill>
                <a:srgbClr val="1EADF9"/>
              </a:solidFill>
              <a:prstDash val="solid"/>
              <a:miter lim="800000"/>
            </a:ln>
            <a:effectLst/>
          </p:spPr>
        </p:cxn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E1A8A610-5948-4569-B768-AB611A29B59C}"/>
                </a:ext>
              </a:extLst>
            </p:cNvPr>
            <p:cNvSpPr/>
            <p:nvPr/>
          </p:nvSpPr>
          <p:spPr>
            <a:xfrm>
              <a:off x="4300410" y="2750534"/>
              <a:ext cx="1904038" cy="655513"/>
            </a:xfrm>
            <a:prstGeom prst="round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ow Risk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Only registration (NIB)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19485ED-C003-49F5-828E-A20C97EC0D0B}"/>
                </a:ext>
              </a:extLst>
            </p:cNvPr>
            <p:cNvSpPr/>
            <p:nvPr/>
          </p:nvSpPr>
          <p:spPr>
            <a:xfrm>
              <a:off x="4308933" y="3525868"/>
              <a:ext cx="1890808" cy="707391"/>
            </a:xfrm>
            <a:prstGeom prst="round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Lower Middle Risk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NIB + Certificate Standard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(SS) (*</a:t>
              </a:r>
              <a:r>
                <a:rPr kumimoji="0" lang="en-GB" sz="1100" b="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elf Declare</a:t>
              </a: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D549075C-D8B8-4860-9551-B895A87AD3F2}"/>
                </a:ext>
              </a:extLst>
            </p:cNvPr>
            <p:cNvCxnSpPr>
              <a:cxnSpLocks/>
              <a:endCxn id="15" idx="1"/>
            </p:cNvCxnSpPr>
            <p:nvPr/>
          </p:nvCxnSpPr>
          <p:spPr>
            <a:xfrm flipV="1">
              <a:off x="3417034" y="3879564"/>
              <a:ext cx="891899" cy="473516"/>
            </a:xfrm>
            <a:prstGeom prst="bentConnector3">
              <a:avLst/>
            </a:prstGeom>
            <a:noFill/>
            <a:ln w="28575" cap="flat" cmpd="sng" algn="ctr">
              <a:solidFill>
                <a:srgbClr val="1EADF9"/>
              </a:solidFill>
              <a:prstDash val="solid"/>
              <a:miter lim="800000"/>
            </a:ln>
            <a:effectLst/>
          </p:spPr>
        </p:cxn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7CB8EF8-562C-49B8-8BED-B528CC090E4D}"/>
                </a:ext>
              </a:extLst>
            </p:cNvPr>
            <p:cNvSpPr/>
            <p:nvPr/>
          </p:nvSpPr>
          <p:spPr>
            <a:xfrm>
              <a:off x="4339808" y="4353080"/>
              <a:ext cx="1881198" cy="707391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Upper Middle Ris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NIB + S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(*</a:t>
              </a:r>
              <a:r>
                <a:rPr kumimoji="0" lang="en-GB" sz="1100" b="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elf Declare</a:t>
              </a:r>
              <a:r>
                <a:rPr kumimoji="0" lang="en-GB" sz="11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) with Verification</a:t>
              </a:r>
            </a:p>
          </p:txBody>
        </p:sp>
        <p:cxnSp>
          <p:nvCxnSpPr>
            <p:cNvPr id="18" name="Connector: Elbow 17">
              <a:extLst>
                <a:ext uri="{FF2B5EF4-FFF2-40B4-BE49-F238E27FC236}">
                  <a16:creationId xmlns:a16="http://schemas.microsoft.com/office/drawing/2014/main" id="{0B2614A1-C984-4B1E-B158-48C6198EA78A}"/>
                </a:ext>
              </a:extLst>
            </p:cNvPr>
            <p:cNvCxnSpPr>
              <a:cxnSpLocks/>
              <a:endCxn id="17" idx="1"/>
            </p:cNvCxnSpPr>
            <p:nvPr/>
          </p:nvCxnSpPr>
          <p:spPr>
            <a:xfrm flipV="1">
              <a:off x="3415829" y="4706776"/>
              <a:ext cx="923979" cy="233874"/>
            </a:xfrm>
            <a:prstGeom prst="bentConnector3">
              <a:avLst/>
            </a:prstGeom>
            <a:noFill/>
            <a:ln w="28575" cap="flat" cmpd="sng" algn="ctr">
              <a:solidFill>
                <a:srgbClr val="1EADF9"/>
              </a:solidFill>
              <a:prstDash val="solid"/>
              <a:miter lim="800000"/>
            </a:ln>
            <a:effectLst/>
          </p:spPr>
        </p:cxn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D525AE64-0CD4-4587-82F1-A1E159F55856}"/>
                </a:ext>
              </a:extLst>
            </p:cNvPr>
            <p:cNvSpPr/>
            <p:nvPr/>
          </p:nvSpPr>
          <p:spPr>
            <a:xfrm>
              <a:off x="4329029" y="5212374"/>
              <a:ext cx="1891978" cy="145173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High Risk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NIB + Permit** (+SS**)</a:t>
              </a:r>
            </a:p>
            <a:p>
              <a:pPr defTabSz="914400"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(*</a:t>
              </a:r>
              <a:r>
                <a:rPr kumimoji="0" lang="en-GB" sz="1200" b="0" i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Self Declare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) with Verification</a:t>
              </a:r>
            </a:p>
            <a:p>
              <a:pPr defTabSz="914400">
                <a:defRPr/>
              </a:pPr>
              <a:r>
                <a:rPr lang="en-GB" sz="1200" kern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* Permit through verification</a:t>
              </a: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AD9E565-C6CA-413C-B4A0-71816F3EA78B}"/>
                </a:ext>
              </a:extLst>
            </p:cNvPr>
            <p:cNvSpPr txBox="1"/>
            <p:nvPr/>
          </p:nvSpPr>
          <p:spPr>
            <a:xfrm>
              <a:off x="252312" y="1823902"/>
              <a:ext cx="504118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Reform on Licensing Process to the Risk-Based Licensing Approach through Online Single Submission (OSS)</a:t>
              </a: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0B277B3-3347-4DFB-9AD9-9D2B29F0CC0F}"/>
              </a:ext>
            </a:extLst>
          </p:cNvPr>
          <p:cNvGrpSpPr/>
          <p:nvPr/>
        </p:nvGrpSpPr>
        <p:grpSpPr>
          <a:xfrm>
            <a:off x="6334230" y="1593441"/>
            <a:ext cx="5849640" cy="5526567"/>
            <a:chOff x="6095997" y="1632519"/>
            <a:chExt cx="5849640" cy="5526567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3C3E4B4-A9F6-4997-BE0D-FAFA3FD1EEB2}"/>
                </a:ext>
              </a:extLst>
            </p:cNvPr>
            <p:cNvGrpSpPr/>
            <p:nvPr/>
          </p:nvGrpSpPr>
          <p:grpSpPr>
            <a:xfrm>
              <a:off x="6095997" y="1632519"/>
              <a:ext cx="5849640" cy="5526567"/>
              <a:chOff x="6329701" y="1962719"/>
              <a:chExt cx="5849640" cy="5526567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4EC6280D-61F8-4857-917F-0DC3599919B0}"/>
                  </a:ext>
                </a:extLst>
              </p:cNvPr>
              <p:cNvGrpSpPr/>
              <p:nvPr/>
            </p:nvGrpSpPr>
            <p:grpSpPr>
              <a:xfrm>
                <a:off x="6329701" y="1962719"/>
                <a:ext cx="5849640" cy="5526567"/>
                <a:chOff x="6520204" y="1873819"/>
                <a:chExt cx="5849640" cy="5526567"/>
              </a:xfrm>
            </p:grpSpPr>
            <p:pic>
              <p:nvPicPr>
                <p:cNvPr id="26" name="Picture 25">
                  <a:extLst>
                    <a:ext uri="{FF2B5EF4-FFF2-40B4-BE49-F238E27FC236}">
                      <a16:creationId xmlns:a16="http://schemas.microsoft.com/office/drawing/2014/main" id="{291AF5A0-6D9C-4716-B9D2-FA609BCB01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>
                  <a:extLst>
                    <a:ext uri="{BEBA8EAE-BF5A-486C-A8C5-ECC9F3942E4B}">
                      <a14:imgProps xmlns:a14="http://schemas.microsoft.com/office/drawing/2010/main">
                        <a14:imgLayer r:embed="rId5">
                          <a14:imgEffect>
                            <a14:backgroundRemoval t="10000" b="90000" l="10000" r="9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03547" y="2939965"/>
                  <a:ext cx="4460421" cy="4460421"/>
                </a:xfrm>
                <a:prstGeom prst="rect">
                  <a:avLst/>
                </a:prstGeom>
              </p:spPr>
            </p:pic>
            <p:sp>
              <p:nvSpPr>
                <p:cNvPr id="27" name="TextBox 26">
                  <a:extLst>
                    <a:ext uri="{FF2B5EF4-FFF2-40B4-BE49-F238E27FC236}">
                      <a16:creationId xmlns:a16="http://schemas.microsoft.com/office/drawing/2014/main" id="{79D28097-6B21-4B73-A916-B05733777693}"/>
                    </a:ext>
                  </a:extLst>
                </p:cNvPr>
                <p:cNvSpPr txBox="1"/>
                <p:nvPr/>
              </p:nvSpPr>
              <p:spPr>
                <a:xfrm>
                  <a:off x="7487184" y="1873819"/>
                  <a:ext cx="3706588" cy="830997"/>
                </a:xfrm>
                <a:prstGeom prst="rect">
                  <a:avLst/>
                </a:prstGeom>
                <a:solidFill>
                  <a:sysClr val="window" lastClr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2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Basic Requirement of Business Licensing</a:t>
                  </a:r>
                </a:p>
              </p:txBody>
            </p:sp>
            <p:sp>
              <p:nvSpPr>
                <p:cNvPr id="28" name="TextBox 27">
                  <a:extLst>
                    <a:ext uri="{FF2B5EF4-FFF2-40B4-BE49-F238E27FC236}">
                      <a16:creationId xmlns:a16="http://schemas.microsoft.com/office/drawing/2014/main" id="{D05C6C1C-9A28-4FB2-A7AF-EB467676593E}"/>
                    </a:ext>
                  </a:extLst>
                </p:cNvPr>
                <p:cNvSpPr txBox="1"/>
                <p:nvPr/>
              </p:nvSpPr>
              <p:spPr>
                <a:xfrm>
                  <a:off x="7025711" y="2859871"/>
                  <a:ext cx="1623551" cy="73866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Spatial Conformity (KKPR)</a:t>
                  </a:r>
                </a:p>
              </p:txBody>
            </p:sp>
            <p:sp>
              <p:nvSpPr>
                <p:cNvPr id="29" name="Rectangle: Rounded Corners 12">
                  <a:extLst>
                    <a:ext uri="{FF2B5EF4-FFF2-40B4-BE49-F238E27FC236}">
                      <a16:creationId xmlns:a16="http://schemas.microsoft.com/office/drawing/2014/main" id="{3E02C37F-ECCD-4B69-AA53-6D9E1CCD20F3}"/>
                    </a:ext>
                  </a:extLst>
                </p:cNvPr>
                <p:cNvSpPr/>
                <p:nvPr/>
              </p:nvSpPr>
              <p:spPr>
                <a:xfrm>
                  <a:off x="6557625" y="3004135"/>
                  <a:ext cx="468086" cy="468086"/>
                </a:xfrm>
                <a:prstGeom prst="roundRect">
                  <a:avLst/>
                </a:prstGeom>
                <a:noFill/>
                <a:ln w="12700" cap="flat" cmpd="sng" algn="ctr">
                  <a:solidFill>
                    <a:srgbClr val="00DFC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30" name="Picture 29">
                  <a:extLst>
                    <a:ext uri="{FF2B5EF4-FFF2-40B4-BE49-F238E27FC236}">
                      <a16:creationId xmlns:a16="http://schemas.microsoft.com/office/drawing/2014/main" id="{D75172CD-C849-4007-96FE-593DD34015B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520204" y="2961271"/>
                  <a:ext cx="553814" cy="553814"/>
                </a:xfrm>
                <a:prstGeom prst="rect">
                  <a:avLst/>
                </a:prstGeom>
              </p:spPr>
            </p:pic>
            <p:cxnSp>
              <p:nvCxnSpPr>
                <p:cNvPr id="32" name="Connector: Elbow 16">
                  <a:extLst>
                    <a:ext uri="{FF2B5EF4-FFF2-40B4-BE49-F238E27FC236}">
                      <a16:creationId xmlns:a16="http://schemas.microsoft.com/office/drawing/2014/main" id="{B3DB4235-7AF3-457E-B93D-05DF99872247}"/>
                    </a:ext>
                  </a:extLst>
                </p:cNvPr>
                <p:cNvCxnSpPr>
                  <a:cxnSpLocks/>
                  <a:stCxn id="30" idx="2"/>
                </p:cNvCxnSpPr>
                <p:nvPr/>
              </p:nvCxnSpPr>
              <p:spPr>
                <a:xfrm rot="16200000" flipH="1">
                  <a:off x="6619660" y="3692536"/>
                  <a:ext cx="1517298" cy="1162396"/>
                </a:xfrm>
                <a:prstGeom prst="bentConnector3">
                  <a:avLst>
                    <a:gd name="adj1" fmla="val 100938"/>
                  </a:avLst>
                </a:prstGeom>
                <a:noFill/>
                <a:ln w="28575" cap="flat" cmpd="sng" algn="ctr">
                  <a:solidFill>
                    <a:srgbClr val="00DFC0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C0F44420-2925-49FE-8C38-942F171700BA}"/>
                    </a:ext>
                  </a:extLst>
                </p:cNvPr>
                <p:cNvSpPr txBox="1"/>
                <p:nvPr/>
              </p:nvSpPr>
              <p:spPr>
                <a:xfrm>
                  <a:off x="6998144" y="3576696"/>
                  <a:ext cx="1396902" cy="101566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92075" marR="0" lvl="0" indent="-92075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Details refer to GR 21 of 2021 and Govt. </a:t>
                  </a:r>
                  <a:r>
                    <a:rPr lang="en-US" sz="1200" b="1" i="1" dirty="0">
                      <a:solidFill>
                        <a:srgbClr val="44546A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egulation No</a:t>
                  </a:r>
                  <a:r>
                    <a:rPr kumimoji="0" lang="en-US" sz="12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 23 of 2021</a:t>
                  </a:r>
                  <a:endParaRPr kumimoji="0" lang="en-GB" sz="12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A90C4B78-3D83-4039-B3C9-1026CF970157}"/>
                    </a:ext>
                  </a:extLst>
                </p:cNvPr>
                <p:cNvSpPr txBox="1"/>
                <p:nvPr/>
              </p:nvSpPr>
              <p:spPr>
                <a:xfrm>
                  <a:off x="10196853" y="2859871"/>
                  <a:ext cx="1752603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Environmental Approval (PL)</a:t>
                  </a:r>
                </a:p>
              </p:txBody>
            </p:sp>
            <p:sp>
              <p:nvSpPr>
                <p:cNvPr id="35" name="Rectangle: Rounded Corners 20">
                  <a:extLst>
                    <a:ext uri="{FF2B5EF4-FFF2-40B4-BE49-F238E27FC236}">
                      <a16:creationId xmlns:a16="http://schemas.microsoft.com/office/drawing/2014/main" id="{9940AD3D-7A80-4468-93CB-2FB31F401AAB}"/>
                    </a:ext>
                  </a:extLst>
                </p:cNvPr>
                <p:cNvSpPr/>
                <p:nvPr/>
              </p:nvSpPr>
              <p:spPr>
                <a:xfrm>
                  <a:off x="9728768" y="3004135"/>
                  <a:ext cx="468086" cy="468086"/>
                </a:xfrm>
                <a:prstGeom prst="roundRect">
                  <a:avLst/>
                </a:prstGeom>
                <a:noFill/>
                <a:ln w="12700" cap="flat" cmpd="sng" algn="ctr">
                  <a:solidFill>
                    <a:srgbClr val="00DFC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96AB5206-B0E6-43DF-8074-258D9C54DCB0}"/>
                    </a:ext>
                  </a:extLst>
                </p:cNvPr>
                <p:cNvSpPr txBox="1"/>
                <p:nvPr/>
              </p:nvSpPr>
              <p:spPr>
                <a:xfrm>
                  <a:off x="10196854" y="3313531"/>
                  <a:ext cx="1103374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92075" marR="0" lvl="0" indent="-92075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2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Details refer to GR 22 of 2021</a:t>
                  </a:r>
                  <a:endParaRPr kumimoji="0" lang="en-GB" sz="12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37" name="Picture 36">
                  <a:extLst>
                    <a:ext uri="{FF2B5EF4-FFF2-40B4-BE49-F238E27FC236}">
                      <a16:creationId xmlns:a16="http://schemas.microsoft.com/office/drawing/2014/main" id="{81F0D9A7-5DF8-4E3C-AE8C-23F5C2E89E0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666518" y="2862836"/>
                  <a:ext cx="616647" cy="616647"/>
                </a:xfrm>
                <a:prstGeom prst="rect">
                  <a:avLst/>
                </a:prstGeom>
              </p:spPr>
            </p:pic>
            <p:cxnSp>
              <p:nvCxnSpPr>
                <p:cNvPr id="43" name="Connector: Elbow 28">
                  <a:extLst>
                    <a:ext uri="{FF2B5EF4-FFF2-40B4-BE49-F238E27FC236}">
                      <a16:creationId xmlns:a16="http://schemas.microsoft.com/office/drawing/2014/main" id="{C18F06C4-2658-4EA0-B3AC-DD0BA94CEC5F}"/>
                    </a:ext>
                  </a:extLst>
                </p:cNvPr>
                <p:cNvCxnSpPr>
                  <a:cxnSpLocks/>
                  <a:stCxn id="37" idx="1"/>
                </p:cNvCxnSpPr>
                <p:nvPr/>
              </p:nvCxnSpPr>
              <p:spPr>
                <a:xfrm rot="10800000" flipV="1">
                  <a:off x="9112368" y="3171160"/>
                  <a:ext cx="554150" cy="867444"/>
                </a:xfrm>
                <a:prstGeom prst="bentConnector2">
                  <a:avLst/>
                </a:prstGeom>
                <a:noFill/>
                <a:ln w="28575" cap="flat" cmpd="sng" algn="ctr">
                  <a:solidFill>
                    <a:srgbClr val="00DFC0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A8F835ED-CF5F-4A3D-994C-5CF3FB436F5B}"/>
                    </a:ext>
                  </a:extLst>
                </p:cNvPr>
                <p:cNvSpPr txBox="1"/>
                <p:nvPr/>
              </p:nvSpPr>
              <p:spPr>
                <a:xfrm>
                  <a:off x="10674350" y="4148762"/>
                  <a:ext cx="1695494" cy="13849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Building Approval (PBG)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&amp; Certificate of Eligibility of Building Functioning (SLF)</a:t>
                  </a:r>
                </a:p>
              </p:txBody>
            </p:sp>
            <p:sp>
              <p:nvSpPr>
                <p:cNvPr id="45" name="Rectangle: Rounded Corners 35">
                  <a:extLst>
                    <a:ext uri="{FF2B5EF4-FFF2-40B4-BE49-F238E27FC236}">
                      <a16:creationId xmlns:a16="http://schemas.microsoft.com/office/drawing/2014/main" id="{088F9A86-0F3D-46E3-861B-F33E26E7A893}"/>
                    </a:ext>
                  </a:extLst>
                </p:cNvPr>
                <p:cNvSpPr/>
                <p:nvPr/>
              </p:nvSpPr>
              <p:spPr>
                <a:xfrm>
                  <a:off x="10131200" y="4492154"/>
                  <a:ext cx="468086" cy="468086"/>
                </a:xfrm>
                <a:prstGeom prst="roundRect">
                  <a:avLst/>
                </a:prstGeom>
                <a:noFill/>
                <a:ln w="12700" cap="flat" cmpd="sng" algn="ctr">
                  <a:solidFill>
                    <a:srgbClr val="00DFC0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874037AB-99DF-4505-B34C-FE1A2C2EDADE}"/>
                    </a:ext>
                  </a:extLst>
                </p:cNvPr>
                <p:cNvSpPr txBox="1"/>
                <p:nvPr/>
              </p:nvSpPr>
              <p:spPr>
                <a:xfrm>
                  <a:off x="10675954" y="5462561"/>
                  <a:ext cx="1096547" cy="64633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R="0" lvl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tabLst/>
                    <a:defRPr/>
                  </a:pPr>
                  <a:r>
                    <a:rPr kumimoji="0" lang="en-US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*</a:t>
                  </a:r>
                  <a:r>
                    <a:rPr kumimoji="0" lang="en-US" sz="12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4546A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cs typeface="Arial" panose="020B0604020202020204" pitchFamily="34" charset="0"/>
                    </a:rPr>
                    <a:t>Details refer to GR 16 of 2021</a:t>
                  </a:r>
                  <a:endParaRPr kumimoji="0" lang="en-GB" sz="1200" b="0" i="1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47" name="Connector: Elbow 46">
                  <a:extLst>
                    <a:ext uri="{FF2B5EF4-FFF2-40B4-BE49-F238E27FC236}">
                      <a16:creationId xmlns:a16="http://schemas.microsoft.com/office/drawing/2014/main" id="{3C0D1960-9BDB-4E57-B1C8-1D3CD9234EE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rot="5400000">
                  <a:off x="9691631" y="4857517"/>
                  <a:ext cx="575659" cy="795629"/>
                </a:xfrm>
                <a:prstGeom prst="bentConnector2">
                  <a:avLst/>
                </a:prstGeom>
                <a:noFill/>
                <a:ln w="19050" cap="flat" cmpd="sng" algn="ctr">
                  <a:solidFill>
                    <a:srgbClr val="00DFC0"/>
                  </a:solidFill>
                  <a:prstDash val="solid"/>
                  <a:miter lim="800000"/>
                </a:ln>
                <a:effectLst/>
              </p:spPr>
            </p:cxnSp>
          </p:grp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E5C9EB9-6E94-4801-A9EE-C3DECC94C70F}"/>
                  </a:ext>
                </a:extLst>
              </p:cNvPr>
              <p:cNvSpPr txBox="1"/>
              <p:nvPr/>
            </p:nvSpPr>
            <p:spPr>
              <a:xfrm>
                <a:off x="7044613" y="2336850"/>
                <a:ext cx="42638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alt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F0204C96-E07B-4554-AFF6-883515CF25F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679425" y="4236900"/>
              <a:ext cx="523221" cy="5232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30600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8417EBDF-B860-4591-8776-95967A3BF45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16" y="-76052"/>
            <a:ext cx="4435341" cy="1197425"/>
          </a:xfrm>
          <a:prstGeom prst="rect">
            <a:avLst/>
          </a:prstGeom>
        </p:spPr>
      </p:pic>
      <p:sp>
        <p:nvSpPr>
          <p:cNvPr id="125" name="Rectangle 124">
            <a:extLst>
              <a:ext uri="{FF2B5EF4-FFF2-40B4-BE49-F238E27FC236}">
                <a16:creationId xmlns:a16="http://schemas.microsoft.com/office/drawing/2014/main" id="{2E4D4490-5C61-4D83-B06B-C9E6E63B45D8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B1E6745-FB1C-4830-8F5C-21BF17254B63}"/>
              </a:ext>
            </a:extLst>
          </p:cNvPr>
          <p:cNvSpPr txBox="1"/>
          <p:nvPr/>
        </p:nvSpPr>
        <p:spPr>
          <a:xfrm>
            <a:off x="2762865" y="707388"/>
            <a:ext cx="757441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ore Investment-Friendly Fiscal Regime</a:t>
            </a:r>
          </a:p>
        </p:txBody>
      </p:sp>
      <p:graphicFrame>
        <p:nvGraphicFramePr>
          <p:cNvPr id="14" name="object 6">
            <a:extLst>
              <a:ext uri="{FF2B5EF4-FFF2-40B4-BE49-F238E27FC236}">
                <a16:creationId xmlns:a16="http://schemas.microsoft.com/office/drawing/2014/main" id="{6EBEF75B-7001-43F2-AF8E-5E38F6BF7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813036"/>
              </p:ext>
            </p:extLst>
          </p:nvPr>
        </p:nvGraphicFramePr>
        <p:xfrm>
          <a:off x="560818" y="1121373"/>
          <a:ext cx="11328400" cy="532533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664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64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204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1800" b="1" i="1" spc="-5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Tax </a:t>
                      </a:r>
                      <a:r>
                        <a:rPr sz="1800" b="1" i="1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Allowance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</a:t>
                      </a:r>
                      <a:r>
                        <a:rPr lang="en-US" sz="12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Government Reg.</a:t>
                      </a:r>
                      <a:r>
                        <a:rPr sz="1200" spc="5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78/2019)</a:t>
                      </a:r>
                      <a:endParaRPr sz="1200" dirty="0">
                        <a:latin typeface="Carlito"/>
                        <a:cs typeface="Carlito"/>
                      </a:endParaRPr>
                    </a:p>
                  </a:txBody>
                  <a:tcPr marL="0" marR="0" marT="3048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304395"/>
                    </a:solidFill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lang="en-US" sz="1800" b="1" spc="-1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Tax Holiday and Mini Tax Holiday</a:t>
                      </a:r>
                    </a:p>
                  </a:txBody>
                  <a:tcPr marL="0" marR="0" marT="3048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3043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8389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5"/>
                        </a:spcBef>
                      </a:pPr>
                      <a:endParaRPr sz="1600" dirty="0">
                        <a:latin typeface="Carlito"/>
                        <a:cs typeface="Carlito"/>
                      </a:endParaRPr>
                    </a:p>
                  </a:txBody>
                  <a:tcPr marL="0" marR="0" marT="4445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DAE2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endParaRPr sz="195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635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2430"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en-US" sz="1800" b="1" spc="-1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Import Duty Exemption</a:t>
                      </a:r>
                    </a:p>
                  </a:txBody>
                  <a:tcPr marL="0" marR="0" marT="31115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30439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800" b="1" i="1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Super </a:t>
                      </a:r>
                      <a:r>
                        <a:rPr sz="1800" b="1" i="1" spc="-5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Tax </a:t>
                      </a:r>
                      <a:r>
                        <a:rPr sz="1800" b="1" i="1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Deduction </a:t>
                      </a:r>
                      <a:r>
                        <a:rPr sz="12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(</a:t>
                      </a:r>
                      <a:r>
                        <a:rPr lang="en-US" sz="1200" spc="-5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Government Reg.</a:t>
                      </a:r>
                      <a:r>
                        <a:rPr sz="1200" spc="8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 </a:t>
                      </a:r>
                      <a:r>
                        <a:rPr sz="1200" dirty="0">
                          <a:solidFill>
                            <a:srgbClr val="FFFFFF"/>
                          </a:solidFill>
                          <a:latin typeface="Carlito"/>
                          <a:cs typeface="Carlito"/>
                        </a:rPr>
                        <a:t>45/2019)</a:t>
                      </a:r>
                      <a:endParaRPr sz="1200" dirty="0">
                        <a:latin typeface="Carlito"/>
                        <a:cs typeface="Carlito"/>
                      </a:endParaRPr>
                    </a:p>
                  </a:txBody>
                  <a:tcPr marL="0" marR="0" marT="31115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>
                      <a:solidFill>
                        <a:srgbClr val="FFFFFF"/>
                      </a:solidFill>
                      <a:prstDash val="solid"/>
                    </a:lnB>
                    <a:solidFill>
                      <a:srgbClr val="3043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91741">
                <a:tc>
                  <a:txBody>
                    <a:bodyPr/>
                    <a:lstStyle/>
                    <a:p>
                      <a:pPr marL="1463040" marR="310515">
                        <a:lnSpc>
                          <a:spcPts val="1540"/>
                        </a:lnSpc>
                        <a:spcBef>
                          <a:spcPts val="990"/>
                        </a:spcBef>
                      </a:pPr>
                      <a:endParaRPr sz="1200" dirty="0">
                        <a:latin typeface="Carlito"/>
                        <a:cs typeface="Carlito"/>
                      </a:endParaRPr>
                    </a:p>
                  </a:txBody>
                  <a:tcPr marL="0" marR="0" marT="12573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982663" indent="-893763" algn="l">
                        <a:lnSpc>
                          <a:spcPts val="1600"/>
                        </a:lnSpc>
                        <a:tabLst>
                          <a:tab pos="1006475" algn="l"/>
                        </a:tabLst>
                      </a:pPr>
                      <a:endParaRPr lang="en-US" sz="4200" spc="-7" baseline="-16865" dirty="0">
                        <a:solidFill>
                          <a:srgbClr val="304395"/>
                        </a:solidFill>
                        <a:latin typeface="Carlito"/>
                        <a:cs typeface="Carlito"/>
                      </a:endParaRPr>
                    </a:p>
                    <a:p>
                      <a:pPr marL="982663" indent="-893763" algn="l">
                        <a:lnSpc>
                          <a:spcPts val="1600"/>
                        </a:lnSpc>
                        <a:spcBef>
                          <a:spcPts val="0"/>
                        </a:spcBef>
                        <a:tabLst>
                          <a:tab pos="1006475" algn="l"/>
                        </a:tabLst>
                      </a:pPr>
                      <a:r>
                        <a:rPr sz="3200" spc="-7" baseline="-16865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200</a:t>
                      </a:r>
                      <a:r>
                        <a:rPr sz="3200" spc="-7" baseline="-29513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%</a:t>
                      </a:r>
                      <a:r>
                        <a:rPr sz="1300" spc="-7" baseline="-29513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	</a:t>
                      </a:r>
                      <a:r>
                        <a:rPr lang="en-US" sz="1300" spc="-10" dirty="0">
                          <a:solidFill>
                            <a:srgbClr val="404040"/>
                          </a:solidFill>
                          <a:latin typeface="Carlito"/>
                          <a:cs typeface="Carlito"/>
                        </a:rPr>
                        <a:t>Domestic taxpayers who conduct working program, internships and or educational activities to </a:t>
                      </a:r>
                      <a:r>
                        <a:rPr lang="en-US" sz="1300" b="1" spc="-10" dirty="0">
                          <a:solidFill>
                            <a:srgbClr val="404040"/>
                          </a:solidFill>
                          <a:latin typeface="Carlito"/>
                          <a:cs typeface="Carlito"/>
                        </a:rPr>
                        <a:t>develop human resources </a:t>
                      </a:r>
                      <a:r>
                        <a:rPr lang="en-US" sz="1300" spc="-10" dirty="0">
                          <a:solidFill>
                            <a:srgbClr val="404040"/>
                          </a:solidFill>
                          <a:latin typeface="Carlito"/>
                          <a:cs typeface="Carlito"/>
                        </a:rPr>
                        <a:t>based on certain competency could obtain a gross income tax deduction as high as 200% of the funds they had spend for the activities</a:t>
                      </a:r>
                    </a:p>
                    <a:p>
                      <a:pPr marL="982663" indent="-893763" algn="l">
                        <a:lnSpc>
                          <a:spcPts val="1600"/>
                        </a:lnSpc>
                        <a:spcBef>
                          <a:spcPts val="0"/>
                        </a:spcBef>
                        <a:tabLst>
                          <a:tab pos="1006475" algn="l"/>
                        </a:tabLst>
                      </a:pPr>
                      <a:r>
                        <a:rPr sz="3200" spc="-7" baseline="-19841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60</a:t>
                      </a:r>
                      <a:r>
                        <a:rPr sz="3200" spc="-7" baseline="-34722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%</a:t>
                      </a:r>
                      <a:r>
                        <a:rPr sz="1300" spc="-7" baseline="-34722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	</a:t>
                      </a:r>
                      <a:r>
                        <a:rPr lang="en-US" sz="1300" spc="-10" dirty="0">
                          <a:solidFill>
                            <a:srgbClr val="404040"/>
                          </a:solidFill>
                          <a:latin typeface="Carlito"/>
                          <a:cs typeface="Carlito"/>
                        </a:rPr>
                        <a:t>Domestic taxpayers who open a new business or expand their existing businesses in </a:t>
                      </a:r>
                      <a:r>
                        <a:rPr lang="en-US" sz="1300" b="1" spc="-10" dirty="0">
                          <a:solidFill>
                            <a:srgbClr val="404040"/>
                          </a:solidFill>
                          <a:latin typeface="Carlito"/>
                          <a:cs typeface="Carlito"/>
                        </a:rPr>
                        <a:t>labor intensive sectors </a:t>
                      </a:r>
                      <a:r>
                        <a:rPr lang="en-US" sz="1300" spc="-10" dirty="0">
                          <a:solidFill>
                            <a:srgbClr val="404040"/>
                          </a:solidFill>
                          <a:latin typeface="Carlito"/>
                          <a:cs typeface="Carlito"/>
                        </a:rPr>
                        <a:t>could enjoy a net income tax deduction of 60% of the capital they invested as fixed assets</a:t>
                      </a:r>
                    </a:p>
                    <a:p>
                      <a:pPr marL="982663" marR="0" lvl="0" indent="-9826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spc="-15" baseline="-16865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    </a:t>
                      </a:r>
                      <a:r>
                        <a:rPr sz="3200" spc="-15" baseline="-16865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300</a:t>
                      </a:r>
                      <a:r>
                        <a:rPr sz="3200" spc="-15" baseline="-29513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%</a:t>
                      </a:r>
                      <a:r>
                        <a:rPr sz="1300" spc="-15" baseline="-29513" dirty="0">
                          <a:solidFill>
                            <a:srgbClr val="304395"/>
                          </a:solidFill>
                          <a:latin typeface="Carlito"/>
                          <a:cs typeface="Carlito"/>
                        </a:rPr>
                        <a:t>	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OTHAM-BOOK"/>
                          <a:ea typeface="+mn-ea"/>
                          <a:cs typeface="+mn-cs"/>
                        </a:rPr>
                        <a:t>Domestic taxpayers who conduct </a:t>
                      </a:r>
                      <a:r>
                        <a:rPr kumimoji="0" lang="en-US" sz="13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OTHAM-BOOK"/>
                          <a:ea typeface="+mn-ea"/>
                          <a:cs typeface="+mn-cs"/>
                        </a:rPr>
                        <a:t>R&amp;D</a:t>
                      </a: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GOTHAM-BOOK"/>
                          <a:ea typeface="+mn-ea"/>
                          <a:cs typeface="+mn-cs"/>
                        </a:rPr>
                        <a:t> in Indonesia could obtain a gross income tax deduction as high as 300% of the cost of their R&amp;D activities</a:t>
                      </a:r>
                    </a:p>
                  </a:txBody>
                  <a:tcPr marL="0" marR="0" marT="0" marB="0">
                    <a:lnL w="76200">
                      <a:solidFill>
                        <a:srgbClr val="FFFFFF"/>
                      </a:solidFill>
                      <a:prstDash val="solid"/>
                    </a:lnL>
                    <a:lnR w="76200">
                      <a:solidFill>
                        <a:srgbClr val="FFFFFF"/>
                      </a:solidFill>
                      <a:prstDash val="solid"/>
                    </a:lnR>
                    <a:lnT w="76200">
                      <a:solidFill>
                        <a:srgbClr val="FFFFFF"/>
                      </a:solidFill>
                      <a:prstDash val="soli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15" name="image98.png">
            <a:extLst>
              <a:ext uri="{FF2B5EF4-FFF2-40B4-BE49-F238E27FC236}">
                <a16:creationId xmlns:a16="http://schemas.microsoft.com/office/drawing/2014/main" id="{5E5AE90C-5E50-44E4-83E3-EE80BC91A9C4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864113" y="2207623"/>
            <a:ext cx="779491" cy="779491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E6CFA02-159F-4F13-9A75-68BDEF1ECFA7}"/>
              </a:ext>
            </a:extLst>
          </p:cNvPr>
          <p:cNvSpPr/>
          <p:nvPr/>
        </p:nvSpPr>
        <p:spPr>
          <a:xfrm>
            <a:off x="1907458" y="1887794"/>
            <a:ext cx="3893574" cy="16911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DAA43A-FBC2-47DA-9BFD-E2BADC49853C}"/>
              </a:ext>
            </a:extLst>
          </p:cNvPr>
          <p:cNvSpPr/>
          <p:nvPr/>
        </p:nvSpPr>
        <p:spPr>
          <a:xfrm>
            <a:off x="7924421" y="1957979"/>
            <a:ext cx="3706761" cy="12781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50-100% corporate income tax exemption for 5-20 years for investment in pioneer industries.</a:t>
            </a:r>
          </a:p>
        </p:txBody>
      </p:sp>
      <p:pic>
        <p:nvPicPr>
          <p:cNvPr id="18" name="image99.png">
            <a:extLst>
              <a:ext uri="{FF2B5EF4-FFF2-40B4-BE49-F238E27FC236}">
                <a16:creationId xmlns:a16="http://schemas.microsoft.com/office/drawing/2014/main" id="{C968B983-9C71-411C-B27B-2815B4BC17D4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870516" y="2207623"/>
            <a:ext cx="778906" cy="778906"/>
          </a:xfrm>
          <a:prstGeom prst="rect">
            <a:avLst/>
          </a:prstGeom>
          <a:ln w="12700">
            <a:miter lim="400000"/>
          </a:ln>
        </p:spPr>
      </p:pic>
      <p:sp>
        <p:nvSpPr>
          <p:cNvPr id="21" name="Shape 441">
            <a:extLst>
              <a:ext uri="{FF2B5EF4-FFF2-40B4-BE49-F238E27FC236}">
                <a16:creationId xmlns:a16="http://schemas.microsoft.com/office/drawing/2014/main" id="{8CC1439C-6105-4F18-AFB7-D3F28C8174EC}"/>
              </a:ext>
            </a:extLst>
          </p:cNvPr>
          <p:cNvSpPr/>
          <p:nvPr/>
        </p:nvSpPr>
        <p:spPr>
          <a:xfrm>
            <a:off x="2109019" y="2145087"/>
            <a:ext cx="3490452" cy="1384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Reduction of corporate income tax by 30% of the investment value for 5 years for investment in certain business fields and / or regions.</a:t>
            </a:r>
          </a:p>
        </p:txBody>
      </p:sp>
      <p:sp>
        <p:nvSpPr>
          <p:cNvPr id="23" name="Shape 444">
            <a:extLst>
              <a:ext uri="{FF2B5EF4-FFF2-40B4-BE49-F238E27FC236}">
                <a16:creationId xmlns:a16="http://schemas.microsoft.com/office/drawing/2014/main" id="{D6F53574-9BA3-40E6-9CBC-1A4E0DD56868}"/>
              </a:ext>
            </a:extLst>
          </p:cNvPr>
          <p:cNvSpPr/>
          <p:nvPr/>
        </p:nvSpPr>
        <p:spPr>
          <a:xfrm>
            <a:off x="2142863" y="4470082"/>
            <a:ext cx="3658169" cy="1107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b="0" i="0" u="none" strike="noStrike" kern="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Import duty exemption incentives for imports of machinery and goods and materials for industry and service industries.</a:t>
            </a:r>
          </a:p>
        </p:txBody>
      </p:sp>
      <p:pic>
        <p:nvPicPr>
          <p:cNvPr id="24" name="image100.png">
            <a:extLst>
              <a:ext uri="{FF2B5EF4-FFF2-40B4-BE49-F238E27FC236}">
                <a16:creationId xmlns:a16="http://schemas.microsoft.com/office/drawing/2014/main" id="{DE674A4E-6CEC-4FCE-9FBC-64398CD38009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870516" y="4579423"/>
            <a:ext cx="889314" cy="88931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436633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ambar 2">
            <a:extLst>
              <a:ext uri="{FF2B5EF4-FFF2-40B4-BE49-F238E27FC236}">
                <a16:creationId xmlns:a16="http://schemas.microsoft.com/office/drawing/2014/main" id="{7FEA3671-2948-6547-A96B-231548FFB0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292"/>
            <a:ext cx="12192000" cy="6839415"/>
          </a:xfrm>
          <a:prstGeom prst="rect">
            <a:avLst/>
          </a:prstGeom>
        </p:spPr>
      </p:pic>
      <p:pic>
        <p:nvPicPr>
          <p:cNvPr id="7" name="Picture 6" descr="Graphical user interface&#10;&#10;Description automatically generated with low confidence">
            <a:extLst>
              <a:ext uri="{FF2B5EF4-FFF2-40B4-BE49-F238E27FC236}">
                <a16:creationId xmlns:a16="http://schemas.microsoft.com/office/drawing/2014/main" id="{DF25B014-8475-6EB1-05A4-DA9F4EC0C7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8"/>
            <a:ext cx="12192000" cy="685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295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E038F210-B60E-5C1E-2C45-0FBD531E2EEC}"/>
              </a:ext>
            </a:extLst>
          </p:cNvPr>
          <p:cNvSpPr txBox="1"/>
          <p:nvPr/>
        </p:nvSpPr>
        <p:spPr>
          <a:xfrm>
            <a:off x="461177" y="5377975"/>
            <a:ext cx="11269646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defRPr/>
            </a:pPr>
            <a:r>
              <a:rPr lang="en-US" sz="1800" kern="1200" dirty="0">
                <a:ea typeface="+mn-ea"/>
              </a:rPr>
              <a:t>Cumulatively, Indonesia's economy in 2021 </a:t>
            </a:r>
            <a:r>
              <a:rPr lang="en-US" sz="1800" b="1" kern="1200" dirty="0">
                <a:ea typeface="+mn-ea"/>
              </a:rPr>
              <a:t>grew 3.69% </a:t>
            </a:r>
            <a:r>
              <a:rPr lang="en-US" sz="1800" kern="1200" dirty="0">
                <a:ea typeface="+mn-ea"/>
              </a:rPr>
              <a:t>year-on-year and in the second quarter of 2022 the </a:t>
            </a:r>
            <a:r>
              <a:rPr lang="en-US" sz="1800" b="1" kern="1200" dirty="0">
                <a:ea typeface="+mn-ea"/>
              </a:rPr>
              <a:t>growth increased to 5.44%</a:t>
            </a:r>
            <a:r>
              <a:rPr lang="en-US" b="1" dirty="0"/>
              <a:t>.</a:t>
            </a:r>
            <a:endParaRPr lang="en-US" sz="1800" b="1" kern="1200" dirty="0">
              <a:ea typeface="+mn-ea"/>
            </a:endParaRPr>
          </a:p>
          <a:p>
            <a:pPr>
              <a:defRPr/>
            </a:pPr>
            <a:endParaRPr lang="en-US" sz="1800" kern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F926258-3617-5355-F16C-0B894C14FA9A}"/>
              </a:ext>
            </a:extLst>
          </p:cNvPr>
          <p:cNvSpPr txBox="1"/>
          <p:nvPr/>
        </p:nvSpPr>
        <p:spPr>
          <a:xfrm>
            <a:off x="1801059" y="638325"/>
            <a:ext cx="884586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nomic</a:t>
            </a:r>
            <a:r>
              <a:rPr kumimoji="0" lang="es-ES" sz="24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24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rowth</a:t>
            </a:r>
            <a:r>
              <a:rPr kumimoji="0" lang="es-ES" sz="24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24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</a:t>
            </a:r>
            <a:r>
              <a:rPr kumimoji="0" lang="es-ES" sz="24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24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arious</a:t>
            </a:r>
            <a:r>
              <a:rPr kumimoji="0" lang="es-ES" sz="24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s-ES" sz="2400" b="0" i="0" u="none" strike="noStrike" kern="1200" cap="none" spc="-5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untries</a:t>
            </a:r>
            <a:r>
              <a:rPr kumimoji="0" lang="es-ES" sz="2400" b="0" i="0" u="none" strike="noStrike" kern="1200" cap="none" spc="-5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%, y-o-y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9EC7100-C982-EFB8-A8F9-F9D27F324605}"/>
              </a:ext>
            </a:extLst>
          </p:cNvPr>
          <p:cNvSpPr txBox="1"/>
          <p:nvPr/>
        </p:nvSpPr>
        <p:spPr>
          <a:xfrm>
            <a:off x="9827259" y="6262332"/>
            <a:ext cx="200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0A4DD2-7105-483B-B1F2-515D3B0661E1}" type="slidenum">
              <a:rPr kumimoji="0" lang="en-ID" sz="1800" b="1" i="0" u="none" strike="noStrike" kern="1200" cap="none" spc="0" normalizeH="0" baseline="0" noProof="0" smtClean="0">
                <a:ln>
                  <a:noFill/>
                </a:ln>
                <a:solidFill>
                  <a:srgbClr val="0019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D" sz="1800" b="1" i="0" u="none" strike="noStrike" kern="1200" cap="none" spc="0" normalizeH="0" baseline="0" noProof="0">
              <a:ln>
                <a:noFill/>
              </a:ln>
              <a:solidFill>
                <a:srgbClr val="0019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E09A4E7-31DD-BE4E-16E6-0D7FE77C1216}"/>
              </a:ext>
            </a:extLst>
          </p:cNvPr>
          <p:cNvGrpSpPr/>
          <p:nvPr/>
        </p:nvGrpSpPr>
        <p:grpSpPr>
          <a:xfrm>
            <a:off x="461177" y="1416540"/>
            <a:ext cx="11269646" cy="4369740"/>
            <a:chOff x="461177" y="1416540"/>
            <a:chExt cx="11269646" cy="4369740"/>
          </a:xfrm>
        </p:grpSpPr>
        <p:graphicFrame>
          <p:nvGraphicFramePr>
            <p:cNvPr id="12" name="Chart 11">
              <a:extLst>
                <a:ext uri="{FF2B5EF4-FFF2-40B4-BE49-F238E27FC236}">
                  <a16:creationId xmlns:a16="http://schemas.microsoft.com/office/drawing/2014/main" id="{7E9BCBC9-CF90-34AB-7777-7100720927A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9181939"/>
                </p:ext>
              </p:extLst>
            </p:nvPr>
          </p:nvGraphicFramePr>
          <p:xfrm>
            <a:off x="477080" y="2753297"/>
            <a:ext cx="11246069" cy="303298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6559D41-E404-656A-DE33-EEC8C72B379A}"/>
                </a:ext>
              </a:extLst>
            </p:cNvPr>
            <p:cNvSpPr txBox="1"/>
            <p:nvPr/>
          </p:nvSpPr>
          <p:spPr>
            <a:xfrm>
              <a:off x="10303805" y="2269705"/>
              <a:ext cx="142701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donesia</a:t>
              </a:r>
              <a:endParaRPr kumimoji="0" lang="en-ID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ED65A466-ED39-67E7-91CB-DD42188CBB62}"/>
                </a:ext>
              </a:extLst>
            </p:cNvPr>
            <p:cNvSpPr txBox="1"/>
            <p:nvPr/>
          </p:nvSpPr>
          <p:spPr>
            <a:xfrm>
              <a:off x="8915463" y="2269705"/>
              <a:ext cx="1427019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Vietnam</a:t>
              </a:r>
              <a:endParaRPr kumimoji="0" lang="en-ID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21A9213-5076-87FA-165E-E2736EC8E34A}"/>
                </a:ext>
              </a:extLst>
            </p:cNvPr>
            <p:cNvSpPr txBox="1"/>
            <p:nvPr/>
          </p:nvSpPr>
          <p:spPr>
            <a:xfrm>
              <a:off x="7601702" y="2269705"/>
              <a:ext cx="1288472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ngapore</a:t>
              </a:r>
              <a:endPara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C84CE3D-2857-D47F-F7B9-39F45CCFE401}"/>
                </a:ext>
              </a:extLst>
            </p:cNvPr>
            <p:cNvSpPr txBox="1"/>
            <p:nvPr/>
          </p:nvSpPr>
          <p:spPr>
            <a:xfrm>
              <a:off x="4711174" y="2269705"/>
              <a:ext cx="1531181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outh Korea</a:t>
              </a:r>
              <a:endPara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E4B0B43-9CEF-3A53-1DD0-5583DA21668F}"/>
                </a:ext>
              </a:extLst>
            </p:cNvPr>
            <p:cNvSpPr txBox="1"/>
            <p:nvPr/>
          </p:nvSpPr>
          <p:spPr>
            <a:xfrm>
              <a:off x="3427705" y="2279865"/>
              <a:ext cx="1288472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hina</a:t>
              </a:r>
              <a:endPara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0743FF2-0227-A6C1-1830-241EB9940CAB}"/>
                </a:ext>
              </a:extLst>
            </p:cNvPr>
            <p:cNvSpPr txBox="1"/>
            <p:nvPr/>
          </p:nvSpPr>
          <p:spPr>
            <a:xfrm>
              <a:off x="6194440" y="2269705"/>
              <a:ext cx="1288472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India</a:t>
              </a:r>
              <a:endParaRPr kumimoji="0" lang="en-ID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B3C905C-049E-655F-4301-53431F98FD63}"/>
                </a:ext>
              </a:extLst>
            </p:cNvPr>
            <p:cNvSpPr txBox="1"/>
            <p:nvPr/>
          </p:nvSpPr>
          <p:spPr>
            <a:xfrm>
              <a:off x="461177" y="2269705"/>
              <a:ext cx="1635017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SA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CAB8B4C-A321-1F55-AA0D-14868BA54E22}"/>
                </a:ext>
              </a:extLst>
            </p:cNvPr>
            <p:cNvSpPr txBox="1"/>
            <p:nvPr/>
          </p:nvSpPr>
          <p:spPr>
            <a:xfrm>
              <a:off x="2031066" y="2269705"/>
              <a:ext cx="1288472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EU</a:t>
              </a:r>
              <a:endPara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4DC2D475-3A93-1B0B-6C08-778E539EF3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3186" y="1416540"/>
              <a:ext cx="830998" cy="830998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2E28741-7B4C-BDBD-0D02-8CF374F6C4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67110" y="1426700"/>
              <a:ext cx="830998" cy="830998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128EE835-934B-39B1-5FA4-44673B24EB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31078" y="1416540"/>
              <a:ext cx="830998" cy="830998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621CD2F-B585-0A2C-FB32-777D526392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27506" y="1416540"/>
              <a:ext cx="830999" cy="830999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3AB08B0F-BA9B-1375-9EFA-86BD878C45A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28445" y="1416540"/>
              <a:ext cx="830998" cy="830998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4B3C41D-67CA-F1BB-7170-1837B49C4B6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54722" y="1416540"/>
              <a:ext cx="830998" cy="830998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211A2D76-BFD9-31DD-968B-4942B2E87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86709" y="1416540"/>
              <a:ext cx="830998" cy="830998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42B99A4E-7075-77D0-FB0E-0ECC16316C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l="16565" r="16444"/>
            <a:stretch/>
          </p:blipFill>
          <p:spPr>
            <a:xfrm>
              <a:off x="6439894" y="1416540"/>
              <a:ext cx="836145" cy="832104"/>
            </a:xfrm>
            <a:prstGeom prst="ellipse">
              <a:avLst/>
            </a:prstGeom>
            <a:ln w="63500" cap="rnd">
              <a:noFill/>
            </a:ln>
            <a:effectLst/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AEA628E5-7C0B-A2E9-21EE-0B482EDDF062}"/>
              </a:ext>
            </a:extLst>
          </p:cNvPr>
          <p:cNvSpPr txBox="1"/>
          <p:nvPr/>
        </p:nvSpPr>
        <p:spPr>
          <a:xfrm>
            <a:off x="0" y="6391840"/>
            <a:ext cx="21194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c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tradingeconomics.co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3F486C7-F8EB-110C-D87F-C91B017140C9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7D05D95-BA92-75D6-BA4F-DF5A9C633B7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603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E741703-5C92-F163-DE53-BE325EED622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C350FB38-4DE4-9EBC-70A9-C303E305B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552028" y="5618451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14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71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8288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860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43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2004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57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54B5928-6EFF-C039-43DD-0EB28E65722C}"/>
              </a:ext>
            </a:extLst>
          </p:cNvPr>
          <p:cNvSpPr txBox="1"/>
          <p:nvPr/>
        </p:nvSpPr>
        <p:spPr>
          <a:xfrm>
            <a:off x="4255924" y="31048"/>
            <a:ext cx="4870244" cy="86177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ctr"/>
            <a:r>
              <a:rPr lang="en-US" sz="3000" b="1" dirty="0">
                <a:solidFill>
                  <a:srgbClr val="0018C0"/>
                </a:solidFill>
              </a:rPr>
              <a:t>Inflation in G20 Countries</a:t>
            </a:r>
          </a:p>
          <a:p>
            <a:pPr algn="ctr"/>
            <a:r>
              <a:rPr lang="en-US" sz="2000" dirty="0">
                <a:solidFill>
                  <a:srgbClr val="0018C0"/>
                </a:solidFill>
              </a:rPr>
              <a:t>(August 2022, year-on-year)</a:t>
            </a:r>
            <a:endParaRPr lang="en-US" sz="1800" dirty="0">
              <a:solidFill>
                <a:srgbClr val="0018C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57D6FD8-2480-56C7-124D-6FC29DEB813E}"/>
              </a:ext>
            </a:extLst>
          </p:cNvPr>
          <p:cNvSpPr txBox="1"/>
          <p:nvPr/>
        </p:nvSpPr>
        <p:spPr>
          <a:xfrm>
            <a:off x="9827259" y="6262332"/>
            <a:ext cx="200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0A4DD2-7105-483B-B1F2-515D3B0661E1}" type="slidenum">
              <a:rPr kumimoji="0" lang="en-ID" sz="1800" b="1" i="0" u="none" strike="noStrike" kern="1200" cap="none" spc="0" normalizeH="0" baseline="0" noProof="0" smtClean="0">
                <a:ln>
                  <a:noFill/>
                </a:ln>
                <a:solidFill>
                  <a:srgbClr val="0019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ID" sz="1800" b="1" i="0" u="none" strike="noStrike" kern="1200" cap="none" spc="0" normalizeH="0" baseline="0" noProof="0">
              <a:ln>
                <a:noFill/>
              </a:ln>
              <a:solidFill>
                <a:srgbClr val="00199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A18E588-AE53-DBF3-A9A2-60D14B0A42BB}"/>
              </a:ext>
            </a:extLst>
          </p:cNvPr>
          <p:cNvSpPr txBox="1"/>
          <p:nvPr/>
        </p:nvSpPr>
        <p:spPr>
          <a:xfrm>
            <a:off x="1562671" y="1111437"/>
            <a:ext cx="42409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/>
              <a:t>Inflation Impact on UK</a:t>
            </a:r>
            <a:endParaRPr lang="en-ID" sz="1800" b="1" dirty="0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A58CC3C-E54B-F105-3398-5F2268BC67DA}"/>
              </a:ext>
            </a:extLst>
          </p:cNvPr>
          <p:cNvGrpSpPr/>
          <p:nvPr/>
        </p:nvGrpSpPr>
        <p:grpSpPr>
          <a:xfrm>
            <a:off x="229569" y="3398454"/>
            <a:ext cx="1335504" cy="1006562"/>
            <a:chOff x="573577" y="780225"/>
            <a:chExt cx="2772228" cy="2089412"/>
          </a:xfrm>
        </p:grpSpPr>
        <p:pic>
          <p:nvPicPr>
            <p:cNvPr id="26" name="Picture 2" descr="Money">
              <a:extLst>
                <a:ext uri="{FF2B5EF4-FFF2-40B4-BE49-F238E27FC236}">
                  <a16:creationId xmlns:a16="http://schemas.microsoft.com/office/drawing/2014/main" id="{D8BE87CA-7631-4F1C-06DE-2319DD3A9BE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564" t="19347" r="15700" b="19850"/>
            <a:stretch/>
          </p:blipFill>
          <p:spPr bwMode="auto">
            <a:xfrm>
              <a:off x="573577" y="780225"/>
              <a:ext cx="2293258" cy="2089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" descr="Business decline downward arrow trend background design">
              <a:extLst>
                <a:ext uri="{FF2B5EF4-FFF2-40B4-BE49-F238E27FC236}">
                  <a16:creationId xmlns:a16="http://schemas.microsoft.com/office/drawing/2014/main" id="{3ECF142B-9157-5F3F-DF29-0A003C3E95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52667" y="1675166"/>
              <a:ext cx="1793138" cy="11944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F7F63E80-1E93-3346-3A5A-A0F85F912C9C}"/>
              </a:ext>
            </a:extLst>
          </p:cNvPr>
          <p:cNvSpPr txBox="1"/>
          <p:nvPr/>
        </p:nvSpPr>
        <p:spPr>
          <a:xfrm>
            <a:off x="1494938" y="3504471"/>
            <a:ext cx="48954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The pound sterling fell more than 20% </a:t>
            </a:r>
            <a:r>
              <a:rPr lang="en-US" sz="1600" dirty="0"/>
              <a:t>after the UK government announced a fiscal policy package on September 21st, 2022.</a:t>
            </a:r>
          </a:p>
        </p:txBody>
      </p:sp>
      <p:pic>
        <p:nvPicPr>
          <p:cNvPr id="31" name="Picture 6" descr="Oil petroleum industry production benefits isometric composition with dollar banknotes and barrel value growth arrow">
            <a:extLst>
              <a:ext uri="{FF2B5EF4-FFF2-40B4-BE49-F238E27FC236}">
                <a16:creationId xmlns:a16="http://schemas.microsoft.com/office/drawing/2014/main" id="{69611235-0679-C891-01E8-E10FD4AC9C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5573" y="4473808"/>
            <a:ext cx="1613625" cy="1569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D62C6102-301F-9D5A-D7B0-8DA3B9F3D78C}"/>
              </a:ext>
            </a:extLst>
          </p:cNvPr>
          <p:cNvSpPr txBox="1"/>
          <p:nvPr/>
        </p:nvSpPr>
        <p:spPr>
          <a:xfrm>
            <a:off x="1503382" y="5089139"/>
            <a:ext cx="39726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/>
              <a:t>Energy costs for UK households are expected </a:t>
            </a:r>
            <a:r>
              <a:rPr lang="en-US" sz="1600" b="1" dirty="0"/>
              <a:t>to rise 80%</a:t>
            </a:r>
            <a:r>
              <a:rPr lang="en-US" sz="1600" dirty="0"/>
              <a:t> this year</a:t>
            </a:r>
            <a:endParaRPr lang="en-US" sz="1600" b="1" dirty="0"/>
          </a:p>
        </p:txBody>
      </p:sp>
      <p:pic>
        <p:nvPicPr>
          <p:cNvPr id="33" name="Picture 8" descr="Businessman trying to keep dollar arrow chart from falling flat vector isometric illustration econom...">
            <a:extLst>
              <a:ext uri="{FF2B5EF4-FFF2-40B4-BE49-F238E27FC236}">
                <a16:creationId xmlns:a16="http://schemas.microsoft.com/office/drawing/2014/main" id="{19998A78-09E8-99CF-9C5A-823BD2B3EA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8107" y="2045148"/>
            <a:ext cx="1938691" cy="1390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9B1D0BCA-3DCB-CBD7-6ED3-5ABE40DDFF38}"/>
              </a:ext>
            </a:extLst>
          </p:cNvPr>
          <p:cNvSpPr txBox="1"/>
          <p:nvPr/>
        </p:nvSpPr>
        <p:spPr>
          <a:xfrm>
            <a:off x="1503382" y="2190222"/>
            <a:ext cx="48954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dirty="0"/>
              <a:t>Inflation in the UK is high, reached </a:t>
            </a:r>
            <a:r>
              <a:rPr lang="en-US" sz="1600" b="1" dirty="0"/>
              <a:t>9.4% </a:t>
            </a:r>
            <a:r>
              <a:rPr lang="en-US" sz="1600" dirty="0"/>
              <a:t>in September, leading to higher prices for basic necessities</a:t>
            </a:r>
            <a:endParaRPr lang="en-US" sz="1600" b="1" dirty="0"/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E24D57CC-71D1-4DA9-414B-F79771DE14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5225329"/>
              </p:ext>
            </p:extLst>
          </p:nvPr>
        </p:nvGraphicFramePr>
        <p:xfrm>
          <a:off x="7146564" y="1759022"/>
          <a:ext cx="5013435" cy="4918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6" name="Picture 5" descr="Logo, icon&#10;&#10;Description automatically generated">
            <a:extLst>
              <a:ext uri="{FF2B5EF4-FFF2-40B4-BE49-F238E27FC236}">
                <a16:creationId xmlns:a16="http://schemas.microsoft.com/office/drawing/2014/main" id="{25D423DE-CAEC-23CF-2A2B-706B268AACE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21173" y="1921623"/>
            <a:ext cx="393833" cy="39383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99BB825-7F4D-89DA-6EC6-AD0DBB6E59F4}"/>
              </a:ext>
            </a:extLst>
          </p:cNvPr>
          <p:cNvPicPr>
            <a:picLocks noChangeAspect="1"/>
          </p:cNvPicPr>
          <p:nvPr/>
        </p:nvPicPr>
        <p:blipFill>
          <a:blip r:embed="rId13"/>
          <a:srcRect/>
          <a:stretch/>
        </p:blipFill>
        <p:spPr>
          <a:xfrm>
            <a:off x="6621172" y="2407576"/>
            <a:ext cx="393833" cy="3938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F319D0D-C8B4-4E47-F520-AB77B148B9B6}"/>
              </a:ext>
            </a:extLst>
          </p:cNvPr>
          <p:cNvPicPr>
            <a:picLocks noChangeAspect="1"/>
          </p:cNvPicPr>
          <p:nvPr/>
        </p:nvPicPr>
        <p:blipFill>
          <a:blip r:embed="rId14"/>
          <a:srcRect/>
          <a:stretch/>
        </p:blipFill>
        <p:spPr>
          <a:xfrm>
            <a:off x="6621172" y="2893529"/>
            <a:ext cx="393833" cy="39383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63A28DC-2A15-5E1D-6B13-8B24CFEA2580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6621170" y="3345470"/>
            <a:ext cx="393833" cy="3938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FCC1C14-1377-65A4-2004-A0B473994A11}"/>
              </a:ext>
            </a:extLst>
          </p:cNvPr>
          <p:cNvPicPr>
            <a:picLocks noChangeAspect="1"/>
          </p:cNvPicPr>
          <p:nvPr/>
        </p:nvPicPr>
        <p:blipFill>
          <a:blip r:embed="rId16"/>
          <a:srcRect/>
          <a:stretch/>
        </p:blipFill>
        <p:spPr>
          <a:xfrm>
            <a:off x="6621170" y="3824609"/>
            <a:ext cx="393833" cy="39383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D5BB602-19F0-BB84-F219-B96199A98BD5}"/>
              </a:ext>
            </a:extLst>
          </p:cNvPr>
          <p:cNvPicPr>
            <a:picLocks noChangeAspect="1"/>
          </p:cNvPicPr>
          <p:nvPr/>
        </p:nvPicPr>
        <p:blipFill>
          <a:blip r:embed="rId17"/>
          <a:srcRect/>
          <a:stretch/>
        </p:blipFill>
        <p:spPr>
          <a:xfrm>
            <a:off x="6621169" y="4235430"/>
            <a:ext cx="393833" cy="39383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AC8DA6D-B216-BCD1-1B24-AD015181E4B4}"/>
              </a:ext>
            </a:extLst>
          </p:cNvPr>
          <p:cNvPicPr>
            <a:picLocks noChangeAspect="1"/>
          </p:cNvPicPr>
          <p:nvPr/>
        </p:nvPicPr>
        <p:blipFill>
          <a:blip r:embed="rId18"/>
          <a:srcRect/>
          <a:stretch/>
        </p:blipFill>
        <p:spPr>
          <a:xfrm>
            <a:off x="6621168" y="4714569"/>
            <a:ext cx="393833" cy="39383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EC2F21F-B571-1BC6-1AAC-EA4B5006B007}"/>
              </a:ext>
            </a:extLst>
          </p:cNvPr>
          <p:cNvPicPr>
            <a:picLocks noChangeAspect="1"/>
          </p:cNvPicPr>
          <p:nvPr/>
        </p:nvPicPr>
        <p:blipFill>
          <a:blip r:embed="rId19"/>
          <a:srcRect/>
          <a:stretch/>
        </p:blipFill>
        <p:spPr>
          <a:xfrm>
            <a:off x="6621167" y="5166510"/>
            <a:ext cx="393833" cy="393833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DEF3B60-FA85-8112-7BB2-1A94FC17AAF2}"/>
              </a:ext>
            </a:extLst>
          </p:cNvPr>
          <p:cNvPicPr>
            <a:picLocks noChangeAspect="1"/>
          </p:cNvPicPr>
          <p:nvPr/>
        </p:nvPicPr>
        <p:blipFill>
          <a:blip r:embed="rId20"/>
          <a:srcRect/>
          <a:stretch/>
        </p:blipFill>
        <p:spPr>
          <a:xfrm>
            <a:off x="6621166" y="5618451"/>
            <a:ext cx="393833" cy="393833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77A0808B-7E28-9890-AB56-0CFB713DDC28}"/>
              </a:ext>
            </a:extLst>
          </p:cNvPr>
          <p:cNvPicPr>
            <a:picLocks noChangeAspect="1"/>
          </p:cNvPicPr>
          <p:nvPr/>
        </p:nvPicPr>
        <p:blipFill>
          <a:blip r:embed="rId21"/>
          <a:srcRect/>
          <a:stretch/>
        </p:blipFill>
        <p:spPr>
          <a:xfrm>
            <a:off x="6621165" y="6070392"/>
            <a:ext cx="393833" cy="393833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3A08FFFE-0087-A481-0AC4-E2A73C359308}"/>
              </a:ext>
            </a:extLst>
          </p:cNvPr>
          <p:cNvSpPr txBox="1"/>
          <p:nvPr/>
        </p:nvSpPr>
        <p:spPr>
          <a:xfrm>
            <a:off x="7014196" y="1250312"/>
            <a:ext cx="4240923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1800" b="1" dirty="0"/>
              <a:t>G20 Countries Inflation (y-o-y%)</a:t>
            </a:r>
            <a:endParaRPr lang="en-ID" sz="1800" b="1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8B9AE67-2A74-C472-2B35-98B24A96692E}"/>
              </a:ext>
            </a:extLst>
          </p:cNvPr>
          <p:cNvSpPr txBox="1"/>
          <p:nvPr/>
        </p:nvSpPr>
        <p:spPr>
          <a:xfrm>
            <a:off x="701238" y="6392344"/>
            <a:ext cx="211949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: tradingeconomics.com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83A4697-1458-E789-F44C-FEC698F69013}"/>
              </a:ext>
            </a:extLst>
          </p:cNvPr>
          <p:cNvSpPr/>
          <p:nvPr/>
        </p:nvSpPr>
        <p:spPr>
          <a:xfrm>
            <a:off x="6278880" y="5570220"/>
            <a:ext cx="5638800" cy="495300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7BD91D-0B39-D260-64E1-6BFEE8D675E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203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66" name="Google Shape;86;p13">
            <a:extLst>
              <a:ext uri="{FF2B5EF4-FFF2-40B4-BE49-F238E27FC236}">
                <a16:creationId xmlns:a16="http://schemas.microsoft.com/office/drawing/2014/main" id="{39C6CE6A-28A5-48A7-8B05-A7DBFDAFBF3A}"/>
              </a:ext>
            </a:extLst>
          </p:cNvPr>
          <p:cNvSpPr/>
          <p:nvPr/>
        </p:nvSpPr>
        <p:spPr>
          <a:xfrm>
            <a:off x="1127513" y="580462"/>
            <a:ext cx="10287001" cy="602200"/>
          </a:xfrm>
          <a:prstGeom prst="rect">
            <a:avLst/>
          </a:prstGeom>
          <a:noFill/>
          <a:ln>
            <a:noFill/>
          </a:ln>
        </p:spPr>
        <p:txBody>
          <a:bodyPr spcFirstLastPara="1" lIns="91425" tIns="45700" rIns="91425" bIns="4570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Investment Realization 202</a:t>
            </a:r>
            <a:r>
              <a:rPr kumimoji="0" lang="id-ID" sz="2400" b="1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1 </a:t>
            </a:r>
            <a:r>
              <a:rPr kumimoji="0" lang="en-US" sz="2400" b="1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– September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600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  <a:sym typeface="Calibri"/>
              </a:rPr>
              <a:t>(not including Upstream Oil and Gas and Financial Services Sector)</a:t>
            </a:r>
          </a:p>
        </p:txBody>
      </p:sp>
      <p:sp>
        <p:nvSpPr>
          <p:cNvPr id="67" name="TextBox 17">
            <a:extLst>
              <a:ext uri="{FF2B5EF4-FFF2-40B4-BE49-F238E27FC236}">
                <a16:creationId xmlns:a16="http://schemas.microsoft.com/office/drawing/2014/main" id="{8CDCA10E-65AE-43A6-8790-79D6AD2725AE}"/>
              </a:ext>
            </a:extLst>
          </p:cNvPr>
          <p:cNvSpPr txBox="1"/>
          <p:nvPr/>
        </p:nvSpPr>
        <p:spPr>
          <a:xfrm>
            <a:off x="6158603" y="1451622"/>
            <a:ext cx="25027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algn="ctr">
              <a:buClrTx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Investment Realization</a:t>
            </a:r>
          </a:p>
          <a:p>
            <a:pPr algn="ctr">
              <a:buClrTx/>
              <a:buFontTx/>
              <a:buNone/>
              <a:defRPr/>
            </a:pPr>
            <a:r>
              <a:rPr lang="en-US" sz="1800" b="1" dirty="0">
                <a:solidFill>
                  <a:srgbClr val="1F497D"/>
                </a:solidFill>
                <a:latin typeface="oxygenRegular"/>
                <a:ea typeface="+mn-ea"/>
                <a:cs typeface="GOTHAM-BOOK" pitchFamily="50" charset="0"/>
              </a:rPr>
              <a:t>Jan – Sep 2022</a:t>
            </a:r>
            <a:endParaRPr lang="en-US" sz="1100" b="1" dirty="0">
              <a:solidFill>
                <a:srgbClr val="1F497D"/>
              </a:solidFill>
              <a:latin typeface="oxygenRegular"/>
              <a:ea typeface="+mn-ea"/>
              <a:cs typeface="GOTHAM-BOOK" pitchFamily="50" charset="0"/>
            </a:endParaRPr>
          </a:p>
          <a:p>
            <a:pPr algn="ctr">
              <a:buClrTx/>
              <a:buFontTx/>
              <a:buNone/>
              <a:defRPr/>
            </a:pPr>
            <a:r>
              <a:rPr lang="en-US" sz="2800" dirty="0">
                <a:latin typeface="oxygenRegular"/>
                <a:ea typeface="+mn-ea"/>
                <a:cs typeface="GOTHAM-BOOK" pitchFamily="50" charset="0"/>
              </a:rPr>
              <a:t>USD 62.1 </a:t>
            </a:r>
            <a:r>
              <a:rPr lang="en-US" sz="2800" dirty="0" err="1">
                <a:latin typeface="oxygenRegular"/>
                <a:ea typeface="+mn-ea"/>
                <a:cs typeface="GOTHAM-BOOK" pitchFamily="50" charset="0"/>
              </a:rPr>
              <a:t>bil</a:t>
            </a:r>
            <a:endParaRPr lang="en-US" sz="2800" dirty="0">
              <a:latin typeface="oxygenRegular"/>
              <a:ea typeface="+mn-ea"/>
              <a:cs typeface="GOTHAM-BOOK" pitchFamily="50" charset="0"/>
            </a:endParaRPr>
          </a:p>
        </p:txBody>
      </p:sp>
      <p:sp>
        <p:nvSpPr>
          <p:cNvPr id="68" name="TextBox 17">
            <a:extLst>
              <a:ext uri="{FF2B5EF4-FFF2-40B4-BE49-F238E27FC236}">
                <a16:creationId xmlns:a16="http://schemas.microsoft.com/office/drawing/2014/main" id="{FE90AAF5-16C7-406D-95BB-839E6E95928F}"/>
              </a:ext>
            </a:extLst>
          </p:cNvPr>
          <p:cNvSpPr txBox="1"/>
          <p:nvPr/>
        </p:nvSpPr>
        <p:spPr>
          <a:xfrm>
            <a:off x="3608774" y="1445562"/>
            <a:ext cx="238417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Investment Real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Jan – Dec 2021*</a:t>
            </a: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oxygenRegular"/>
              <a:ea typeface="+mn-ea"/>
              <a:cs typeface="GOTHAM-BOOK" pitchFamily="50" charset="0"/>
              <a:sym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USD 61.7 </a:t>
            </a:r>
            <a:r>
              <a:rPr kumimoji="0" lang="en-US" sz="280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bil</a:t>
            </a:r>
            <a:endParaRPr kumimoji="0" lang="en-US" sz="28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xygenRegular"/>
              <a:ea typeface="+mn-ea"/>
              <a:cs typeface="GOTHAM-BOOK" pitchFamily="50" charset="0"/>
              <a:sym typeface="Arial" panose="020B0604020202020204"/>
            </a:endParaRPr>
          </a:p>
        </p:txBody>
      </p:sp>
      <p:sp>
        <p:nvSpPr>
          <p:cNvPr id="70" name="TextBox 15">
            <a:extLst>
              <a:ext uri="{FF2B5EF4-FFF2-40B4-BE49-F238E27FC236}">
                <a16:creationId xmlns:a16="http://schemas.microsoft.com/office/drawing/2014/main" id="{01018D9D-AE10-411C-B5BB-06152C02EC7C}"/>
              </a:ext>
            </a:extLst>
          </p:cNvPr>
          <p:cNvSpPr txBox="1"/>
          <p:nvPr/>
        </p:nvSpPr>
        <p:spPr>
          <a:xfrm>
            <a:off x="268799" y="3146723"/>
            <a:ext cx="27499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Investment target 2021*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chemeClr val="bg1"/>
                </a:solidFill>
                <a:latin typeface="oxygenRegular"/>
                <a:ea typeface="+mn-ea"/>
                <a:cs typeface="GOTHAM-BOOK" pitchFamily="50" charset="0"/>
              </a:rPr>
              <a:t>USD 61.1 B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xygenRegular"/>
              <a:ea typeface="+mn-ea"/>
              <a:cs typeface="GOTHAM-BOOK" pitchFamily="50" charset="0"/>
              <a:sym typeface="Arial" panose="020B0604020202020204"/>
            </a:endParaRPr>
          </a:p>
        </p:txBody>
      </p:sp>
      <p:sp>
        <p:nvSpPr>
          <p:cNvPr id="71" name="TextBox 14">
            <a:extLst>
              <a:ext uri="{FF2B5EF4-FFF2-40B4-BE49-F238E27FC236}">
                <a16:creationId xmlns:a16="http://schemas.microsoft.com/office/drawing/2014/main" id="{7338976A-FFDB-4190-862F-45EB5BB90BB4}"/>
              </a:ext>
            </a:extLst>
          </p:cNvPr>
          <p:cNvSpPr txBox="1"/>
          <p:nvPr/>
        </p:nvSpPr>
        <p:spPr>
          <a:xfrm>
            <a:off x="324032" y="2152620"/>
            <a:ext cx="26161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100.1%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056065AC-83A0-4AC3-9826-56622DC6C123}"/>
              </a:ext>
            </a:extLst>
          </p:cNvPr>
          <p:cNvCxnSpPr>
            <a:cxnSpLocks/>
          </p:cNvCxnSpPr>
          <p:nvPr/>
        </p:nvCxnSpPr>
        <p:spPr>
          <a:xfrm>
            <a:off x="6087718" y="1247495"/>
            <a:ext cx="0" cy="5264270"/>
          </a:xfrm>
          <a:prstGeom prst="line">
            <a:avLst/>
          </a:prstGeom>
          <a:ln w="63500" cmpd="dbl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3" name="Chart 72">
            <a:extLst>
              <a:ext uri="{FF2B5EF4-FFF2-40B4-BE49-F238E27FC236}">
                <a16:creationId xmlns:a16="http://schemas.microsoft.com/office/drawing/2014/main" id="{4218B06B-9259-483F-BBE9-429BBC9076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3539064"/>
              </p:ext>
            </p:extLst>
          </p:nvPr>
        </p:nvGraphicFramePr>
        <p:xfrm>
          <a:off x="6295365" y="4992702"/>
          <a:ext cx="2953150" cy="1688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4" name="TextBox 73">
            <a:extLst>
              <a:ext uri="{FF2B5EF4-FFF2-40B4-BE49-F238E27FC236}">
                <a16:creationId xmlns:a16="http://schemas.microsoft.com/office/drawing/2014/main" id="{CE43C848-0B40-44DC-A63F-9BF664622F6F}"/>
              </a:ext>
            </a:extLst>
          </p:cNvPr>
          <p:cNvSpPr txBox="1"/>
          <p:nvPr/>
        </p:nvSpPr>
        <p:spPr>
          <a:xfrm>
            <a:off x="6384016" y="5586798"/>
            <a:ext cx="136243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cs typeface="GOTHAM-BOOK" pitchFamily="50" charset="0"/>
                <a:sym typeface="Arial"/>
              </a:rPr>
              <a:t>DDI</a:t>
            </a:r>
            <a:endParaRPr lang="en-US" sz="1600" b="1" dirty="0">
              <a:solidFill>
                <a:prstClr val="white"/>
              </a:solidFill>
              <a:latin typeface="oxygenRegular"/>
              <a:cs typeface="GOTHAM-BOOK" pitchFamily="50" charset="0"/>
              <a:sym typeface="Arial"/>
            </a:endParaRPr>
          </a:p>
          <a:p>
            <a:pPr algn="ctr">
              <a:lnSpc>
                <a:spcPct val="80000"/>
              </a:lnSpc>
              <a:defRPr/>
            </a:pPr>
            <a:r>
              <a:rPr lang="en-US" sz="1200" dirty="0">
                <a:solidFill>
                  <a:prstClr val="white"/>
                </a:solidFill>
                <a:latin typeface="oxygenRegular"/>
                <a:cs typeface="GOTHAM-BOOK" pitchFamily="50" charset="0"/>
                <a:sym typeface="Arial"/>
              </a:rPr>
              <a:t>USD 28.8 B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1200" dirty="0">
                <a:solidFill>
                  <a:prstClr val="white"/>
                </a:solidFill>
                <a:latin typeface="oxygenRegular"/>
                <a:cs typeface="GOTHAM-BOOK" pitchFamily="50" charset="0"/>
                <a:sym typeface="Arial"/>
              </a:rPr>
              <a:t>(46.3%)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BD36CA82-0410-46B2-9DAE-A11A7B43165C}"/>
              </a:ext>
            </a:extLst>
          </p:cNvPr>
          <p:cNvSpPr txBox="1"/>
          <p:nvPr/>
        </p:nvSpPr>
        <p:spPr>
          <a:xfrm>
            <a:off x="7746451" y="5586798"/>
            <a:ext cx="14766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xygenRegular"/>
                <a:cs typeface="GOTHAM-BOOK" pitchFamily="50" charset="0"/>
                <a:sym typeface="Arial"/>
              </a:rPr>
              <a:t>FDI</a:t>
            </a:r>
            <a:endParaRPr lang="en-US" sz="1600" b="1" dirty="0">
              <a:solidFill>
                <a:prstClr val="white"/>
              </a:solidFill>
              <a:latin typeface="oxygenRegular"/>
              <a:cs typeface="GOTHAM-BOOK" pitchFamily="50" charset="0"/>
              <a:sym typeface="Arial"/>
            </a:endParaRPr>
          </a:p>
          <a:p>
            <a:pPr algn="ctr">
              <a:lnSpc>
                <a:spcPct val="80000"/>
              </a:lnSpc>
              <a:defRPr/>
            </a:pPr>
            <a:r>
              <a:rPr lang="en-US" sz="1200" dirty="0">
                <a:solidFill>
                  <a:prstClr val="white"/>
                </a:solidFill>
                <a:latin typeface="oxygenRegular"/>
                <a:cs typeface="GOTHAM-BOOK" pitchFamily="50" charset="0"/>
                <a:sym typeface="Arial"/>
              </a:rPr>
              <a:t>USD 33.4 B</a:t>
            </a:r>
          </a:p>
          <a:p>
            <a:pPr algn="ctr">
              <a:lnSpc>
                <a:spcPct val="80000"/>
              </a:lnSpc>
              <a:defRPr/>
            </a:pPr>
            <a:r>
              <a:rPr lang="en-US" sz="1200" dirty="0">
                <a:solidFill>
                  <a:prstClr val="white"/>
                </a:solidFill>
                <a:latin typeface="oxygenRegular"/>
                <a:cs typeface="GOTHAM-BOOK" pitchFamily="50" charset="0"/>
                <a:sym typeface="Arial"/>
              </a:rPr>
              <a:t>(53.7%)</a:t>
            </a:r>
          </a:p>
        </p:txBody>
      </p:sp>
      <p:graphicFrame>
        <p:nvGraphicFramePr>
          <p:cNvPr id="76" name="Chart 75">
            <a:extLst>
              <a:ext uri="{FF2B5EF4-FFF2-40B4-BE49-F238E27FC236}">
                <a16:creationId xmlns:a16="http://schemas.microsoft.com/office/drawing/2014/main" id="{CBD69D32-40A7-4219-8B64-4395E433B8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1580525"/>
              </p:ext>
            </p:extLst>
          </p:nvPr>
        </p:nvGraphicFramePr>
        <p:xfrm>
          <a:off x="9189179" y="4985927"/>
          <a:ext cx="2953150" cy="1688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77" name="Group 76">
            <a:extLst>
              <a:ext uri="{FF2B5EF4-FFF2-40B4-BE49-F238E27FC236}">
                <a16:creationId xmlns:a16="http://schemas.microsoft.com/office/drawing/2014/main" id="{FFB594D0-BE95-44AE-99DB-703C95357215}"/>
              </a:ext>
            </a:extLst>
          </p:cNvPr>
          <p:cNvGrpSpPr/>
          <p:nvPr/>
        </p:nvGrpSpPr>
        <p:grpSpPr>
          <a:xfrm>
            <a:off x="6101125" y="2700685"/>
            <a:ext cx="2584949" cy="1843693"/>
            <a:chOff x="9244914" y="2813764"/>
            <a:chExt cx="2980880" cy="2487930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F09562D7-FC78-4C6B-B9C6-AA7F1D8D694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667" b="14720"/>
            <a:stretch>
              <a:fillRect/>
            </a:stretch>
          </p:blipFill>
          <p:spPr bwMode="auto">
            <a:xfrm>
              <a:off x="10037088" y="2813764"/>
              <a:ext cx="1372658" cy="1165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TextBox 5">
              <a:extLst>
                <a:ext uri="{FF2B5EF4-FFF2-40B4-BE49-F238E27FC236}">
                  <a16:creationId xmlns:a16="http://schemas.microsoft.com/office/drawing/2014/main" id="{2F0C9727-EB30-41F3-96F4-C27AB5DD7FD6}"/>
                </a:ext>
              </a:extLst>
            </p:cNvPr>
            <p:cNvSpPr txBox="1"/>
            <p:nvPr/>
          </p:nvSpPr>
          <p:spPr>
            <a:xfrm>
              <a:off x="9244914" y="3972663"/>
              <a:ext cx="2980880" cy="13290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9pPr>
            </a:lstStyle>
            <a:p>
              <a:pPr algn="ctr">
                <a:buClrTx/>
                <a:buFontTx/>
                <a:buNone/>
                <a:defRPr/>
              </a:pPr>
              <a:r>
                <a:rPr lang="en-US" sz="1100" dirty="0">
                  <a:solidFill>
                    <a:prstClr val="black"/>
                  </a:solidFill>
                  <a:latin typeface="oxygenRegular"/>
                  <a:ea typeface="+mn-ea"/>
                  <a:cs typeface="GOTHAM-BOOK" pitchFamily="50" charset="0"/>
                </a:rPr>
                <a:t>
 Local worker absorption 
</a:t>
              </a:r>
              <a:r>
                <a:rPr lang="en-US" sz="3600" b="1" dirty="0">
                  <a:solidFill>
                    <a:srgbClr val="2F5597"/>
                  </a:solidFill>
                  <a:latin typeface="oxygenRegular"/>
                  <a:cs typeface="GOTHAM-BOOK" pitchFamily="50" charset="0"/>
                </a:rPr>
                <a:t>965,122</a:t>
              </a:r>
            </a:p>
          </p:txBody>
        </p:sp>
      </p:grpSp>
      <p:sp>
        <p:nvSpPr>
          <p:cNvPr id="80" name="TextBox 21">
            <a:extLst>
              <a:ext uri="{FF2B5EF4-FFF2-40B4-BE49-F238E27FC236}">
                <a16:creationId xmlns:a16="http://schemas.microsoft.com/office/drawing/2014/main" id="{8B1A21C2-5605-44CC-B69A-AA72D8F21246}"/>
              </a:ext>
            </a:extLst>
          </p:cNvPr>
          <p:cNvSpPr txBox="1"/>
          <p:nvPr/>
        </p:nvSpPr>
        <p:spPr>
          <a:xfrm>
            <a:off x="10761128" y="5586798"/>
            <a:ext cx="1306772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algn="ctr">
              <a:lnSpc>
                <a:spcPct val="80000"/>
              </a:lnSpc>
              <a:buClrTx/>
              <a:buFontTx/>
              <a:buNone/>
              <a:defRPr/>
            </a:pPr>
            <a:r>
              <a:rPr lang="en-US" sz="1600" b="1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Java</a:t>
            </a:r>
          </a:p>
          <a:p>
            <a:pPr algn="ctr">
              <a:lnSpc>
                <a:spcPct val="80000"/>
              </a:lnSpc>
              <a:buClrTx/>
              <a:buFontTx/>
              <a:buNone/>
              <a:defRPr/>
            </a:pPr>
            <a:r>
              <a:rPr lang="en-US" sz="1200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USD </a:t>
            </a:r>
            <a:r>
              <a:rPr lang="en-US" sz="1200" kern="0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29.3 </a:t>
            </a:r>
            <a:r>
              <a:rPr lang="en-US" sz="1200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B</a:t>
            </a:r>
          </a:p>
          <a:p>
            <a:pPr algn="ctr">
              <a:lnSpc>
                <a:spcPct val="80000"/>
              </a:lnSpc>
              <a:buClrTx/>
              <a:buFontTx/>
              <a:buNone/>
              <a:defRPr/>
            </a:pPr>
            <a:r>
              <a:rPr lang="en-US" sz="1200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(</a:t>
            </a:r>
            <a:r>
              <a:rPr lang="en-US" sz="1200" kern="0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46.3 </a:t>
            </a:r>
            <a:r>
              <a:rPr lang="en-US" sz="1200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%)</a:t>
            </a:r>
            <a:endParaRPr lang="en-US" sz="1200" dirty="0">
              <a:latin typeface="oxygenRegular"/>
              <a:cs typeface="GOTHAM-BOOK" pitchFamily="50" charset="0"/>
            </a:endParaRPr>
          </a:p>
        </p:txBody>
      </p:sp>
      <p:sp>
        <p:nvSpPr>
          <p:cNvPr id="81" name="TextBox 22">
            <a:extLst>
              <a:ext uri="{FF2B5EF4-FFF2-40B4-BE49-F238E27FC236}">
                <a16:creationId xmlns:a16="http://schemas.microsoft.com/office/drawing/2014/main" id="{A98A4079-B466-410D-9411-4379B94C0B42}"/>
              </a:ext>
            </a:extLst>
          </p:cNvPr>
          <p:cNvSpPr txBox="1"/>
          <p:nvPr/>
        </p:nvSpPr>
        <p:spPr>
          <a:xfrm>
            <a:off x="9301835" y="5590323"/>
            <a:ext cx="1414396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Outside Java </a:t>
            </a:r>
            <a:r>
              <a:rPr lang="en-US" sz="1200" kern="0" dirty="0">
                <a:solidFill>
                  <a:srgbClr val="FFFFFF"/>
                </a:solidFill>
                <a:latin typeface="oxygenRegular"/>
                <a:ea typeface="+mn-ea"/>
                <a:cs typeface="GOTHAM-BOOK" pitchFamily="50" charset="0"/>
              </a:rPr>
              <a:t>USD 32.9 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B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(53.7%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xygenRegular"/>
              <a:cs typeface="GOTHAM-BOOK" pitchFamily="50" charset="0"/>
              <a:sym typeface="Arial" panose="020B0604020202020204"/>
            </a:endParaRP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005AF600-634A-4AF3-BEB1-75ECCE58C8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3699359"/>
              </p:ext>
            </p:extLst>
          </p:nvPr>
        </p:nvGraphicFramePr>
        <p:xfrm>
          <a:off x="111572" y="5006509"/>
          <a:ext cx="2953150" cy="1688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3" name="Chart 82">
            <a:extLst>
              <a:ext uri="{FF2B5EF4-FFF2-40B4-BE49-F238E27FC236}">
                <a16:creationId xmlns:a16="http://schemas.microsoft.com/office/drawing/2014/main" id="{1A93A014-513C-4AA0-B8F4-1A1B72709E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7468169"/>
              </p:ext>
            </p:extLst>
          </p:nvPr>
        </p:nvGraphicFramePr>
        <p:xfrm>
          <a:off x="3017477" y="4996059"/>
          <a:ext cx="2953150" cy="16886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4" name="TextBox 83">
            <a:extLst>
              <a:ext uri="{FF2B5EF4-FFF2-40B4-BE49-F238E27FC236}">
                <a16:creationId xmlns:a16="http://schemas.microsoft.com/office/drawing/2014/main" id="{8BA77CC2-2B2B-4BDE-B112-6C98B67DBF9A}"/>
              </a:ext>
            </a:extLst>
          </p:cNvPr>
          <p:cNvSpPr txBox="1"/>
          <p:nvPr/>
        </p:nvSpPr>
        <p:spPr>
          <a:xfrm>
            <a:off x="193897" y="4857359"/>
            <a:ext cx="2832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oxygenRegular"/>
                <a:cs typeface="GOTHAM-BOOK" pitchFamily="50" charset="0"/>
              </a:rPr>
              <a:t>Based on Investment Sources​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1E9AB4DC-54CC-4698-86B7-0B1EAFEEA408}"/>
              </a:ext>
            </a:extLst>
          </p:cNvPr>
          <p:cNvSpPr txBox="1"/>
          <p:nvPr/>
        </p:nvSpPr>
        <p:spPr>
          <a:xfrm>
            <a:off x="3622704" y="4857359"/>
            <a:ext cx="1712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oxygenRegular"/>
                <a:cs typeface="GOTHAM-BOOK" pitchFamily="50" charset="0"/>
              </a:rPr>
              <a:t>Based on Distribution​</a:t>
            </a:r>
          </a:p>
          <a:p>
            <a:pPr algn="ctr"/>
            <a:endParaRPr lang="en-US" b="1" dirty="0">
              <a:latin typeface="oxygenRegular"/>
              <a:cs typeface="GOTHAM-BOOK" pitchFamily="50" charset="0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224D0C3A-925C-4D8C-AD16-1EA4B6706D70}"/>
              </a:ext>
            </a:extLst>
          </p:cNvPr>
          <p:cNvGrpSpPr/>
          <p:nvPr/>
        </p:nvGrpSpPr>
        <p:grpSpPr>
          <a:xfrm>
            <a:off x="3470699" y="2700685"/>
            <a:ext cx="2348670" cy="1840805"/>
            <a:chOff x="9127731" y="2813764"/>
            <a:chExt cx="3285430" cy="2575007"/>
          </a:xfrm>
        </p:grpSpPr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C9C7CB8E-8DF0-4B8D-9A85-409ACFF08C0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screen">
              <a:duotone>
                <a:srgbClr val="4472C4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667" b="14720"/>
            <a:stretch>
              <a:fillRect/>
            </a:stretch>
          </p:blipFill>
          <p:spPr bwMode="auto">
            <a:xfrm>
              <a:off x="10037088" y="2813764"/>
              <a:ext cx="1372658" cy="1165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TextBox 5">
              <a:extLst>
                <a:ext uri="{FF2B5EF4-FFF2-40B4-BE49-F238E27FC236}">
                  <a16:creationId xmlns:a16="http://schemas.microsoft.com/office/drawing/2014/main" id="{87B8C304-0331-4442-BA1D-1D29E631FB9D}"/>
                </a:ext>
              </a:extLst>
            </p:cNvPr>
            <p:cNvSpPr txBox="1"/>
            <p:nvPr/>
          </p:nvSpPr>
          <p:spPr>
            <a:xfrm>
              <a:off x="9127731" y="4247859"/>
              <a:ext cx="3285430" cy="11409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/>
                <a:defRPr sz="1400" b="0" i="0" u="none" strike="noStrike" cap="none">
                  <a:solidFill>
                    <a:srgbClr val="000000"/>
                  </a:solidFill>
                  <a:latin typeface="Arial" panose="020B0604020202020204"/>
                  <a:ea typeface="Arial" panose="020B0604020202020204"/>
                  <a:cs typeface="Arial" panose="020B0604020202020204"/>
                  <a:sym typeface="Arial" panose="020B0604020202020204"/>
                </a:defRPr>
              </a:lvl9pPr>
            </a:lstStyle>
            <a:p>
              <a:pPr lvl="0" algn="ctr">
                <a:buClrTx/>
                <a:defRPr/>
              </a:pPr>
              <a:r>
                <a:rPr lang="en-US" sz="1100" dirty="0">
                  <a:solidFill>
                    <a:prstClr val="black"/>
                  </a:solidFill>
                  <a:latin typeface="oxygenRegular"/>
                  <a:ea typeface="+mn-ea"/>
                  <a:cs typeface="GOTHAM-BOOK" pitchFamily="50" charset="0"/>
                </a:rPr>
                <a:t>Local worker absorption
</a:t>
              </a: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2F5597"/>
                  </a:solidFill>
                  <a:effectLst/>
                  <a:uLnTx/>
                  <a:uFillTx/>
                  <a:latin typeface="oxygenRegular"/>
                  <a:cs typeface="GOTHAM-BOOK" pitchFamily="50" charset="0"/>
                  <a:sym typeface="Arial" panose="020B0604020202020204"/>
                </a:rPr>
                <a:t>1,207,893</a:t>
              </a:r>
            </a:p>
          </p:txBody>
        </p:sp>
      </p:grpSp>
      <p:sp>
        <p:nvSpPr>
          <p:cNvPr id="89" name="TextBox 88">
            <a:extLst>
              <a:ext uri="{FF2B5EF4-FFF2-40B4-BE49-F238E27FC236}">
                <a16:creationId xmlns:a16="http://schemas.microsoft.com/office/drawing/2014/main" id="{AF735230-C47A-4F6A-9620-FD583DAB4FED}"/>
              </a:ext>
            </a:extLst>
          </p:cNvPr>
          <p:cNvSpPr txBox="1"/>
          <p:nvPr/>
        </p:nvSpPr>
        <p:spPr>
          <a:xfrm>
            <a:off x="336069" y="5586798"/>
            <a:ext cx="1067904" cy="588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cs typeface="GOTHAM-BOOK" pitchFamily="50" charset="0"/>
                <a:sym typeface="Arial"/>
              </a:rPr>
              <a:t>DDI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cs typeface="GOTHAM-BOOK" pitchFamily="50" charset="0"/>
                <a:sym typeface="Arial"/>
              </a:rPr>
              <a:t>USD 30.6 B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cs typeface="GOTHAM-BOOK" pitchFamily="50" charset="0"/>
                <a:sym typeface="Arial"/>
              </a:rPr>
              <a:t>(49.6%)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037A553-D73D-480B-B944-5203E4C2EF5F}"/>
              </a:ext>
            </a:extLst>
          </p:cNvPr>
          <p:cNvSpPr txBox="1"/>
          <p:nvPr/>
        </p:nvSpPr>
        <p:spPr>
          <a:xfrm>
            <a:off x="1636307" y="5586798"/>
            <a:ext cx="13113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xygenRegular"/>
                <a:cs typeface="GOTHAM-BOOK" pitchFamily="50" charset="0"/>
                <a:sym typeface="Arial"/>
              </a:rPr>
              <a:t>FDI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oxygenRegular"/>
                <a:cs typeface="GOTHAM-BOOK" pitchFamily="50" charset="0"/>
                <a:sym typeface="Arial"/>
              </a:rPr>
              <a:t> USD 31.1 B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solidFill>
                  <a:prstClr val="white"/>
                </a:solidFill>
                <a:latin typeface="oxygenRegular"/>
                <a:cs typeface="GOTHAM-BOOK" pitchFamily="50" charset="0"/>
                <a:sym typeface="Arial"/>
              </a:rPr>
              <a:t>(50.4%)</a:t>
            </a:r>
          </a:p>
        </p:txBody>
      </p:sp>
      <p:sp>
        <p:nvSpPr>
          <p:cNvPr id="91" name="TextBox 21">
            <a:extLst>
              <a:ext uri="{FF2B5EF4-FFF2-40B4-BE49-F238E27FC236}">
                <a16:creationId xmlns:a16="http://schemas.microsoft.com/office/drawing/2014/main" id="{581CE2BB-B653-45E5-B609-1318158B3E9D}"/>
              </a:ext>
            </a:extLst>
          </p:cNvPr>
          <p:cNvSpPr txBox="1"/>
          <p:nvPr/>
        </p:nvSpPr>
        <p:spPr>
          <a:xfrm>
            <a:off x="4638651" y="5586798"/>
            <a:ext cx="1244644" cy="58849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Java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USD 29.6 B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(48.0%)</a:t>
            </a:r>
          </a:p>
        </p:txBody>
      </p:sp>
      <p:sp>
        <p:nvSpPr>
          <p:cNvPr id="92" name="TextBox 22">
            <a:extLst>
              <a:ext uri="{FF2B5EF4-FFF2-40B4-BE49-F238E27FC236}">
                <a16:creationId xmlns:a16="http://schemas.microsoft.com/office/drawing/2014/main" id="{0321201A-D9D2-4584-81B3-5D4783B95690}"/>
              </a:ext>
            </a:extLst>
          </p:cNvPr>
          <p:cNvSpPr txBox="1"/>
          <p:nvPr/>
        </p:nvSpPr>
        <p:spPr>
          <a:xfrm>
            <a:off x="3102948" y="5586798"/>
            <a:ext cx="1435578" cy="58849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Outside Java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xygenRegular"/>
              <a:ea typeface="+mn-ea"/>
              <a:cs typeface="GOTHAM-BOOK" pitchFamily="50" charset="0"/>
              <a:sym typeface="Arial" panose="020B0604020202020204"/>
            </a:endParaRP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USD 32.1 B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(52.0%)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B5091D08-247D-4754-B797-E0EAF27443A2}"/>
              </a:ext>
            </a:extLst>
          </p:cNvPr>
          <p:cNvSpPr txBox="1"/>
          <p:nvPr/>
        </p:nvSpPr>
        <p:spPr>
          <a:xfrm>
            <a:off x="6434437" y="4882310"/>
            <a:ext cx="28324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oxygenRegular"/>
                <a:cs typeface="GOTHAM-BOOK" pitchFamily="50" charset="0"/>
              </a:rPr>
              <a:t>Based on Investment Sources​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AA00921-4FCC-4AE0-945B-3040A6954A6E}"/>
              </a:ext>
            </a:extLst>
          </p:cNvPr>
          <p:cNvSpPr txBox="1"/>
          <p:nvPr/>
        </p:nvSpPr>
        <p:spPr>
          <a:xfrm>
            <a:off x="9863244" y="4882310"/>
            <a:ext cx="17129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latin typeface="oxygenRegular"/>
                <a:cs typeface="GOTHAM-BOOK" pitchFamily="50" charset="0"/>
              </a:rPr>
              <a:t>Based on Distribution​</a:t>
            </a:r>
          </a:p>
          <a:p>
            <a:pPr algn="ctr"/>
            <a:r>
              <a:rPr lang="en-US" b="1" dirty="0">
                <a:latin typeface="oxygenRegular"/>
                <a:cs typeface="GOTHAM-BOOK" pitchFamily="50" charset="0"/>
              </a:rPr>
              <a:t>​</a:t>
            </a:r>
          </a:p>
        </p:txBody>
      </p:sp>
      <p:cxnSp>
        <p:nvCxnSpPr>
          <p:cNvPr id="96" name="Connector: Elbow 95">
            <a:extLst>
              <a:ext uri="{FF2B5EF4-FFF2-40B4-BE49-F238E27FC236}">
                <a16:creationId xmlns:a16="http://schemas.microsoft.com/office/drawing/2014/main" id="{5085787D-C560-45C7-94F5-32D30E3F55C2}"/>
              </a:ext>
            </a:extLst>
          </p:cNvPr>
          <p:cNvCxnSpPr>
            <a:cxnSpLocks/>
          </p:cNvCxnSpPr>
          <p:nvPr/>
        </p:nvCxnSpPr>
        <p:spPr>
          <a:xfrm>
            <a:off x="8425715" y="1870111"/>
            <a:ext cx="1143410" cy="602200"/>
          </a:xfrm>
          <a:prstGeom prst="bentConnector3">
            <a:avLst>
              <a:gd name="adj1" fmla="val 100352"/>
            </a:avLst>
          </a:prstGeom>
          <a:noFill/>
          <a:ln w="38100" cap="flat" cmpd="sng" algn="ctr">
            <a:solidFill>
              <a:srgbClr val="8EB4E3"/>
            </a:solidFill>
            <a:prstDash val="solid"/>
            <a:tailEnd type="oval" w="sm" len="sm"/>
          </a:ln>
          <a:effectLst/>
        </p:spPr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8AC070E0-2125-449A-A5E8-E673BCE1F1A2}"/>
              </a:ext>
            </a:extLst>
          </p:cNvPr>
          <p:cNvSpPr txBox="1"/>
          <p:nvPr/>
        </p:nvSpPr>
        <p:spPr>
          <a:xfrm>
            <a:off x="6188824" y="6355943"/>
            <a:ext cx="28324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oxygenRegular"/>
                <a:cs typeface="GOTHAM-BOOK" pitchFamily="50" charset="0"/>
              </a:rPr>
              <a:t>*Foreign Exchange 2022: Rp. 14,350/USD</a:t>
            </a:r>
          </a:p>
        </p:txBody>
      </p: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323949F4-B606-4092-8521-96CC19DA33D5}"/>
              </a:ext>
            </a:extLst>
          </p:cNvPr>
          <p:cNvGraphicFramePr/>
          <p:nvPr/>
        </p:nvGraphicFramePr>
        <p:xfrm>
          <a:off x="59277" y="1698807"/>
          <a:ext cx="3513509" cy="3346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104" name="Connector: Elbow 103">
            <a:extLst>
              <a:ext uri="{FF2B5EF4-FFF2-40B4-BE49-F238E27FC236}">
                <a16:creationId xmlns:a16="http://schemas.microsoft.com/office/drawing/2014/main" id="{8C0DF30F-BFF0-448B-91E2-AC329E2FAE1A}"/>
              </a:ext>
            </a:extLst>
          </p:cNvPr>
          <p:cNvCxnSpPr>
            <a:cxnSpLocks/>
          </p:cNvCxnSpPr>
          <p:nvPr/>
        </p:nvCxnSpPr>
        <p:spPr>
          <a:xfrm rot="10800000" flipV="1">
            <a:off x="2715325" y="1835530"/>
            <a:ext cx="1207642" cy="738207"/>
          </a:xfrm>
          <a:prstGeom prst="bentConnector3">
            <a:avLst>
              <a:gd name="adj1" fmla="val 100465"/>
            </a:avLst>
          </a:prstGeom>
          <a:ln w="38100">
            <a:solidFill>
              <a:srgbClr val="8EB4E3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5">
            <a:extLst>
              <a:ext uri="{FF2B5EF4-FFF2-40B4-BE49-F238E27FC236}">
                <a16:creationId xmlns:a16="http://schemas.microsoft.com/office/drawing/2014/main" id="{860A92F2-646E-41CF-A7B4-13A7BFC29761}"/>
              </a:ext>
            </a:extLst>
          </p:cNvPr>
          <p:cNvSpPr txBox="1"/>
          <p:nvPr/>
        </p:nvSpPr>
        <p:spPr>
          <a:xfrm>
            <a:off x="421199" y="3299123"/>
            <a:ext cx="274993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Investment target 2021*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chemeClr val="bg1"/>
                </a:solidFill>
                <a:latin typeface="oxygenRegular"/>
                <a:ea typeface="+mn-ea"/>
                <a:cs typeface="GOTHAM-BOOK" pitchFamily="50" charset="0"/>
              </a:rPr>
              <a:t>USD 61.1 B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xygenRegular"/>
              <a:ea typeface="+mn-ea"/>
              <a:cs typeface="GOTHAM-BOOK" pitchFamily="50" charset="0"/>
              <a:sym typeface="Arial" panose="020B0604020202020204"/>
            </a:endParaRPr>
          </a:p>
        </p:txBody>
      </p:sp>
      <p:sp>
        <p:nvSpPr>
          <p:cNvPr id="106" name="TextBox 14">
            <a:extLst>
              <a:ext uri="{FF2B5EF4-FFF2-40B4-BE49-F238E27FC236}">
                <a16:creationId xmlns:a16="http://schemas.microsoft.com/office/drawing/2014/main" id="{1F046979-74F5-444D-B00E-CFACDBF960F2}"/>
              </a:ext>
            </a:extLst>
          </p:cNvPr>
          <p:cNvSpPr txBox="1"/>
          <p:nvPr/>
        </p:nvSpPr>
        <p:spPr>
          <a:xfrm>
            <a:off x="476432" y="2305020"/>
            <a:ext cx="26161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100.1%</a:t>
            </a: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C7AAA23A-D29B-4ED6-9B9B-CB91F6FC44B7}"/>
              </a:ext>
            </a:extLst>
          </p:cNvPr>
          <p:cNvSpPr txBox="1"/>
          <p:nvPr/>
        </p:nvSpPr>
        <p:spPr>
          <a:xfrm>
            <a:off x="0" y="6355943"/>
            <a:ext cx="283249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oxygenRegular"/>
                <a:cs typeface="GOTHAM-BOOK" pitchFamily="50" charset="0"/>
              </a:rPr>
              <a:t>*Foreign Exchange 2021: Rp. 14,600/USD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6C75A01A-608F-44D3-B9BA-A627CA912E5E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13319E8-FDE6-7AA4-862A-E33CDD06463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BE8077C-7759-9F20-0B94-50599BC97B60}"/>
              </a:ext>
            </a:extLst>
          </p:cNvPr>
          <p:cNvGraphicFramePr/>
          <p:nvPr/>
        </p:nvGraphicFramePr>
        <p:xfrm>
          <a:off x="8772024" y="1574537"/>
          <a:ext cx="3513509" cy="3346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5" name="TextBox 14">
            <a:extLst>
              <a:ext uri="{FF2B5EF4-FFF2-40B4-BE49-F238E27FC236}">
                <a16:creationId xmlns:a16="http://schemas.microsoft.com/office/drawing/2014/main" id="{476883EB-E7E9-7DA9-786C-60FAC30A738C}"/>
              </a:ext>
            </a:extLst>
          </p:cNvPr>
          <p:cNvSpPr txBox="1"/>
          <p:nvPr/>
        </p:nvSpPr>
        <p:spPr>
          <a:xfrm>
            <a:off x="9290563" y="2239779"/>
            <a:ext cx="26161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800" dirty="0">
                <a:solidFill>
                  <a:srgbClr val="2F5597"/>
                </a:solidFill>
                <a:latin typeface="oxygenRegular"/>
                <a:ea typeface="+mn-ea"/>
                <a:cs typeface="GOTHAM-BOOK" pitchFamily="50" charset="0"/>
              </a:rPr>
              <a:t>74</a:t>
            </a: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2F5597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.</a:t>
            </a: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4%</a:t>
            </a:r>
          </a:p>
        </p:txBody>
      </p:sp>
      <p:sp>
        <p:nvSpPr>
          <p:cNvPr id="6" name="TextBox 15">
            <a:extLst>
              <a:ext uri="{FF2B5EF4-FFF2-40B4-BE49-F238E27FC236}">
                <a16:creationId xmlns:a16="http://schemas.microsoft.com/office/drawing/2014/main" id="{9AA23E6D-32BD-DAF0-D446-80BBF8029540}"/>
              </a:ext>
            </a:extLst>
          </p:cNvPr>
          <p:cNvSpPr txBox="1"/>
          <p:nvPr/>
        </p:nvSpPr>
        <p:spPr>
          <a:xfrm>
            <a:off x="9032383" y="3162112"/>
            <a:ext cx="305805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 panose="020B0604020202020204"/>
              <a:defRPr sz="1400" b="0" i="0" u="none" strike="noStrike" cap="none">
                <a:solidFill>
                  <a:srgbClr val="000000"/>
                </a:solidFill>
                <a:latin typeface="Arial" panose="020B0604020202020204"/>
                <a:ea typeface="Arial" panose="020B0604020202020204"/>
                <a:cs typeface="Arial" panose="020B0604020202020204"/>
                <a:sym typeface="Arial" panose="020B0604020202020204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oxygenRegular"/>
                <a:ea typeface="+mn-ea"/>
                <a:cs typeface="GOTHAM-BOOK" pitchFamily="50" charset="0"/>
                <a:sym typeface="Arial" panose="020B0604020202020204"/>
              </a:rPr>
              <a:t>Investment target 202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500" b="1" dirty="0">
                <a:solidFill>
                  <a:schemeClr val="bg1"/>
                </a:solidFill>
                <a:latin typeface="oxygenRegular"/>
                <a:ea typeface="+mn-ea"/>
                <a:cs typeface="GOTHAM-BOOK" pitchFamily="50" charset="0"/>
              </a:rPr>
              <a:t>USD 83.6 T</a:t>
            </a:r>
            <a:endParaRPr kumimoji="0" lang="en-US" sz="35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xygenRegular"/>
              <a:ea typeface="+mn-ea"/>
              <a:cs typeface="GOTHAM-BOOK" pitchFamily="50" charset="0"/>
              <a:sym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0219849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28100B-3600-CB2B-1D38-C49F9AC3AF91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6B4788-4C8E-EFDC-28B8-02F0065783A6}"/>
              </a:ext>
            </a:extLst>
          </p:cNvPr>
          <p:cNvSpPr txBox="1"/>
          <p:nvPr/>
        </p:nvSpPr>
        <p:spPr>
          <a:xfrm>
            <a:off x="1504335" y="590577"/>
            <a:ext cx="88458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p 5 FDI in Indonesia </a:t>
            </a:r>
            <a:r>
              <a:rPr kumimoji="0" lang="es-ES" sz="2400" b="1" i="0" u="none" strike="noStrike" kern="1200" cap="none" spc="-50" normalizeH="0" baseline="0" noProof="0" dirty="0">
                <a:ln>
                  <a:noFill/>
                </a:ln>
                <a:solidFill>
                  <a:srgbClr val="273C9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22 Q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ot including upstream </a:t>
            </a:r>
            <a:r>
              <a:rPr lang="en-US" sz="1600" spc="-50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kumimoji="0" lang="en-US" sz="1600" b="0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and gas, financial sectors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216F4E-B6F4-DBC8-A24F-10E063574F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AAE49BB-2037-A31D-69D2-8CD0C02CC14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608" b="3679"/>
          <a:stretch/>
        </p:blipFill>
        <p:spPr>
          <a:xfrm>
            <a:off x="57150" y="1370864"/>
            <a:ext cx="12077700" cy="5195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2257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C228100B-3600-CB2B-1D38-C49F9AC3AF91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B183654-0448-ACE5-73AB-392F26DEF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333470"/>
            <a:ext cx="2743200" cy="365125"/>
          </a:xfrm>
        </p:spPr>
        <p:txBody>
          <a:bodyPr/>
          <a:lstStyle/>
          <a:p>
            <a:fld id="{34509EC4-87CD-404E-9853-B7B18F953ABD}" type="slidenum">
              <a:rPr lang="id-ID" smtClean="0"/>
              <a:t>7</a:t>
            </a:fld>
            <a:endParaRPr lang="id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6B4788-4C8E-EFDC-28B8-02F0065783A6}"/>
              </a:ext>
            </a:extLst>
          </p:cNvPr>
          <p:cNvSpPr txBox="1"/>
          <p:nvPr/>
        </p:nvSpPr>
        <p:spPr>
          <a:xfrm>
            <a:off x="1504335" y="590577"/>
            <a:ext cx="884586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400" b="1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op 5 FDI in Indonesia </a:t>
            </a:r>
            <a:r>
              <a:rPr kumimoji="0" lang="es-ES" sz="2400" b="1" i="0" u="none" strike="noStrike" kern="1200" cap="none" spc="-50" normalizeH="0" baseline="0" noProof="0" dirty="0">
                <a:ln>
                  <a:noFill/>
                </a:ln>
                <a:solidFill>
                  <a:srgbClr val="273C9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Jan – </a:t>
            </a:r>
            <a:r>
              <a:rPr kumimoji="0" lang="es-ES" sz="2400" b="1" i="0" u="none" strike="noStrike" kern="1200" cap="none" spc="-50" normalizeH="0" baseline="0" noProof="0" dirty="0" err="1">
                <a:ln>
                  <a:noFill/>
                </a:ln>
                <a:solidFill>
                  <a:srgbClr val="273C9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ep</a:t>
            </a:r>
            <a:r>
              <a:rPr kumimoji="0" lang="es-ES" sz="2400" b="1" i="0" u="none" strike="noStrike" kern="1200" cap="none" spc="-50" normalizeH="0" baseline="0" noProof="0" dirty="0">
                <a:ln>
                  <a:noFill/>
                </a:ln>
                <a:solidFill>
                  <a:srgbClr val="273C9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2022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ot including upstream </a:t>
            </a:r>
            <a:r>
              <a:rPr lang="en-US" sz="1600" spc="-50" dirty="0">
                <a:latin typeface="Arial" panose="020B0604020202020204" pitchFamily="34" charset="0"/>
                <a:cs typeface="Arial" panose="020B0604020202020204" pitchFamily="34" charset="0"/>
              </a:rPr>
              <a:t>o</a:t>
            </a:r>
            <a:r>
              <a:rPr kumimoji="0" lang="en-US" sz="1600" b="0" i="0" u="none" strike="noStrike" kern="1200" cap="none" spc="-5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and gas, financial sectors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3216F4E-B6F4-DBC8-A24F-10E063574F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9D54776-2113-373C-10A1-5E49177A08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652" b="3683"/>
          <a:stretch/>
        </p:blipFill>
        <p:spPr>
          <a:xfrm>
            <a:off x="33337" y="1370864"/>
            <a:ext cx="12125325" cy="5199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2086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5758" name="TextBox 3145757">
            <a:extLst>
              <a:ext uri="{FF2B5EF4-FFF2-40B4-BE49-F238E27FC236}">
                <a16:creationId xmlns:a16="http://schemas.microsoft.com/office/drawing/2014/main" id="{AAD70487-D756-A033-11F0-39150F87506E}"/>
              </a:ext>
            </a:extLst>
          </p:cNvPr>
          <p:cNvSpPr txBox="1"/>
          <p:nvPr/>
        </p:nvSpPr>
        <p:spPr>
          <a:xfrm>
            <a:off x="1660772" y="33336"/>
            <a:ext cx="8845862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buClrTx/>
              <a:defRPr/>
            </a:pPr>
            <a:r>
              <a:rPr lang="nl-NL" sz="2400" b="1" spc="-50" dirty="0">
                <a:latin typeface="Arial" panose="020B0604020202020204" pitchFamily="34" charset="0"/>
                <a:cs typeface="Arial" panose="020B0604020202020204" pitchFamily="34" charset="0"/>
              </a:rPr>
              <a:t>FDI Trends</a:t>
            </a:r>
            <a:endParaRPr lang="nl-NL" sz="2400" b="1" kern="1200" spc="-5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>
              <a:buClrTx/>
              <a:buFontTx/>
              <a:buNone/>
              <a:defRPr/>
            </a:pPr>
            <a:r>
              <a:rPr lang="nl-NL" sz="2400" b="1" kern="1200" spc="-50" dirty="0">
                <a:solidFill>
                  <a:srgbClr val="0018C0"/>
                </a:solidFill>
                <a:ea typeface="+mn-ea"/>
              </a:rPr>
              <a:t>2019, 2020, and 2021</a:t>
            </a:r>
            <a:endParaRPr lang="es-ES" b="1" kern="1200" spc="-50" dirty="0">
              <a:solidFill>
                <a:srgbClr val="0018C0"/>
              </a:solidFill>
              <a:ea typeface="+mn-ea"/>
            </a:endParaRPr>
          </a:p>
        </p:txBody>
      </p:sp>
      <p:sp>
        <p:nvSpPr>
          <p:cNvPr id="3145759" name="Slide Number Placeholder 8">
            <a:extLst>
              <a:ext uri="{FF2B5EF4-FFF2-40B4-BE49-F238E27FC236}">
                <a16:creationId xmlns:a16="http://schemas.microsoft.com/office/drawing/2014/main" id="{6462E761-EDBE-B6F1-0FC2-D1BBED0BD815}"/>
              </a:ext>
            </a:extLst>
          </p:cNvPr>
          <p:cNvSpPr txBox="1">
            <a:spLocks/>
          </p:cNvSpPr>
          <p:nvPr/>
        </p:nvSpPr>
        <p:spPr>
          <a:xfrm>
            <a:off x="7664358" y="605601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id-ID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buFontTx/>
              <a:buNone/>
              <a:defRPr/>
            </a:pPr>
            <a:fld id="{34509EC4-87CD-404E-9853-B7B18F953ABD}" type="slidenum">
              <a:rPr lang="id-ID" sz="2000" b="1" smtClean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>
                <a:buClrTx/>
                <a:buFontTx/>
                <a:buNone/>
                <a:defRPr/>
              </a:pPr>
              <a:t>8</a:t>
            </a:fld>
            <a:endParaRPr lang="id-ID" sz="2000" b="1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145760" name="Table 3145759">
            <a:extLst>
              <a:ext uri="{FF2B5EF4-FFF2-40B4-BE49-F238E27FC236}">
                <a16:creationId xmlns:a16="http://schemas.microsoft.com/office/drawing/2014/main" id="{92458025-A654-53E7-AE41-EAC999A6F2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3233574"/>
              </p:ext>
            </p:extLst>
          </p:nvPr>
        </p:nvGraphicFramePr>
        <p:xfrm>
          <a:off x="166672" y="1330701"/>
          <a:ext cx="3853784" cy="5213602"/>
        </p:xfrm>
        <a:graphic>
          <a:graphicData uri="http://schemas.openxmlformats.org/drawingml/2006/table">
            <a:tbl>
              <a:tblPr firstRow="1" bandRow="1"/>
              <a:tblGrid>
                <a:gridCol w="341328">
                  <a:extLst>
                    <a:ext uri="{9D8B030D-6E8A-4147-A177-3AD203B41FA5}">
                      <a16:colId xmlns:a16="http://schemas.microsoft.com/office/drawing/2014/main" val="1962077573"/>
                    </a:ext>
                  </a:extLst>
                </a:gridCol>
                <a:gridCol w="368300">
                  <a:extLst>
                    <a:ext uri="{9D8B030D-6E8A-4147-A177-3AD203B41FA5}">
                      <a16:colId xmlns:a16="http://schemas.microsoft.com/office/drawing/2014/main" val="158753476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810188484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956605347"/>
                    </a:ext>
                  </a:extLst>
                </a:gridCol>
                <a:gridCol w="1201056">
                  <a:extLst>
                    <a:ext uri="{9D8B030D-6E8A-4147-A177-3AD203B41FA5}">
                      <a16:colId xmlns:a16="http://schemas.microsoft.com/office/drawing/2014/main" val="164102329"/>
                    </a:ext>
                  </a:extLst>
                </a:gridCol>
              </a:tblGrid>
              <a:tr h="492838">
                <a:tc grid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 sz="14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ry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 sz="14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rgbClr val="2B3E97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SD Million)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976531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apor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6,50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29081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n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4,744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6373569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pan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4,310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198426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ngko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2,891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276763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herland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2,596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695406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aysi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1,357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030049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th Kore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1,070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416613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   98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730131"/>
                  </a:ext>
                </a:extLst>
              </a:tr>
              <a:tr h="558444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tis Virgin Island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   743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3441"/>
                  </a:ext>
                </a:extLst>
              </a:tr>
              <a:tr h="46248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strali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   348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788452"/>
                  </a:ext>
                </a:extLst>
              </a:tr>
            </a:tbl>
          </a:graphicData>
        </a:graphic>
      </p:graphicFrame>
      <p:sp>
        <p:nvSpPr>
          <p:cNvPr id="3145761" name="object 5">
            <a:extLst>
              <a:ext uri="{FF2B5EF4-FFF2-40B4-BE49-F238E27FC236}">
                <a16:creationId xmlns:a16="http://schemas.microsoft.com/office/drawing/2014/main" id="{F30DEE1F-BFFC-0FDC-51FB-FF3187E868AF}"/>
              </a:ext>
            </a:extLst>
          </p:cNvPr>
          <p:cNvSpPr/>
          <p:nvPr/>
        </p:nvSpPr>
        <p:spPr>
          <a:xfrm>
            <a:off x="1015299" y="2819838"/>
            <a:ext cx="491051" cy="37077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62" name="object 25">
            <a:extLst>
              <a:ext uri="{FF2B5EF4-FFF2-40B4-BE49-F238E27FC236}">
                <a16:creationId xmlns:a16="http://schemas.microsoft.com/office/drawing/2014/main" id="{B5A2D678-2703-F6E1-8A38-5F19B4671943}"/>
              </a:ext>
            </a:extLst>
          </p:cNvPr>
          <p:cNvSpPr/>
          <p:nvPr/>
        </p:nvSpPr>
        <p:spPr>
          <a:xfrm>
            <a:off x="1015299" y="2344846"/>
            <a:ext cx="491051" cy="37077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63" name="object 11">
            <a:extLst>
              <a:ext uri="{FF2B5EF4-FFF2-40B4-BE49-F238E27FC236}">
                <a16:creationId xmlns:a16="http://schemas.microsoft.com/office/drawing/2014/main" id="{E63DFB67-05A5-8739-EB98-ED7A8CC68DB3}"/>
              </a:ext>
            </a:extLst>
          </p:cNvPr>
          <p:cNvSpPr/>
          <p:nvPr/>
        </p:nvSpPr>
        <p:spPr>
          <a:xfrm>
            <a:off x="1011587" y="3301804"/>
            <a:ext cx="498475" cy="370774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64" name="object 17">
            <a:extLst>
              <a:ext uri="{FF2B5EF4-FFF2-40B4-BE49-F238E27FC236}">
                <a16:creationId xmlns:a16="http://schemas.microsoft.com/office/drawing/2014/main" id="{C4B293C2-09FD-22BF-F4DE-224C9AFF761D}"/>
              </a:ext>
            </a:extLst>
          </p:cNvPr>
          <p:cNvSpPr/>
          <p:nvPr/>
        </p:nvSpPr>
        <p:spPr>
          <a:xfrm>
            <a:off x="1011587" y="3780185"/>
            <a:ext cx="498475" cy="370774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65" name="object 7">
            <a:extLst>
              <a:ext uri="{FF2B5EF4-FFF2-40B4-BE49-F238E27FC236}">
                <a16:creationId xmlns:a16="http://schemas.microsoft.com/office/drawing/2014/main" id="{75EB1511-E0E0-1D9E-5A77-8B3D661DC642}"/>
              </a:ext>
            </a:extLst>
          </p:cNvPr>
          <p:cNvSpPr/>
          <p:nvPr/>
        </p:nvSpPr>
        <p:spPr>
          <a:xfrm>
            <a:off x="1007526" y="5184384"/>
            <a:ext cx="506596" cy="301432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66" name="object 8">
            <a:extLst>
              <a:ext uri="{FF2B5EF4-FFF2-40B4-BE49-F238E27FC236}">
                <a16:creationId xmlns:a16="http://schemas.microsoft.com/office/drawing/2014/main" id="{B9914FF5-8281-2849-949E-DE2ACA6D43B2}"/>
              </a:ext>
            </a:extLst>
          </p:cNvPr>
          <p:cNvSpPr/>
          <p:nvPr/>
        </p:nvSpPr>
        <p:spPr>
          <a:xfrm>
            <a:off x="1011587" y="4722554"/>
            <a:ext cx="498475" cy="301432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67" name="AutoShape 40">
            <a:extLst>
              <a:ext uri="{FF2B5EF4-FFF2-40B4-BE49-F238E27FC236}">
                <a16:creationId xmlns:a16="http://schemas.microsoft.com/office/drawing/2014/main" id="{17ED1F9C-5A0D-9D59-C6AE-E67018F0C399}"/>
              </a:ext>
            </a:extLst>
          </p:cNvPr>
          <p:cNvSpPr/>
          <p:nvPr/>
        </p:nvSpPr>
        <p:spPr>
          <a:xfrm>
            <a:off x="288560" y="2012742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68" name="AutoShape 40">
            <a:extLst>
              <a:ext uri="{FF2B5EF4-FFF2-40B4-BE49-F238E27FC236}">
                <a16:creationId xmlns:a16="http://schemas.microsoft.com/office/drawing/2014/main" id="{AA3C45A3-766A-C34D-287D-0F1CC88EA67F}"/>
              </a:ext>
            </a:extLst>
          </p:cNvPr>
          <p:cNvSpPr/>
          <p:nvPr/>
        </p:nvSpPr>
        <p:spPr>
          <a:xfrm>
            <a:off x="288560" y="2483901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69" name="AutoShape 40">
            <a:extLst>
              <a:ext uri="{FF2B5EF4-FFF2-40B4-BE49-F238E27FC236}">
                <a16:creationId xmlns:a16="http://schemas.microsoft.com/office/drawing/2014/main" id="{EDC24106-09D9-451E-FB1F-F87BFE764501}"/>
              </a:ext>
            </a:extLst>
          </p:cNvPr>
          <p:cNvSpPr/>
          <p:nvPr/>
        </p:nvSpPr>
        <p:spPr>
          <a:xfrm>
            <a:off x="288560" y="2958893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70" name="AutoShape 40">
            <a:extLst>
              <a:ext uri="{FF2B5EF4-FFF2-40B4-BE49-F238E27FC236}">
                <a16:creationId xmlns:a16="http://schemas.microsoft.com/office/drawing/2014/main" id="{BC234852-0ED3-16BE-0EC6-E1DE59BFFBAD}"/>
              </a:ext>
            </a:extLst>
          </p:cNvPr>
          <p:cNvSpPr/>
          <p:nvPr/>
        </p:nvSpPr>
        <p:spPr>
          <a:xfrm>
            <a:off x="288560" y="3440860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71" name="AutoShape 40">
            <a:extLst>
              <a:ext uri="{FF2B5EF4-FFF2-40B4-BE49-F238E27FC236}">
                <a16:creationId xmlns:a16="http://schemas.microsoft.com/office/drawing/2014/main" id="{49D5CD24-3378-F195-B734-D56BABCBEFA6}"/>
              </a:ext>
            </a:extLst>
          </p:cNvPr>
          <p:cNvSpPr/>
          <p:nvPr/>
        </p:nvSpPr>
        <p:spPr>
          <a:xfrm>
            <a:off x="288560" y="3919241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72" name="AutoShape 40">
            <a:extLst>
              <a:ext uri="{FF2B5EF4-FFF2-40B4-BE49-F238E27FC236}">
                <a16:creationId xmlns:a16="http://schemas.microsoft.com/office/drawing/2014/main" id="{FC2C50A1-E461-3FC6-E8E7-AB120F5A3661}"/>
              </a:ext>
            </a:extLst>
          </p:cNvPr>
          <p:cNvSpPr/>
          <p:nvPr/>
        </p:nvSpPr>
        <p:spPr>
          <a:xfrm>
            <a:off x="288560" y="4363694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73" name="AutoShape 40">
            <a:extLst>
              <a:ext uri="{FF2B5EF4-FFF2-40B4-BE49-F238E27FC236}">
                <a16:creationId xmlns:a16="http://schemas.microsoft.com/office/drawing/2014/main" id="{C98C0D07-E155-E5BB-974D-0C0B0DD40CE6}"/>
              </a:ext>
            </a:extLst>
          </p:cNvPr>
          <p:cNvSpPr/>
          <p:nvPr/>
        </p:nvSpPr>
        <p:spPr>
          <a:xfrm>
            <a:off x="288560" y="4826939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74" name="AutoShape 40">
            <a:extLst>
              <a:ext uri="{FF2B5EF4-FFF2-40B4-BE49-F238E27FC236}">
                <a16:creationId xmlns:a16="http://schemas.microsoft.com/office/drawing/2014/main" id="{F2F7DCD6-7EF6-291C-AC91-D3C29D88ECD2}"/>
              </a:ext>
            </a:extLst>
          </p:cNvPr>
          <p:cNvSpPr/>
          <p:nvPr/>
        </p:nvSpPr>
        <p:spPr>
          <a:xfrm>
            <a:off x="288560" y="5288769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75" name="AutoShape 40">
            <a:extLst>
              <a:ext uri="{FF2B5EF4-FFF2-40B4-BE49-F238E27FC236}">
                <a16:creationId xmlns:a16="http://schemas.microsoft.com/office/drawing/2014/main" id="{D31E516F-E775-D9E8-074E-80618DD07AEE}"/>
              </a:ext>
            </a:extLst>
          </p:cNvPr>
          <p:cNvSpPr/>
          <p:nvPr/>
        </p:nvSpPr>
        <p:spPr>
          <a:xfrm>
            <a:off x="288560" y="5763955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76" name="AutoShape 40">
            <a:extLst>
              <a:ext uri="{FF2B5EF4-FFF2-40B4-BE49-F238E27FC236}">
                <a16:creationId xmlns:a16="http://schemas.microsoft.com/office/drawing/2014/main" id="{E4F05DC4-3F0C-2000-CF5D-840AC9918813}"/>
              </a:ext>
            </a:extLst>
          </p:cNvPr>
          <p:cNvSpPr/>
          <p:nvPr/>
        </p:nvSpPr>
        <p:spPr>
          <a:xfrm>
            <a:off x="288560" y="6192248"/>
            <a:ext cx="208263" cy="92662"/>
          </a:xfrm>
          <a:prstGeom prst="rect">
            <a:avLst/>
          </a:prstGeom>
          <a:solidFill>
            <a:srgbClr val="001CD1"/>
          </a:solidFill>
        </p:spPr>
      </p:sp>
      <p:graphicFrame>
        <p:nvGraphicFramePr>
          <p:cNvPr id="3145777" name="Table 3145776">
            <a:extLst>
              <a:ext uri="{FF2B5EF4-FFF2-40B4-BE49-F238E27FC236}">
                <a16:creationId xmlns:a16="http://schemas.microsoft.com/office/drawing/2014/main" id="{879386C8-FD36-45D4-0038-29B5DC07AB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0967581"/>
              </p:ext>
            </p:extLst>
          </p:nvPr>
        </p:nvGraphicFramePr>
        <p:xfrm>
          <a:off x="4169108" y="1330701"/>
          <a:ext cx="3853784" cy="5148000"/>
        </p:xfrm>
        <a:graphic>
          <a:graphicData uri="http://schemas.openxmlformats.org/drawingml/2006/table">
            <a:tbl>
              <a:tblPr firstRow="1" bandRow="1"/>
              <a:tblGrid>
                <a:gridCol w="341328">
                  <a:extLst>
                    <a:ext uri="{9D8B030D-6E8A-4147-A177-3AD203B41FA5}">
                      <a16:colId xmlns:a16="http://schemas.microsoft.com/office/drawing/2014/main" val="1962077573"/>
                    </a:ext>
                  </a:extLst>
                </a:gridCol>
                <a:gridCol w="368300">
                  <a:extLst>
                    <a:ext uri="{9D8B030D-6E8A-4147-A177-3AD203B41FA5}">
                      <a16:colId xmlns:a16="http://schemas.microsoft.com/office/drawing/2014/main" val="158753476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810188484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956605347"/>
                    </a:ext>
                  </a:extLst>
                </a:gridCol>
                <a:gridCol w="1201056">
                  <a:extLst>
                    <a:ext uri="{9D8B030D-6E8A-4147-A177-3AD203B41FA5}">
                      <a16:colId xmlns:a16="http://schemas.microsoft.com/office/drawing/2014/main" val="164102329"/>
                    </a:ext>
                  </a:extLst>
                </a:gridCol>
              </a:tblGrid>
              <a:tr h="468000">
                <a:tc grid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 sz="14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ry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 sz="14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rgbClr val="2B3E97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SD Million)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97653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apor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9,77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2908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na</a:t>
                      </a:r>
                      <a:endParaRPr lang="en-ID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4,842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6373569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ngkong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3,535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198426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pan</a:t>
                      </a:r>
                      <a:endParaRPr lang="en-ID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2,588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276763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th Kore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1,841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695406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herland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1,422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030049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aysi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1,045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416613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   749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73013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iwa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   454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344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strali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ct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   348 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788452"/>
                  </a:ext>
                </a:extLst>
              </a:tr>
            </a:tbl>
          </a:graphicData>
        </a:graphic>
      </p:graphicFrame>
      <p:sp>
        <p:nvSpPr>
          <p:cNvPr id="3145778" name="object 25">
            <a:extLst>
              <a:ext uri="{FF2B5EF4-FFF2-40B4-BE49-F238E27FC236}">
                <a16:creationId xmlns:a16="http://schemas.microsoft.com/office/drawing/2014/main" id="{2D44FA2D-04A3-0831-608F-66D42404E2F6}"/>
              </a:ext>
            </a:extLst>
          </p:cNvPr>
          <p:cNvSpPr/>
          <p:nvPr/>
        </p:nvSpPr>
        <p:spPr>
          <a:xfrm>
            <a:off x="5011817" y="2344846"/>
            <a:ext cx="491051" cy="37077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79" name="object 11">
            <a:extLst>
              <a:ext uri="{FF2B5EF4-FFF2-40B4-BE49-F238E27FC236}">
                <a16:creationId xmlns:a16="http://schemas.microsoft.com/office/drawing/2014/main" id="{30CE8BE7-6DD1-2AAB-E1E7-F54B00C6DFF7}"/>
              </a:ext>
            </a:extLst>
          </p:cNvPr>
          <p:cNvSpPr/>
          <p:nvPr/>
        </p:nvSpPr>
        <p:spPr>
          <a:xfrm>
            <a:off x="5008105" y="2819837"/>
            <a:ext cx="498475" cy="370774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80" name="object 17">
            <a:extLst>
              <a:ext uri="{FF2B5EF4-FFF2-40B4-BE49-F238E27FC236}">
                <a16:creationId xmlns:a16="http://schemas.microsoft.com/office/drawing/2014/main" id="{2FBD1F0D-DE09-610A-33F5-17A6D9C5EDAA}"/>
              </a:ext>
            </a:extLst>
          </p:cNvPr>
          <p:cNvSpPr/>
          <p:nvPr/>
        </p:nvSpPr>
        <p:spPr>
          <a:xfrm>
            <a:off x="5008105" y="4235074"/>
            <a:ext cx="498475" cy="349902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81" name="object 7">
            <a:extLst>
              <a:ext uri="{FF2B5EF4-FFF2-40B4-BE49-F238E27FC236}">
                <a16:creationId xmlns:a16="http://schemas.microsoft.com/office/drawing/2014/main" id="{D1EF5949-F1B0-F3F3-ECD9-EA8A67974008}"/>
              </a:ext>
            </a:extLst>
          </p:cNvPr>
          <p:cNvSpPr/>
          <p:nvPr/>
        </p:nvSpPr>
        <p:spPr>
          <a:xfrm>
            <a:off x="5004044" y="5170717"/>
            <a:ext cx="506596" cy="328767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3145782" name="AutoShape 40">
            <a:extLst>
              <a:ext uri="{FF2B5EF4-FFF2-40B4-BE49-F238E27FC236}">
                <a16:creationId xmlns:a16="http://schemas.microsoft.com/office/drawing/2014/main" id="{2B54B6BD-F83F-4F50-C5D8-34ED3A7AECA9}"/>
              </a:ext>
            </a:extLst>
          </p:cNvPr>
          <p:cNvSpPr/>
          <p:nvPr/>
        </p:nvSpPr>
        <p:spPr>
          <a:xfrm>
            <a:off x="4297310" y="2012742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83" name="AutoShape 40">
            <a:extLst>
              <a:ext uri="{FF2B5EF4-FFF2-40B4-BE49-F238E27FC236}">
                <a16:creationId xmlns:a16="http://schemas.microsoft.com/office/drawing/2014/main" id="{A809E178-3EB5-E69A-7BE4-22E6AF1CC02B}"/>
              </a:ext>
            </a:extLst>
          </p:cNvPr>
          <p:cNvSpPr/>
          <p:nvPr/>
        </p:nvSpPr>
        <p:spPr>
          <a:xfrm>
            <a:off x="4297310" y="2483901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84" name="AutoShape 40">
            <a:extLst>
              <a:ext uri="{FF2B5EF4-FFF2-40B4-BE49-F238E27FC236}">
                <a16:creationId xmlns:a16="http://schemas.microsoft.com/office/drawing/2014/main" id="{7DFACEC1-6D62-2753-3D56-2F1E4820E605}"/>
              </a:ext>
            </a:extLst>
          </p:cNvPr>
          <p:cNvSpPr/>
          <p:nvPr/>
        </p:nvSpPr>
        <p:spPr>
          <a:xfrm>
            <a:off x="4297310" y="5288769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85" name="AutoShape 40">
            <a:extLst>
              <a:ext uri="{FF2B5EF4-FFF2-40B4-BE49-F238E27FC236}">
                <a16:creationId xmlns:a16="http://schemas.microsoft.com/office/drawing/2014/main" id="{05587E97-F41E-4508-9F24-6021CA84E306}"/>
              </a:ext>
            </a:extLst>
          </p:cNvPr>
          <p:cNvSpPr/>
          <p:nvPr/>
        </p:nvSpPr>
        <p:spPr>
          <a:xfrm>
            <a:off x="4297310" y="6192248"/>
            <a:ext cx="208263" cy="92662"/>
          </a:xfrm>
          <a:prstGeom prst="rect">
            <a:avLst/>
          </a:prstGeom>
          <a:solidFill>
            <a:srgbClr val="001CD1"/>
          </a:solidFill>
        </p:spPr>
      </p:sp>
      <p:graphicFrame>
        <p:nvGraphicFramePr>
          <p:cNvPr id="3145786" name="Table 3145785">
            <a:extLst>
              <a:ext uri="{FF2B5EF4-FFF2-40B4-BE49-F238E27FC236}">
                <a16:creationId xmlns:a16="http://schemas.microsoft.com/office/drawing/2014/main" id="{4B737ADD-9847-BBEF-5B8A-AAA6FE495A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887400"/>
              </p:ext>
            </p:extLst>
          </p:nvPr>
        </p:nvGraphicFramePr>
        <p:xfrm>
          <a:off x="8171544" y="1330701"/>
          <a:ext cx="3853784" cy="5148000"/>
        </p:xfrm>
        <a:graphic>
          <a:graphicData uri="http://schemas.openxmlformats.org/drawingml/2006/table">
            <a:tbl>
              <a:tblPr firstRow="1" bandRow="1"/>
              <a:tblGrid>
                <a:gridCol w="341328">
                  <a:extLst>
                    <a:ext uri="{9D8B030D-6E8A-4147-A177-3AD203B41FA5}">
                      <a16:colId xmlns:a16="http://schemas.microsoft.com/office/drawing/2014/main" val="1962077573"/>
                    </a:ext>
                  </a:extLst>
                </a:gridCol>
                <a:gridCol w="368300">
                  <a:extLst>
                    <a:ext uri="{9D8B030D-6E8A-4147-A177-3AD203B41FA5}">
                      <a16:colId xmlns:a16="http://schemas.microsoft.com/office/drawing/2014/main" val="1587534763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3810188484"/>
                    </a:ext>
                  </a:extLst>
                </a:gridCol>
                <a:gridCol w="1257300">
                  <a:extLst>
                    <a:ext uri="{9D8B030D-6E8A-4147-A177-3AD203B41FA5}">
                      <a16:colId xmlns:a16="http://schemas.microsoft.com/office/drawing/2014/main" val="3956605347"/>
                    </a:ext>
                  </a:extLst>
                </a:gridCol>
                <a:gridCol w="1201056">
                  <a:extLst>
                    <a:ext uri="{9D8B030D-6E8A-4147-A177-3AD203B41FA5}">
                      <a16:colId xmlns:a16="http://schemas.microsoft.com/office/drawing/2014/main" val="164102329"/>
                    </a:ext>
                  </a:extLst>
                </a:gridCol>
              </a:tblGrid>
              <a:tr h="468000">
                <a:tc grid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 sz="14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untry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 sz="14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mpd="sng">
                      <a:noFill/>
                    </a:lnB>
                    <a:solidFill>
                      <a:srgbClr val="2B3E97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1" i="0" u="none" strike="noStrike" cap="none">
                          <a:solidFill>
                            <a:schemeClr val="lt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vestment</a:t>
                      </a:r>
                    </a:p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USD Million)</a:t>
                      </a:r>
                      <a:endParaRPr lang="en-ID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197653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ngapore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,390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2908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t"/>
                      <a:r>
                        <a:rPr lang="en-ID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ngkong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609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6373569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t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na</a:t>
                      </a:r>
                      <a:endParaRPr lang="en-ID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,160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7198426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S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537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8276763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t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pan</a:t>
                      </a:r>
                      <a:endParaRPr lang="en-ID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,263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2695406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therland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761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8030049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b"/>
                      <a:r>
                        <a:rPr lang="en-ID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outh Kore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640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1416613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t"/>
                      <a:r>
                        <a:rPr lang="en-ID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laysi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364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573013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t"/>
                      <a:r>
                        <a:rPr lang="en-ID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rmuda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74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53441"/>
                  </a:ext>
                </a:extLst>
              </a:tr>
              <a:tr h="468000"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endParaRPr lang="en-ID" sz="12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algn="l" fontAlgn="t"/>
                      <a:r>
                        <a:rPr lang="en-ID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wiss</a:t>
                      </a: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>
                      <a:lvl1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1pPr>
                      <a:lvl2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2pPr>
                      <a:lvl3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3pPr>
                      <a:lvl4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4pPr>
                      <a:lvl5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5pPr>
                      <a:lvl6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6pPr>
                      <a:lvl7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7pPr>
                      <a:lvl8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8pPr>
                      <a:lvl9pPr marR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defRPr sz="1400" b="0" i="0" u="none" strike="noStrike" cap="none">
                          <a:solidFill>
                            <a:schemeClr val="dk1"/>
                          </a:solidFill>
                          <a:latin typeface="Calibri" panose="020F0502020204030204"/>
                          <a:sym typeface="Arial"/>
                        </a:defRPr>
                      </a:lvl9pPr>
                    </a:lstStyle>
                    <a:p>
                      <a:pPr marL="0" algn="r" defTabSz="914400" rtl="0" eaLnBrk="1" fontAlgn="b" latinLnBrk="0" hangingPunct="1"/>
                      <a:r>
                        <a:rPr lang="en-ID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99</a:t>
                      </a:r>
                    </a:p>
                  </a:txBody>
                  <a:tcPr marL="36000" marR="18288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6788452"/>
                  </a:ext>
                </a:extLst>
              </a:tr>
            </a:tbl>
          </a:graphicData>
        </a:graphic>
      </p:graphicFrame>
      <p:sp>
        <p:nvSpPr>
          <p:cNvPr id="3145787" name="AutoShape 40">
            <a:extLst>
              <a:ext uri="{FF2B5EF4-FFF2-40B4-BE49-F238E27FC236}">
                <a16:creationId xmlns:a16="http://schemas.microsoft.com/office/drawing/2014/main" id="{0D1257A1-FD71-0BC2-8228-9977EAF759DA}"/>
              </a:ext>
            </a:extLst>
          </p:cNvPr>
          <p:cNvSpPr/>
          <p:nvPr/>
        </p:nvSpPr>
        <p:spPr>
          <a:xfrm>
            <a:off x="8288478" y="2012742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3145788" name="object 5">
            <a:extLst>
              <a:ext uri="{FF2B5EF4-FFF2-40B4-BE49-F238E27FC236}">
                <a16:creationId xmlns:a16="http://schemas.microsoft.com/office/drawing/2014/main" id="{2014379A-D167-96B6-12DE-82499A46E63E}"/>
              </a:ext>
            </a:extLst>
          </p:cNvPr>
          <p:cNvSpPr/>
          <p:nvPr/>
        </p:nvSpPr>
        <p:spPr>
          <a:xfrm>
            <a:off x="5008105" y="3316730"/>
            <a:ext cx="498475" cy="340922"/>
          </a:xfrm>
          <a:prstGeom prst="rect">
            <a:avLst/>
          </a:pr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grpSp>
        <p:nvGrpSpPr>
          <p:cNvPr id="3145789" name="Group 19">
            <a:extLst>
              <a:ext uri="{FF2B5EF4-FFF2-40B4-BE49-F238E27FC236}">
                <a16:creationId xmlns:a16="http://schemas.microsoft.com/office/drawing/2014/main" id="{9FAD3A7A-97A0-4AD8-C432-38C90A41EEE9}"/>
              </a:ext>
            </a:extLst>
          </p:cNvPr>
          <p:cNvGrpSpPr>
            <a:grpSpLocks noChangeAspect="1"/>
          </p:cNvGrpSpPr>
          <p:nvPr/>
        </p:nvGrpSpPr>
        <p:grpSpPr>
          <a:xfrm>
            <a:off x="4289684" y="2908443"/>
            <a:ext cx="223514" cy="193563"/>
            <a:chOff x="0" y="0"/>
            <a:chExt cx="6350000" cy="5499100"/>
          </a:xfrm>
        </p:grpSpPr>
        <p:sp>
          <p:nvSpPr>
            <p:cNvPr id="3145790" name="Freeform 20">
              <a:extLst>
                <a:ext uri="{FF2B5EF4-FFF2-40B4-BE49-F238E27FC236}">
                  <a16:creationId xmlns:a16="http://schemas.microsoft.com/office/drawing/2014/main" id="{1A0146AB-A6F6-4F27-AEB0-8DE17E752E25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23B421"/>
            </a:solidFill>
          </p:spPr>
        </p:sp>
      </p:grpSp>
      <p:grpSp>
        <p:nvGrpSpPr>
          <p:cNvPr id="3145791" name="Group 30">
            <a:extLst>
              <a:ext uri="{FF2B5EF4-FFF2-40B4-BE49-F238E27FC236}">
                <a16:creationId xmlns:a16="http://schemas.microsoft.com/office/drawing/2014/main" id="{D9C0843A-0518-5214-D156-D6B5F063BFEC}"/>
              </a:ext>
            </a:extLst>
          </p:cNvPr>
          <p:cNvGrpSpPr>
            <a:grpSpLocks noChangeAspect="1"/>
          </p:cNvGrpSpPr>
          <p:nvPr/>
        </p:nvGrpSpPr>
        <p:grpSpPr>
          <a:xfrm rot="-10800000">
            <a:off x="4289684" y="3390410"/>
            <a:ext cx="223514" cy="193563"/>
            <a:chOff x="0" y="0"/>
            <a:chExt cx="6350000" cy="5499100"/>
          </a:xfrm>
        </p:grpSpPr>
        <p:sp>
          <p:nvSpPr>
            <p:cNvPr id="4194368" name="Freeform 31">
              <a:extLst>
                <a:ext uri="{FF2B5EF4-FFF2-40B4-BE49-F238E27FC236}">
                  <a16:creationId xmlns:a16="http://schemas.microsoft.com/office/drawing/2014/main" id="{D2744E56-1887-F741-C44D-B1FF07D9E52C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D82D45"/>
            </a:solidFill>
          </p:spPr>
        </p:sp>
      </p:grpSp>
      <p:sp>
        <p:nvSpPr>
          <p:cNvPr id="4194369" name="object 10">
            <a:extLst>
              <a:ext uri="{FF2B5EF4-FFF2-40B4-BE49-F238E27FC236}">
                <a16:creationId xmlns:a16="http://schemas.microsoft.com/office/drawing/2014/main" id="{F8BA6D56-67FE-04CA-6E77-E582E8531DD9}"/>
              </a:ext>
            </a:extLst>
          </p:cNvPr>
          <p:cNvSpPr/>
          <p:nvPr/>
        </p:nvSpPr>
        <p:spPr>
          <a:xfrm>
            <a:off x="5008105" y="5645903"/>
            <a:ext cx="498475" cy="328767"/>
          </a:xfrm>
          <a:prstGeom prst="rect">
            <a:avLst/>
          </a:pr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4194370" name="object 19">
            <a:extLst>
              <a:ext uri="{FF2B5EF4-FFF2-40B4-BE49-F238E27FC236}">
                <a16:creationId xmlns:a16="http://schemas.microsoft.com/office/drawing/2014/main" id="{1E44B973-ACE2-ED32-FDCD-5C70D9AA23F4}"/>
              </a:ext>
            </a:extLst>
          </p:cNvPr>
          <p:cNvSpPr/>
          <p:nvPr/>
        </p:nvSpPr>
        <p:spPr>
          <a:xfrm>
            <a:off x="8991847" y="6085443"/>
            <a:ext cx="505120" cy="306272"/>
          </a:xfrm>
          <a:prstGeom prst="rect">
            <a:avLst/>
          </a:pr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4194371" name="object 8">
            <a:extLst>
              <a:ext uri="{FF2B5EF4-FFF2-40B4-BE49-F238E27FC236}">
                <a16:creationId xmlns:a16="http://schemas.microsoft.com/office/drawing/2014/main" id="{273F72EB-7246-7B7B-F284-92BD3A204DB0}"/>
              </a:ext>
            </a:extLst>
          </p:cNvPr>
          <p:cNvSpPr/>
          <p:nvPr/>
        </p:nvSpPr>
        <p:spPr>
          <a:xfrm>
            <a:off x="5008105" y="3814856"/>
            <a:ext cx="498475" cy="301432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pic>
        <p:nvPicPr>
          <p:cNvPr id="4194372" name="Picture 4194371">
            <a:extLst>
              <a:ext uri="{FF2B5EF4-FFF2-40B4-BE49-F238E27FC236}">
                <a16:creationId xmlns:a16="http://schemas.microsoft.com/office/drawing/2014/main" id="{CC37BDD0-7566-CE54-9BBE-C31EB9966558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299" y="6115816"/>
            <a:ext cx="491051" cy="245526"/>
          </a:xfrm>
          <a:prstGeom prst="rect">
            <a:avLst/>
          </a:prstGeom>
        </p:spPr>
      </p:pic>
      <p:sp>
        <p:nvSpPr>
          <p:cNvPr id="4194373" name="object 11">
            <a:extLst>
              <a:ext uri="{FF2B5EF4-FFF2-40B4-BE49-F238E27FC236}">
                <a16:creationId xmlns:a16="http://schemas.microsoft.com/office/drawing/2014/main" id="{8BB16223-124A-0D30-4A55-E9D455B2A7E5}"/>
              </a:ext>
            </a:extLst>
          </p:cNvPr>
          <p:cNvSpPr/>
          <p:nvPr/>
        </p:nvSpPr>
        <p:spPr>
          <a:xfrm>
            <a:off x="8995170" y="2344845"/>
            <a:ext cx="498475" cy="370774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4194374" name="object 25">
            <a:extLst>
              <a:ext uri="{FF2B5EF4-FFF2-40B4-BE49-F238E27FC236}">
                <a16:creationId xmlns:a16="http://schemas.microsoft.com/office/drawing/2014/main" id="{937C9162-FEC1-E3E6-1681-AD0353FC96D9}"/>
              </a:ext>
            </a:extLst>
          </p:cNvPr>
          <p:cNvSpPr/>
          <p:nvPr/>
        </p:nvSpPr>
        <p:spPr>
          <a:xfrm>
            <a:off x="8998882" y="2819838"/>
            <a:ext cx="491051" cy="370773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pic>
        <p:nvPicPr>
          <p:cNvPr id="4194375" name="Picture 4194374">
            <a:extLst>
              <a:ext uri="{FF2B5EF4-FFF2-40B4-BE49-F238E27FC236}">
                <a16:creationId xmlns:a16="http://schemas.microsoft.com/office/drawing/2014/main" id="{4D855A83-51B9-0AD2-F47A-9E26FA8A9169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1817" y="6115816"/>
            <a:ext cx="491051" cy="245526"/>
          </a:xfrm>
          <a:prstGeom prst="rect">
            <a:avLst/>
          </a:prstGeom>
        </p:spPr>
      </p:pic>
      <p:pic>
        <p:nvPicPr>
          <p:cNvPr id="4194376" name="Picture 4194375">
            <a:extLst>
              <a:ext uri="{FF2B5EF4-FFF2-40B4-BE49-F238E27FC236}">
                <a16:creationId xmlns:a16="http://schemas.microsoft.com/office/drawing/2014/main" id="{66FC434F-2B9A-47B3-AC80-9AE179AFB48B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298" y="5687523"/>
            <a:ext cx="491052" cy="245526"/>
          </a:xfrm>
          <a:prstGeom prst="rect">
            <a:avLst/>
          </a:prstGeom>
        </p:spPr>
      </p:pic>
      <p:pic>
        <p:nvPicPr>
          <p:cNvPr id="4194377" name="Picture 4194376">
            <a:extLst>
              <a:ext uri="{FF2B5EF4-FFF2-40B4-BE49-F238E27FC236}">
                <a16:creationId xmlns:a16="http://schemas.microsoft.com/office/drawing/2014/main" id="{C8AAB2C1-535E-045A-960C-1A9A853772D9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587" y="1893217"/>
            <a:ext cx="498475" cy="331713"/>
          </a:xfrm>
          <a:prstGeom prst="rect">
            <a:avLst/>
          </a:prstGeom>
        </p:spPr>
      </p:pic>
      <p:pic>
        <p:nvPicPr>
          <p:cNvPr id="4194378" name="Picture 4194377">
            <a:extLst>
              <a:ext uri="{FF2B5EF4-FFF2-40B4-BE49-F238E27FC236}">
                <a16:creationId xmlns:a16="http://schemas.microsoft.com/office/drawing/2014/main" id="{BEC79B28-9CD7-6F48-B025-D2BEC40966D5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8105" y="1893217"/>
            <a:ext cx="498475" cy="331713"/>
          </a:xfrm>
          <a:prstGeom prst="rect">
            <a:avLst/>
          </a:prstGeom>
        </p:spPr>
      </p:pic>
      <p:pic>
        <p:nvPicPr>
          <p:cNvPr id="4194379" name="Picture 4194378">
            <a:extLst>
              <a:ext uri="{FF2B5EF4-FFF2-40B4-BE49-F238E27FC236}">
                <a16:creationId xmlns:a16="http://schemas.microsoft.com/office/drawing/2014/main" id="{513BE04A-A160-0744-0693-832CBCDB6201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5170" y="1893217"/>
            <a:ext cx="498475" cy="331713"/>
          </a:xfrm>
          <a:prstGeom prst="rect">
            <a:avLst/>
          </a:prstGeom>
        </p:spPr>
      </p:pic>
      <p:pic>
        <p:nvPicPr>
          <p:cNvPr id="4194380" name="Picture 4194379">
            <a:extLst>
              <a:ext uri="{FF2B5EF4-FFF2-40B4-BE49-F238E27FC236}">
                <a16:creationId xmlns:a16="http://schemas.microsoft.com/office/drawing/2014/main" id="{B468E436-1189-4D2E-974D-0FCAAE2825DA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526" y="4266097"/>
            <a:ext cx="506596" cy="287856"/>
          </a:xfrm>
          <a:prstGeom prst="rect">
            <a:avLst/>
          </a:prstGeom>
        </p:spPr>
      </p:pic>
      <p:pic>
        <p:nvPicPr>
          <p:cNvPr id="4194381" name="Picture 4194380">
            <a:extLst>
              <a:ext uri="{FF2B5EF4-FFF2-40B4-BE49-F238E27FC236}">
                <a16:creationId xmlns:a16="http://schemas.microsoft.com/office/drawing/2014/main" id="{02E9E1E0-96F2-7F54-406D-9AC888BBFC4E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4044" y="4729342"/>
            <a:ext cx="506596" cy="287856"/>
          </a:xfrm>
          <a:prstGeom prst="rect">
            <a:avLst/>
          </a:prstGeom>
        </p:spPr>
      </p:pic>
      <p:pic>
        <p:nvPicPr>
          <p:cNvPr id="4194382" name="Picture 4194381">
            <a:extLst>
              <a:ext uri="{FF2B5EF4-FFF2-40B4-BE49-F238E27FC236}">
                <a16:creationId xmlns:a16="http://schemas.microsoft.com/office/drawing/2014/main" id="{1518E44A-20E2-0BC6-3113-F3A592A1C682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91109" y="5191172"/>
            <a:ext cx="506596" cy="287856"/>
          </a:xfrm>
          <a:prstGeom prst="rect">
            <a:avLst/>
          </a:prstGeom>
        </p:spPr>
      </p:pic>
      <p:grpSp>
        <p:nvGrpSpPr>
          <p:cNvPr id="4194383" name="Group 19">
            <a:extLst>
              <a:ext uri="{FF2B5EF4-FFF2-40B4-BE49-F238E27FC236}">
                <a16:creationId xmlns:a16="http://schemas.microsoft.com/office/drawing/2014/main" id="{5246AA43-B60C-2A38-0445-AB97CD783078}"/>
              </a:ext>
            </a:extLst>
          </p:cNvPr>
          <p:cNvGrpSpPr>
            <a:grpSpLocks noChangeAspect="1"/>
          </p:cNvGrpSpPr>
          <p:nvPr/>
        </p:nvGrpSpPr>
        <p:grpSpPr>
          <a:xfrm>
            <a:off x="4289684" y="3868791"/>
            <a:ext cx="223514" cy="193563"/>
            <a:chOff x="0" y="0"/>
            <a:chExt cx="6350000" cy="5499100"/>
          </a:xfrm>
        </p:grpSpPr>
        <p:sp>
          <p:nvSpPr>
            <p:cNvPr id="4194384" name="Freeform 20">
              <a:extLst>
                <a:ext uri="{FF2B5EF4-FFF2-40B4-BE49-F238E27FC236}">
                  <a16:creationId xmlns:a16="http://schemas.microsoft.com/office/drawing/2014/main" id="{1E476DED-0BA5-9AA1-24BF-989C662664A6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23B421"/>
            </a:solidFill>
          </p:spPr>
        </p:sp>
      </p:grpSp>
      <p:grpSp>
        <p:nvGrpSpPr>
          <p:cNvPr id="4194385" name="Group 19">
            <a:extLst>
              <a:ext uri="{FF2B5EF4-FFF2-40B4-BE49-F238E27FC236}">
                <a16:creationId xmlns:a16="http://schemas.microsoft.com/office/drawing/2014/main" id="{B7642F2F-C944-9951-8246-043BE0D1EAA7}"/>
              </a:ext>
            </a:extLst>
          </p:cNvPr>
          <p:cNvGrpSpPr>
            <a:grpSpLocks noChangeAspect="1"/>
          </p:cNvGrpSpPr>
          <p:nvPr/>
        </p:nvGrpSpPr>
        <p:grpSpPr>
          <a:xfrm>
            <a:off x="4289684" y="5713505"/>
            <a:ext cx="223514" cy="193563"/>
            <a:chOff x="0" y="0"/>
            <a:chExt cx="6350000" cy="5499100"/>
          </a:xfrm>
        </p:grpSpPr>
        <p:sp>
          <p:nvSpPr>
            <p:cNvPr id="4194386" name="Freeform 20">
              <a:extLst>
                <a:ext uri="{FF2B5EF4-FFF2-40B4-BE49-F238E27FC236}">
                  <a16:creationId xmlns:a16="http://schemas.microsoft.com/office/drawing/2014/main" id="{9AC356CD-5CDA-4DEC-03C7-1BB50E8D7A41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23B421"/>
            </a:solidFill>
          </p:spPr>
        </p:sp>
      </p:grpSp>
      <p:grpSp>
        <p:nvGrpSpPr>
          <p:cNvPr id="4194387" name="Group 30">
            <a:extLst>
              <a:ext uri="{FF2B5EF4-FFF2-40B4-BE49-F238E27FC236}">
                <a16:creationId xmlns:a16="http://schemas.microsoft.com/office/drawing/2014/main" id="{124CB6B2-BB64-ACEA-BFD5-15DCA4E1B8D8}"/>
              </a:ext>
            </a:extLst>
          </p:cNvPr>
          <p:cNvGrpSpPr>
            <a:grpSpLocks noChangeAspect="1"/>
          </p:cNvGrpSpPr>
          <p:nvPr/>
        </p:nvGrpSpPr>
        <p:grpSpPr>
          <a:xfrm rot="-10800000">
            <a:off x="8280852" y="2908443"/>
            <a:ext cx="223514" cy="193563"/>
            <a:chOff x="0" y="0"/>
            <a:chExt cx="6350000" cy="5499100"/>
          </a:xfrm>
        </p:grpSpPr>
        <p:sp>
          <p:nvSpPr>
            <p:cNvPr id="4194388" name="Freeform 31">
              <a:extLst>
                <a:ext uri="{FF2B5EF4-FFF2-40B4-BE49-F238E27FC236}">
                  <a16:creationId xmlns:a16="http://schemas.microsoft.com/office/drawing/2014/main" id="{82E116A3-6753-9C50-E7D6-8549150611F8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D82D45"/>
            </a:solidFill>
          </p:spPr>
        </p:sp>
      </p:grpSp>
      <p:grpSp>
        <p:nvGrpSpPr>
          <p:cNvPr id="4194389" name="Group 19">
            <a:extLst>
              <a:ext uri="{FF2B5EF4-FFF2-40B4-BE49-F238E27FC236}">
                <a16:creationId xmlns:a16="http://schemas.microsoft.com/office/drawing/2014/main" id="{424A1A1C-7CA1-971C-D4EB-FB74012630D6}"/>
              </a:ext>
            </a:extLst>
          </p:cNvPr>
          <p:cNvGrpSpPr>
            <a:grpSpLocks noChangeAspect="1"/>
          </p:cNvGrpSpPr>
          <p:nvPr/>
        </p:nvGrpSpPr>
        <p:grpSpPr>
          <a:xfrm>
            <a:off x="8280852" y="6141798"/>
            <a:ext cx="223514" cy="193563"/>
            <a:chOff x="0" y="0"/>
            <a:chExt cx="6350000" cy="5499100"/>
          </a:xfrm>
        </p:grpSpPr>
        <p:sp>
          <p:nvSpPr>
            <p:cNvPr id="4194390" name="Freeform 20">
              <a:extLst>
                <a:ext uri="{FF2B5EF4-FFF2-40B4-BE49-F238E27FC236}">
                  <a16:creationId xmlns:a16="http://schemas.microsoft.com/office/drawing/2014/main" id="{5D21D3CA-9FE6-BBC0-153F-80D0D10DCFFB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23B421"/>
            </a:solidFill>
          </p:spPr>
        </p:sp>
      </p:grpSp>
      <p:grpSp>
        <p:nvGrpSpPr>
          <p:cNvPr id="4194391" name="Group 19">
            <a:extLst>
              <a:ext uri="{FF2B5EF4-FFF2-40B4-BE49-F238E27FC236}">
                <a16:creationId xmlns:a16="http://schemas.microsoft.com/office/drawing/2014/main" id="{9E4CB92B-EE69-B24F-058B-4F80591561F7}"/>
              </a:ext>
            </a:extLst>
          </p:cNvPr>
          <p:cNvGrpSpPr>
            <a:grpSpLocks noChangeAspect="1"/>
          </p:cNvGrpSpPr>
          <p:nvPr/>
        </p:nvGrpSpPr>
        <p:grpSpPr>
          <a:xfrm>
            <a:off x="8280852" y="5713505"/>
            <a:ext cx="223514" cy="193563"/>
            <a:chOff x="0" y="0"/>
            <a:chExt cx="6350000" cy="5499100"/>
          </a:xfrm>
        </p:grpSpPr>
        <p:sp>
          <p:nvSpPr>
            <p:cNvPr id="4194392" name="Freeform 20">
              <a:extLst>
                <a:ext uri="{FF2B5EF4-FFF2-40B4-BE49-F238E27FC236}">
                  <a16:creationId xmlns:a16="http://schemas.microsoft.com/office/drawing/2014/main" id="{9261A262-470B-42BA-F709-28725777A63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23B421"/>
            </a:solidFill>
          </p:spPr>
        </p:sp>
      </p:grpSp>
      <p:grpSp>
        <p:nvGrpSpPr>
          <p:cNvPr id="4194393" name="Group 30">
            <a:extLst>
              <a:ext uri="{FF2B5EF4-FFF2-40B4-BE49-F238E27FC236}">
                <a16:creationId xmlns:a16="http://schemas.microsoft.com/office/drawing/2014/main" id="{CB97C19C-75CD-C343-54FF-60332CEE734B}"/>
              </a:ext>
            </a:extLst>
          </p:cNvPr>
          <p:cNvGrpSpPr>
            <a:grpSpLocks noChangeAspect="1"/>
          </p:cNvGrpSpPr>
          <p:nvPr/>
        </p:nvGrpSpPr>
        <p:grpSpPr>
          <a:xfrm rot="-10800000">
            <a:off x="8280852" y="5238319"/>
            <a:ext cx="223514" cy="193563"/>
            <a:chOff x="0" y="0"/>
            <a:chExt cx="6350000" cy="5499100"/>
          </a:xfrm>
        </p:grpSpPr>
        <p:sp>
          <p:nvSpPr>
            <p:cNvPr id="4194394" name="Freeform 31">
              <a:extLst>
                <a:ext uri="{FF2B5EF4-FFF2-40B4-BE49-F238E27FC236}">
                  <a16:creationId xmlns:a16="http://schemas.microsoft.com/office/drawing/2014/main" id="{704B9A50-ACCF-A7A8-D55D-02CC83B6BB27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D82D45"/>
            </a:solidFill>
          </p:spPr>
        </p:sp>
      </p:grpSp>
      <p:grpSp>
        <p:nvGrpSpPr>
          <p:cNvPr id="4194395" name="Group 19">
            <a:extLst>
              <a:ext uri="{FF2B5EF4-FFF2-40B4-BE49-F238E27FC236}">
                <a16:creationId xmlns:a16="http://schemas.microsoft.com/office/drawing/2014/main" id="{A433C20B-3165-C143-5282-C1CA714F15D2}"/>
              </a:ext>
            </a:extLst>
          </p:cNvPr>
          <p:cNvGrpSpPr>
            <a:grpSpLocks noChangeAspect="1"/>
          </p:cNvGrpSpPr>
          <p:nvPr/>
        </p:nvGrpSpPr>
        <p:grpSpPr>
          <a:xfrm>
            <a:off x="8280852" y="3390410"/>
            <a:ext cx="223514" cy="193563"/>
            <a:chOff x="0" y="0"/>
            <a:chExt cx="6350000" cy="5499100"/>
          </a:xfrm>
        </p:grpSpPr>
        <p:sp>
          <p:nvSpPr>
            <p:cNvPr id="4194396" name="Freeform 20">
              <a:extLst>
                <a:ext uri="{FF2B5EF4-FFF2-40B4-BE49-F238E27FC236}">
                  <a16:creationId xmlns:a16="http://schemas.microsoft.com/office/drawing/2014/main" id="{32F16B00-1B66-E02F-6C15-478B50A21C77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23B421"/>
            </a:solidFill>
          </p:spPr>
        </p:sp>
      </p:grpSp>
      <p:grpSp>
        <p:nvGrpSpPr>
          <p:cNvPr id="4194397" name="Group 19">
            <a:extLst>
              <a:ext uri="{FF2B5EF4-FFF2-40B4-BE49-F238E27FC236}">
                <a16:creationId xmlns:a16="http://schemas.microsoft.com/office/drawing/2014/main" id="{02143AB1-6102-9B1D-95D7-0C0DC386F5FF}"/>
              </a:ext>
            </a:extLst>
          </p:cNvPr>
          <p:cNvGrpSpPr>
            <a:grpSpLocks noChangeAspect="1"/>
          </p:cNvGrpSpPr>
          <p:nvPr/>
        </p:nvGrpSpPr>
        <p:grpSpPr>
          <a:xfrm>
            <a:off x="8280852" y="2433451"/>
            <a:ext cx="223514" cy="193563"/>
            <a:chOff x="0" y="0"/>
            <a:chExt cx="6350000" cy="5499100"/>
          </a:xfrm>
        </p:grpSpPr>
        <p:sp>
          <p:nvSpPr>
            <p:cNvPr id="4194398" name="Freeform 20">
              <a:extLst>
                <a:ext uri="{FF2B5EF4-FFF2-40B4-BE49-F238E27FC236}">
                  <a16:creationId xmlns:a16="http://schemas.microsoft.com/office/drawing/2014/main" id="{D74D0039-F7E6-2E3E-FA7C-EBBB84C0E557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23B421"/>
            </a:solidFill>
          </p:spPr>
        </p:sp>
      </p:grpSp>
      <p:pic>
        <p:nvPicPr>
          <p:cNvPr id="4194399" name="Picture 4194398">
            <a:extLst>
              <a:ext uri="{FF2B5EF4-FFF2-40B4-BE49-F238E27FC236}">
                <a16:creationId xmlns:a16="http://schemas.microsoft.com/office/drawing/2014/main" id="{CC463F99-C3EA-AC29-4A28-B4FC07F7EEBE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05120" y="5690642"/>
            <a:ext cx="478575" cy="239288"/>
          </a:xfrm>
          <a:prstGeom prst="rect">
            <a:avLst/>
          </a:prstGeom>
        </p:spPr>
      </p:pic>
      <p:sp>
        <p:nvSpPr>
          <p:cNvPr id="4194400" name="object 5">
            <a:extLst>
              <a:ext uri="{FF2B5EF4-FFF2-40B4-BE49-F238E27FC236}">
                <a16:creationId xmlns:a16="http://schemas.microsoft.com/office/drawing/2014/main" id="{394CB044-AFB7-5AC3-C4E2-5AF30A651F88}"/>
              </a:ext>
            </a:extLst>
          </p:cNvPr>
          <p:cNvSpPr/>
          <p:nvPr/>
        </p:nvSpPr>
        <p:spPr>
          <a:xfrm>
            <a:off x="8995170" y="3802031"/>
            <a:ext cx="498475" cy="327082"/>
          </a:xfrm>
          <a:prstGeom prst="rect">
            <a:avLst/>
          </a:prstGeom>
          <a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4194401" name="object 17">
            <a:extLst>
              <a:ext uri="{FF2B5EF4-FFF2-40B4-BE49-F238E27FC236}">
                <a16:creationId xmlns:a16="http://schemas.microsoft.com/office/drawing/2014/main" id="{5EE01F87-D9DC-ECED-D25C-F9EA6B7D7B71}"/>
              </a:ext>
            </a:extLst>
          </p:cNvPr>
          <p:cNvSpPr/>
          <p:nvPr/>
        </p:nvSpPr>
        <p:spPr>
          <a:xfrm>
            <a:off x="8995170" y="4224638"/>
            <a:ext cx="498475" cy="370774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4194402" name="object 8">
            <a:extLst>
              <a:ext uri="{FF2B5EF4-FFF2-40B4-BE49-F238E27FC236}">
                <a16:creationId xmlns:a16="http://schemas.microsoft.com/office/drawing/2014/main" id="{F7F899D1-B4A8-C0E0-9516-2C482A0C2BA6}"/>
              </a:ext>
            </a:extLst>
          </p:cNvPr>
          <p:cNvSpPr/>
          <p:nvPr/>
        </p:nvSpPr>
        <p:spPr>
          <a:xfrm>
            <a:off x="8995170" y="4722554"/>
            <a:ext cx="498475" cy="301432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sp>
        <p:nvSpPr>
          <p:cNvPr id="4194403" name="object 7">
            <a:extLst>
              <a:ext uri="{FF2B5EF4-FFF2-40B4-BE49-F238E27FC236}">
                <a16:creationId xmlns:a16="http://schemas.microsoft.com/office/drawing/2014/main" id="{A469838A-F30E-443A-C92F-E19E1BB564A0}"/>
              </a:ext>
            </a:extLst>
          </p:cNvPr>
          <p:cNvSpPr/>
          <p:nvPr/>
        </p:nvSpPr>
        <p:spPr>
          <a:xfrm>
            <a:off x="8991109" y="3322808"/>
            <a:ext cx="506596" cy="328767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>
              <a:buClrTx/>
              <a:buFontTx/>
              <a:buNone/>
              <a:defRPr/>
            </a:pPr>
            <a:endParaRPr sz="1800" kern="1200">
              <a:solidFill>
                <a:prstClr val="black"/>
              </a:solidFill>
              <a:latin typeface="Gotham"/>
              <a:ea typeface="+mn-ea"/>
              <a:cs typeface="+mn-cs"/>
            </a:endParaRPr>
          </a:p>
        </p:txBody>
      </p:sp>
      <p:grpSp>
        <p:nvGrpSpPr>
          <p:cNvPr id="4194404" name="Group 30">
            <a:extLst>
              <a:ext uri="{FF2B5EF4-FFF2-40B4-BE49-F238E27FC236}">
                <a16:creationId xmlns:a16="http://schemas.microsoft.com/office/drawing/2014/main" id="{8A1B0A41-C6AE-35DF-F31A-F3E173FD899E}"/>
              </a:ext>
            </a:extLst>
          </p:cNvPr>
          <p:cNvGrpSpPr>
            <a:grpSpLocks noChangeAspect="1"/>
          </p:cNvGrpSpPr>
          <p:nvPr/>
        </p:nvGrpSpPr>
        <p:grpSpPr>
          <a:xfrm rot="-10800000">
            <a:off x="8280852" y="3868791"/>
            <a:ext cx="223514" cy="193563"/>
            <a:chOff x="0" y="0"/>
            <a:chExt cx="6350000" cy="5499100"/>
          </a:xfrm>
        </p:grpSpPr>
        <p:sp>
          <p:nvSpPr>
            <p:cNvPr id="4194405" name="Freeform 31">
              <a:extLst>
                <a:ext uri="{FF2B5EF4-FFF2-40B4-BE49-F238E27FC236}">
                  <a16:creationId xmlns:a16="http://schemas.microsoft.com/office/drawing/2014/main" id="{AC935DE0-4BDA-999E-77BA-27A0ABD67028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D82D45"/>
            </a:solidFill>
          </p:spPr>
        </p:sp>
      </p:grpSp>
      <p:grpSp>
        <p:nvGrpSpPr>
          <p:cNvPr id="4194406" name="Group 30">
            <a:extLst>
              <a:ext uri="{FF2B5EF4-FFF2-40B4-BE49-F238E27FC236}">
                <a16:creationId xmlns:a16="http://schemas.microsoft.com/office/drawing/2014/main" id="{91AF9671-F2AF-CA3A-4365-3688C02B2FC5}"/>
              </a:ext>
            </a:extLst>
          </p:cNvPr>
          <p:cNvGrpSpPr>
            <a:grpSpLocks noChangeAspect="1"/>
          </p:cNvGrpSpPr>
          <p:nvPr/>
        </p:nvGrpSpPr>
        <p:grpSpPr>
          <a:xfrm rot="-10800000">
            <a:off x="8280852" y="4776489"/>
            <a:ext cx="223514" cy="193563"/>
            <a:chOff x="0" y="0"/>
            <a:chExt cx="6350000" cy="5499100"/>
          </a:xfrm>
        </p:grpSpPr>
        <p:sp>
          <p:nvSpPr>
            <p:cNvPr id="4194407" name="Freeform 31">
              <a:extLst>
                <a:ext uri="{FF2B5EF4-FFF2-40B4-BE49-F238E27FC236}">
                  <a16:creationId xmlns:a16="http://schemas.microsoft.com/office/drawing/2014/main" id="{A3E7ACFB-601F-AD6A-0CDA-44DB834A387E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D82D45"/>
            </a:solidFill>
          </p:spPr>
        </p:sp>
      </p:grpSp>
      <p:sp>
        <p:nvSpPr>
          <p:cNvPr id="4194408" name="AutoShape 40">
            <a:extLst>
              <a:ext uri="{FF2B5EF4-FFF2-40B4-BE49-F238E27FC236}">
                <a16:creationId xmlns:a16="http://schemas.microsoft.com/office/drawing/2014/main" id="{7B83277D-1F66-457E-3034-0AD24E2C61D7}"/>
              </a:ext>
            </a:extLst>
          </p:cNvPr>
          <p:cNvSpPr/>
          <p:nvPr/>
        </p:nvSpPr>
        <p:spPr>
          <a:xfrm>
            <a:off x="8288478" y="4363694"/>
            <a:ext cx="208263" cy="92662"/>
          </a:xfrm>
          <a:prstGeom prst="rect">
            <a:avLst/>
          </a:prstGeom>
          <a:solidFill>
            <a:srgbClr val="001CD1"/>
          </a:solidFill>
        </p:spPr>
      </p:sp>
      <p:sp>
        <p:nvSpPr>
          <p:cNvPr id="4194409" name="TextBox 4194408">
            <a:extLst>
              <a:ext uri="{FF2B5EF4-FFF2-40B4-BE49-F238E27FC236}">
                <a16:creationId xmlns:a16="http://schemas.microsoft.com/office/drawing/2014/main" id="{02B4DAEB-EE7E-F962-0460-C2DF21936143}"/>
              </a:ext>
            </a:extLst>
          </p:cNvPr>
          <p:cNvSpPr txBox="1"/>
          <p:nvPr/>
        </p:nvSpPr>
        <p:spPr>
          <a:xfrm>
            <a:off x="1482192" y="955000"/>
            <a:ext cx="1222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2000" b="1" kern="1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4194410" name="TextBox 4194409">
            <a:extLst>
              <a:ext uri="{FF2B5EF4-FFF2-40B4-BE49-F238E27FC236}">
                <a16:creationId xmlns:a16="http://schemas.microsoft.com/office/drawing/2014/main" id="{D4EB1A7A-FBE5-6DF0-B209-08AA4CD1E7D7}"/>
              </a:ext>
            </a:extLst>
          </p:cNvPr>
          <p:cNvSpPr txBox="1"/>
          <p:nvPr/>
        </p:nvSpPr>
        <p:spPr>
          <a:xfrm>
            <a:off x="5472331" y="955000"/>
            <a:ext cx="1222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2000" b="1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4194411" name="TextBox 4194410">
            <a:extLst>
              <a:ext uri="{FF2B5EF4-FFF2-40B4-BE49-F238E27FC236}">
                <a16:creationId xmlns:a16="http://schemas.microsoft.com/office/drawing/2014/main" id="{1AA7BCC4-6E80-517D-78FD-85CC6F7821D8}"/>
              </a:ext>
            </a:extLst>
          </p:cNvPr>
          <p:cNvSpPr txBox="1"/>
          <p:nvPr/>
        </p:nvSpPr>
        <p:spPr>
          <a:xfrm>
            <a:off x="9462470" y="955000"/>
            <a:ext cx="12227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2000" b="1" kern="120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1</a:t>
            </a:r>
          </a:p>
        </p:txBody>
      </p:sp>
      <p:grpSp>
        <p:nvGrpSpPr>
          <p:cNvPr id="4194412" name="Group 30">
            <a:extLst>
              <a:ext uri="{FF2B5EF4-FFF2-40B4-BE49-F238E27FC236}">
                <a16:creationId xmlns:a16="http://schemas.microsoft.com/office/drawing/2014/main" id="{B12FEA8F-D701-2C5C-B3C1-0A5936CDCA85}"/>
              </a:ext>
            </a:extLst>
          </p:cNvPr>
          <p:cNvGrpSpPr>
            <a:grpSpLocks noChangeAspect="1"/>
          </p:cNvGrpSpPr>
          <p:nvPr/>
        </p:nvGrpSpPr>
        <p:grpSpPr>
          <a:xfrm rot="-10800000">
            <a:off x="4289684" y="4313244"/>
            <a:ext cx="223514" cy="193563"/>
            <a:chOff x="0" y="0"/>
            <a:chExt cx="6350000" cy="5499100"/>
          </a:xfrm>
        </p:grpSpPr>
        <p:sp>
          <p:nvSpPr>
            <p:cNvPr id="4194413" name="Freeform 31">
              <a:extLst>
                <a:ext uri="{FF2B5EF4-FFF2-40B4-BE49-F238E27FC236}">
                  <a16:creationId xmlns:a16="http://schemas.microsoft.com/office/drawing/2014/main" id="{1A7C70B8-3807-D442-0385-DEC1F5A4B107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D82D45"/>
            </a:solidFill>
          </p:spPr>
        </p:sp>
      </p:grpSp>
      <p:grpSp>
        <p:nvGrpSpPr>
          <p:cNvPr id="4194414" name="Group 30">
            <a:extLst>
              <a:ext uri="{FF2B5EF4-FFF2-40B4-BE49-F238E27FC236}">
                <a16:creationId xmlns:a16="http://schemas.microsoft.com/office/drawing/2014/main" id="{BB165217-5CB3-47F1-FA25-C09682481DD6}"/>
              </a:ext>
            </a:extLst>
          </p:cNvPr>
          <p:cNvGrpSpPr>
            <a:grpSpLocks noChangeAspect="1"/>
          </p:cNvGrpSpPr>
          <p:nvPr/>
        </p:nvGrpSpPr>
        <p:grpSpPr>
          <a:xfrm rot="-10800000">
            <a:off x="4289684" y="4776489"/>
            <a:ext cx="223514" cy="193563"/>
            <a:chOff x="0" y="0"/>
            <a:chExt cx="6350000" cy="5499100"/>
          </a:xfrm>
        </p:grpSpPr>
        <p:sp>
          <p:nvSpPr>
            <p:cNvPr id="4194415" name="Freeform 31">
              <a:extLst>
                <a:ext uri="{FF2B5EF4-FFF2-40B4-BE49-F238E27FC236}">
                  <a16:creationId xmlns:a16="http://schemas.microsoft.com/office/drawing/2014/main" id="{91AFA723-6D21-6D84-F7BD-1A9D9C1E8503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D82D45"/>
            </a:solidFill>
          </p:spPr>
        </p:sp>
      </p:grpSp>
      <p:sp>
        <p:nvSpPr>
          <p:cNvPr id="4194416" name="TextBox 4194415">
            <a:extLst>
              <a:ext uri="{FF2B5EF4-FFF2-40B4-BE49-F238E27FC236}">
                <a16:creationId xmlns:a16="http://schemas.microsoft.com/office/drawing/2014/main" id="{096D9312-856C-34A2-11DE-DC95D057AB70}"/>
              </a:ext>
            </a:extLst>
          </p:cNvPr>
          <p:cNvSpPr txBox="1"/>
          <p:nvPr/>
        </p:nvSpPr>
        <p:spPr>
          <a:xfrm>
            <a:off x="9827259" y="6262332"/>
            <a:ext cx="20015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ClrTx/>
              <a:buFontTx/>
              <a:buNone/>
              <a:defRPr/>
            </a:pPr>
            <a:fld id="{FC0A4DD2-7105-483B-B1F2-515D3B0661E1}" type="slidenum">
              <a:rPr lang="en-ID" sz="1800" b="1" kern="1200" smtClean="0">
                <a:solidFill>
                  <a:srgbClr val="001999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algn="r">
                <a:buClrTx/>
                <a:buFontTx/>
                <a:buNone/>
                <a:defRPr/>
              </a:pPr>
              <a:t>8</a:t>
            </a:fld>
            <a:endParaRPr lang="en-ID" sz="1800" b="1" kern="1200">
              <a:solidFill>
                <a:srgbClr val="001999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8E53A0B-085F-416E-9BDC-D111C301A509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D93B5F-38C9-00F8-E0DC-58F71B542E8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813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6D64C7-3632-4C33-AA82-45127A6A1DAB}"/>
              </a:ext>
            </a:extLst>
          </p:cNvPr>
          <p:cNvSpPr/>
          <p:nvPr/>
        </p:nvSpPr>
        <p:spPr>
          <a:xfrm>
            <a:off x="245806" y="98323"/>
            <a:ext cx="2517059" cy="5506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M"/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2E4D4490-5C61-4D83-B06B-C9E6E63B45D8}"/>
              </a:ext>
            </a:extLst>
          </p:cNvPr>
          <p:cNvSpPr/>
          <p:nvPr/>
        </p:nvSpPr>
        <p:spPr>
          <a:xfrm>
            <a:off x="-816" y="6651427"/>
            <a:ext cx="25092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id-ID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stry of Investment/BKPM</a:t>
            </a:r>
            <a:endParaRPr kumimoji="0" lang="id-ID" sz="12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6" name="Chart 65">
            <a:extLst>
              <a:ext uri="{FF2B5EF4-FFF2-40B4-BE49-F238E27FC236}">
                <a16:creationId xmlns:a16="http://schemas.microsoft.com/office/drawing/2014/main" id="{86F41877-3EB3-4C45-B89F-3BDC3FF69AE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8797541"/>
              </p:ext>
            </p:extLst>
          </p:nvPr>
        </p:nvGraphicFramePr>
        <p:xfrm>
          <a:off x="2721989" y="1596135"/>
          <a:ext cx="3249324" cy="4827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7" name="TextBox 66">
            <a:extLst>
              <a:ext uri="{FF2B5EF4-FFF2-40B4-BE49-F238E27FC236}">
                <a16:creationId xmlns:a16="http://schemas.microsoft.com/office/drawing/2014/main" id="{41BA9DB7-B513-4EDD-A5DC-F54CE6B458DB}"/>
              </a:ext>
            </a:extLst>
          </p:cNvPr>
          <p:cNvSpPr txBox="1"/>
          <p:nvPr/>
        </p:nvSpPr>
        <p:spPr>
          <a:xfrm>
            <a:off x="5024654" y="2196508"/>
            <a:ext cx="1397995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$7.5 billion</a:t>
            </a:r>
          </a:p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36%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1A4D20C-C884-4D9A-B692-0CF562B92DBB}"/>
              </a:ext>
            </a:extLst>
          </p:cNvPr>
          <p:cNvSpPr/>
          <p:nvPr/>
        </p:nvSpPr>
        <p:spPr>
          <a:xfrm>
            <a:off x="381702" y="1937800"/>
            <a:ext cx="5759488" cy="4038600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9493C4DA-3B97-4A3E-8C12-7F221CF2319A}"/>
              </a:ext>
            </a:extLst>
          </p:cNvPr>
          <p:cNvSpPr/>
          <p:nvPr/>
        </p:nvSpPr>
        <p:spPr>
          <a:xfrm>
            <a:off x="521949" y="4528600"/>
            <a:ext cx="14478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hemical and pharmaceutical industry</a:t>
            </a:r>
          </a:p>
        </p:txBody>
      </p:sp>
      <p:pic>
        <p:nvPicPr>
          <p:cNvPr id="71" name="Picture 10">
            <a:extLst>
              <a:ext uri="{FF2B5EF4-FFF2-40B4-BE49-F238E27FC236}">
                <a16:creationId xmlns:a16="http://schemas.microsoft.com/office/drawing/2014/main" id="{F3D7E4BD-E650-4141-9906-C35E2B527D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02641" y="4528600"/>
            <a:ext cx="671301" cy="563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Rectangle 71">
            <a:extLst>
              <a:ext uri="{FF2B5EF4-FFF2-40B4-BE49-F238E27FC236}">
                <a16:creationId xmlns:a16="http://schemas.microsoft.com/office/drawing/2014/main" id="{A2C0335D-BB42-44ED-A53E-4A4329135D81}"/>
              </a:ext>
            </a:extLst>
          </p:cNvPr>
          <p:cNvSpPr/>
          <p:nvPr/>
        </p:nvSpPr>
        <p:spPr>
          <a:xfrm>
            <a:off x="521950" y="2330813"/>
            <a:ext cx="1533526" cy="46166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lectricity, Gas and Wat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B8BA23DA-21CB-45A7-AD12-B7641A235389}"/>
              </a:ext>
            </a:extLst>
          </p:cNvPr>
          <p:cNvSpPr/>
          <p:nvPr/>
        </p:nvSpPr>
        <p:spPr>
          <a:xfrm>
            <a:off x="521949" y="5392813"/>
            <a:ext cx="14478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etal industry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94350488-AEEB-43A2-962A-1A5D19BC1E7D}"/>
              </a:ext>
            </a:extLst>
          </p:cNvPr>
          <p:cNvSpPr/>
          <p:nvPr/>
        </p:nvSpPr>
        <p:spPr>
          <a:xfrm>
            <a:off x="290595" y="3812395"/>
            <a:ext cx="17667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ousing, Industrial estates, and office buildings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0A4C3D54-A2B6-486E-A545-C28EA646B75F}"/>
              </a:ext>
            </a:extLst>
          </p:cNvPr>
          <p:cNvSpPr/>
          <p:nvPr/>
        </p:nvSpPr>
        <p:spPr>
          <a:xfrm>
            <a:off x="521949" y="3040886"/>
            <a:ext cx="1447801" cy="646331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Vehicle and other transportation industry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6" name="Picture 75">
            <a:extLst>
              <a:ext uri="{FF2B5EF4-FFF2-40B4-BE49-F238E27FC236}">
                <a16:creationId xmlns:a16="http://schemas.microsoft.com/office/drawing/2014/main" id="{D9321958-AC96-4631-BAA0-14F7EBDBA93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0489" y="2189523"/>
            <a:ext cx="607554" cy="677917"/>
          </a:xfrm>
          <a:prstGeom prst="rect">
            <a:avLst/>
          </a:prstGeom>
        </p:spPr>
      </p:pic>
      <p:pic>
        <p:nvPicPr>
          <p:cNvPr id="77" name="Picture 2" descr="Vector Cartoon Car Icon, Car Icons, Cartoon Icons, Car Clipart PNG and  Vector with Transparent Background for Free Download">
            <a:extLst>
              <a:ext uri="{FF2B5EF4-FFF2-40B4-BE49-F238E27FC236}">
                <a16:creationId xmlns:a16="http://schemas.microsoft.com/office/drawing/2014/main" id="{3173810C-6941-4F0F-AAA9-8C15066D05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8445" y="3004100"/>
            <a:ext cx="651641" cy="651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4" descr="Flat metal industry icon Royalty Free Vector Image">
            <a:extLst>
              <a:ext uri="{FF2B5EF4-FFF2-40B4-BE49-F238E27FC236}">
                <a16:creationId xmlns:a16="http://schemas.microsoft.com/office/drawing/2014/main" id="{55DB2A45-343D-4C75-AA5E-CB4FCBC621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39"/>
          <a:stretch/>
        </p:blipFill>
        <p:spPr bwMode="auto">
          <a:xfrm>
            <a:off x="2094086" y="5182343"/>
            <a:ext cx="706728" cy="704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6" descr="Industrial Complex Vector Line Icon, Linear Concept, Outline Sign, Symbol  Stock Vector - Illustration of complex, modern: 147156715">
            <a:extLst>
              <a:ext uri="{FF2B5EF4-FFF2-40B4-BE49-F238E27FC236}">
                <a16:creationId xmlns:a16="http://schemas.microsoft.com/office/drawing/2014/main" id="{E28EAE96-FA3E-4307-A8DD-B68639F3688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10" t="10733" r="18956" b="35038"/>
          <a:stretch/>
        </p:blipFill>
        <p:spPr bwMode="auto">
          <a:xfrm>
            <a:off x="2148432" y="3827655"/>
            <a:ext cx="613720" cy="566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0" name="Chart 79">
            <a:extLst>
              <a:ext uri="{FF2B5EF4-FFF2-40B4-BE49-F238E27FC236}">
                <a16:creationId xmlns:a16="http://schemas.microsoft.com/office/drawing/2014/main" id="{931193AF-BA73-404A-BF80-38A5B15EAA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52057139"/>
              </p:ext>
            </p:extLst>
          </p:nvPr>
        </p:nvGraphicFramePr>
        <p:xfrm>
          <a:off x="8573724" y="1614152"/>
          <a:ext cx="3249324" cy="4827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1" name="TextBox 80">
            <a:extLst>
              <a:ext uri="{FF2B5EF4-FFF2-40B4-BE49-F238E27FC236}">
                <a16:creationId xmlns:a16="http://schemas.microsoft.com/office/drawing/2014/main" id="{42F1CAA0-7E83-4523-8984-448A2E35876B}"/>
              </a:ext>
            </a:extLst>
          </p:cNvPr>
          <p:cNvSpPr txBox="1"/>
          <p:nvPr/>
        </p:nvSpPr>
        <p:spPr>
          <a:xfrm>
            <a:off x="10640017" y="2070856"/>
            <a:ext cx="166596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$19.7 billion</a:t>
            </a:r>
          </a:p>
          <a:p>
            <a:pPr algn="ctr"/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95%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1924EE8D-7D00-420C-8EBB-792BD8EE3AAD}"/>
              </a:ext>
            </a:extLst>
          </p:cNvPr>
          <p:cNvSpPr/>
          <p:nvPr/>
        </p:nvSpPr>
        <p:spPr>
          <a:xfrm>
            <a:off x="6352906" y="1931276"/>
            <a:ext cx="5569296" cy="4045123"/>
          </a:xfrm>
          <a:prstGeom prst="rect">
            <a:avLst/>
          </a:prstGeom>
          <a:noFill/>
          <a:ln>
            <a:solidFill>
              <a:schemeClr val="accent5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00680B6-C16F-42E7-BFC9-31B2B99769B9}"/>
              </a:ext>
            </a:extLst>
          </p:cNvPr>
          <p:cNvSpPr/>
          <p:nvPr/>
        </p:nvSpPr>
        <p:spPr>
          <a:xfrm>
            <a:off x="6284970" y="4332675"/>
            <a:ext cx="14478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ULAWESI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863DD6EE-55EB-4CFB-AFED-B70E1427A669}"/>
              </a:ext>
            </a:extLst>
          </p:cNvPr>
          <p:cNvSpPr/>
          <p:nvPr/>
        </p:nvSpPr>
        <p:spPr>
          <a:xfrm>
            <a:off x="6199245" y="2338508"/>
            <a:ext cx="1533526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JAV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AA0AE7AA-D03A-4264-B51B-3CA291A35E32}"/>
              </a:ext>
            </a:extLst>
          </p:cNvPr>
          <p:cNvSpPr/>
          <p:nvPr/>
        </p:nvSpPr>
        <p:spPr>
          <a:xfrm>
            <a:off x="6284970" y="4935842"/>
            <a:ext cx="14478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KALIMANTAN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5610A254-68EB-46FC-8610-2F84A17297BC}"/>
              </a:ext>
            </a:extLst>
          </p:cNvPr>
          <p:cNvSpPr/>
          <p:nvPr/>
        </p:nvSpPr>
        <p:spPr>
          <a:xfrm>
            <a:off x="5966041" y="3544842"/>
            <a:ext cx="17667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BALI-NUSA TENGGARA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A107759-1BA0-4FF1-B064-F32B29FA43BC}"/>
              </a:ext>
            </a:extLst>
          </p:cNvPr>
          <p:cNvSpPr/>
          <p:nvPr/>
        </p:nvSpPr>
        <p:spPr>
          <a:xfrm>
            <a:off x="6284970" y="2941675"/>
            <a:ext cx="1447801" cy="27699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UMATR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47164CB3-410D-4CD6-9439-86A6ACF47DF8}"/>
              </a:ext>
            </a:extLst>
          </p:cNvPr>
          <p:cNvSpPr/>
          <p:nvPr/>
        </p:nvSpPr>
        <p:spPr>
          <a:xfrm>
            <a:off x="6284970" y="5539008"/>
            <a:ext cx="144780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ALUKU-PAPUA</a:t>
            </a: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id="{6C9B1331-2C7B-48AE-AC4A-C330BE5CD7E1}"/>
              </a:ext>
            </a:extLst>
          </p:cNvPr>
          <p:cNvGrpSpPr/>
          <p:nvPr/>
        </p:nvGrpSpPr>
        <p:grpSpPr>
          <a:xfrm>
            <a:off x="7681299" y="5251102"/>
            <a:ext cx="909780" cy="663393"/>
            <a:chOff x="7089303" y="726693"/>
            <a:chExt cx="1872854" cy="1365647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91" name="Freeform 94">
              <a:extLst>
                <a:ext uri="{FF2B5EF4-FFF2-40B4-BE49-F238E27FC236}">
                  <a16:creationId xmlns:a16="http://schemas.microsoft.com/office/drawing/2014/main" id="{82D5B916-26E1-4B81-9762-5B2C30B4E4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0087" y="949340"/>
              <a:ext cx="669131" cy="602456"/>
            </a:xfrm>
            <a:custGeom>
              <a:avLst/>
              <a:gdLst>
                <a:gd name="T0" fmla="*/ 92 w 562"/>
                <a:gd name="T1" fmla="*/ 309 h 506"/>
                <a:gd name="T2" fmla="*/ 4 w 562"/>
                <a:gd name="T3" fmla="*/ 212 h 506"/>
                <a:gd name="T4" fmla="*/ 111 w 562"/>
                <a:gd name="T5" fmla="*/ 303 h 506"/>
                <a:gd name="T6" fmla="*/ 107 w 562"/>
                <a:gd name="T7" fmla="*/ 273 h 506"/>
                <a:gd name="T8" fmla="*/ 51 w 562"/>
                <a:gd name="T9" fmla="*/ 286 h 506"/>
                <a:gd name="T10" fmla="*/ 101 w 562"/>
                <a:gd name="T11" fmla="*/ 290 h 506"/>
                <a:gd name="T12" fmla="*/ 107 w 562"/>
                <a:gd name="T13" fmla="*/ 311 h 506"/>
                <a:gd name="T14" fmla="*/ 478 w 562"/>
                <a:gd name="T15" fmla="*/ 290 h 506"/>
                <a:gd name="T16" fmla="*/ 497 w 562"/>
                <a:gd name="T17" fmla="*/ 317 h 506"/>
                <a:gd name="T18" fmla="*/ 111 w 562"/>
                <a:gd name="T19" fmla="*/ 145 h 506"/>
                <a:gd name="T20" fmla="*/ 103 w 562"/>
                <a:gd name="T21" fmla="*/ 126 h 506"/>
                <a:gd name="T22" fmla="*/ 132 w 562"/>
                <a:gd name="T23" fmla="*/ 132 h 506"/>
                <a:gd name="T24" fmla="*/ 126 w 562"/>
                <a:gd name="T25" fmla="*/ 113 h 506"/>
                <a:gd name="T26" fmla="*/ 159 w 562"/>
                <a:gd name="T27" fmla="*/ 134 h 506"/>
                <a:gd name="T28" fmla="*/ 189 w 562"/>
                <a:gd name="T29" fmla="*/ 118 h 506"/>
                <a:gd name="T30" fmla="*/ 138 w 562"/>
                <a:gd name="T31" fmla="*/ 103 h 506"/>
                <a:gd name="T32" fmla="*/ 103 w 562"/>
                <a:gd name="T33" fmla="*/ 109 h 506"/>
                <a:gd name="T34" fmla="*/ 103 w 562"/>
                <a:gd name="T35" fmla="*/ 116 h 506"/>
                <a:gd name="T36" fmla="*/ 168 w 562"/>
                <a:gd name="T37" fmla="*/ 200 h 506"/>
                <a:gd name="T38" fmla="*/ 115 w 562"/>
                <a:gd name="T39" fmla="*/ 311 h 506"/>
                <a:gd name="T40" fmla="*/ 465 w 562"/>
                <a:gd name="T41" fmla="*/ 416 h 506"/>
                <a:gd name="T42" fmla="*/ 488 w 562"/>
                <a:gd name="T43" fmla="*/ 351 h 506"/>
                <a:gd name="T44" fmla="*/ 461 w 562"/>
                <a:gd name="T45" fmla="*/ 321 h 506"/>
                <a:gd name="T46" fmla="*/ 457 w 562"/>
                <a:gd name="T47" fmla="*/ 254 h 506"/>
                <a:gd name="T48" fmla="*/ 451 w 562"/>
                <a:gd name="T49" fmla="*/ 176 h 506"/>
                <a:gd name="T50" fmla="*/ 363 w 562"/>
                <a:gd name="T51" fmla="*/ 151 h 506"/>
                <a:gd name="T52" fmla="*/ 250 w 562"/>
                <a:gd name="T53" fmla="*/ 158 h 506"/>
                <a:gd name="T54" fmla="*/ 185 w 562"/>
                <a:gd name="T55" fmla="*/ 197 h 506"/>
                <a:gd name="T56" fmla="*/ 189 w 562"/>
                <a:gd name="T57" fmla="*/ 242 h 506"/>
                <a:gd name="T58" fmla="*/ 222 w 562"/>
                <a:gd name="T59" fmla="*/ 246 h 506"/>
                <a:gd name="T60" fmla="*/ 245 w 562"/>
                <a:gd name="T61" fmla="*/ 258 h 506"/>
                <a:gd name="T62" fmla="*/ 254 w 562"/>
                <a:gd name="T63" fmla="*/ 288 h 506"/>
                <a:gd name="T64" fmla="*/ 321 w 562"/>
                <a:gd name="T65" fmla="*/ 317 h 506"/>
                <a:gd name="T66" fmla="*/ 409 w 562"/>
                <a:gd name="T67" fmla="*/ 311 h 506"/>
                <a:gd name="T68" fmla="*/ 438 w 562"/>
                <a:gd name="T69" fmla="*/ 305 h 506"/>
                <a:gd name="T70" fmla="*/ 436 w 562"/>
                <a:gd name="T71" fmla="*/ 326 h 506"/>
                <a:gd name="T72" fmla="*/ 423 w 562"/>
                <a:gd name="T73" fmla="*/ 347 h 506"/>
                <a:gd name="T74" fmla="*/ 396 w 562"/>
                <a:gd name="T75" fmla="*/ 340 h 506"/>
                <a:gd name="T76" fmla="*/ 373 w 562"/>
                <a:gd name="T77" fmla="*/ 328 h 506"/>
                <a:gd name="T78" fmla="*/ 300 w 562"/>
                <a:gd name="T79" fmla="*/ 357 h 506"/>
                <a:gd name="T80" fmla="*/ 252 w 562"/>
                <a:gd name="T81" fmla="*/ 363 h 506"/>
                <a:gd name="T82" fmla="*/ 273 w 562"/>
                <a:gd name="T83" fmla="*/ 376 h 506"/>
                <a:gd name="T84" fmla="*/ 321 w 562"/>
                <a:gd name="T85" fmla="*/ 416 h 506"/>
                <a:gd name="T86" fmla="*/ 323 w 562"/>
                <a:gd name="T87" fmla="*/ 445 h 506"/>
                <a:gd name="T88" fmla="*/ 373 w 562"/>
                <a:gd name="T89" fmla="*/ 483 h 506"/>
                <a:gd name="T90" fmla="*/ 407 w 562"/>
                <a:gd name="T91" fmla="*/ 422 h 506"/>
                <a:gd name="T92" fmla="*/ 434 w 562"/>
                <a:gd name="T93" fmla="*/ 395 h 506"/>
                <a:gd name="T94" fmla="*/ 421 w 562"/>
                <a:gd name="T95" fmla="*/ 447 h 506"/>
                <a:gd name="T96" fmla="*/ 455 w 562"/>
                <a:gd name="T97" fmla="*/ 456 h 506"/>
                <a:gd name="T98" fmla="*/ 476 w 562"/>
                <a:gd name="T99" fmla="*/ 473 h 506"/>
                <a:gd name="T100" fmla="*/ 530 w 562"/>
                <a:gd name="T101" fmla="*/ 471 h 506"/>
                <a:gd name="T102" fmla="*/ 511 w 562"/>
                <a:gd name="T103" fmla="*/ 492 h 506"/>
                <a:gd name="T104" fmla="*/ 419 w 562"/>
                <a:gd name="T105" fmla="*/ 309 h 506"/>
                <a:gd name="T106" fmla="*/ 459 w 562"/>
                <a:gd name="T107" fmla="*/ 475 h 506"/>
                <a:gd name="T108" fmla="*/ 423 w 562"/>
                <a:gd name="T109" fmla="*/ 309 h 506"/>
                <a:gd name="T110" fmla="*/ 143 w 562"/>
                <a:gd name="T111" fmla="*/ 179 h 506"/>
                <a:gd name="T112" fmla="*/ 107 w 562"/>
                <a:gd name="T113" fmla="*/ 185 h 506"/>
                <a:gd name="T114" fmla="*/ 122 w 562"/>
                <a:gd name="T115" fmla="*/ 290 h 506"/>
                <a:gd name="T116" fmla="*/ 164 w 562"/>
                <a:gd name="T117" fmla="*/ 187 h 506"/>
                <a:gd name="T118" fmla="*/ 138 w 562"/>
                <a:gd name="T119" fmla="*/ 218 h 506"/>
                <a:gd name="T120" fmla="*/ 436 w 562"/>
                <a:gd name="T121" fmla="*/ 466 h 506"/>
                <a:gd name="T122" fmla="*/ 394 w 562"/>
                <a:gd name="T123" fmla="*/ 500 h 506"/>
                <a:gd name="T124" fmla="*/ 222 w 562"/>
                <a:gd name="T125" fmla="*/ 347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62" h="506">
                  <a:moveTo>
                    <a:pt x="92" y="307"/>
                  </a:moveTo>
                  <a:lnTo>
                    <a:pt x="92" y="307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88" y="307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88" y="307"/>
                  </a:lnTo>
                  <a:lnTo>
                    <a:pt x="88" y="309"/>
                  </a:lnTo>
                  <a:lnTo>
                    <a:pt x="88" y="309"/>
                  </a:lnTo>
                  <a:lnTo>
                    <a:pt x="86" y="307"/>
                  </a:lnTo>
                  <a:lnTo>
                    <a:pt x="86" y="307"/>
                  </a:lnTo>
                  <a:lnTo>
                    <a:pt x="86" y="309"/>
                  </a:lnTo>
                  <a:lnTo>
                    <a:pt x="86" y="309"/>
                  </a:lnTo>
                  <a:lnTo>
                    <a:pt x="86" y="309"/>
                  </a:lnTo>
                  <a:lnTo>
                    <a:pt x="88" y="309"/>
                  </a:lnTo>
                  <a:lnTo>
                    <a:pt x="88" y="309"/>
                  </a:lnTo>
                  <a:lnTo>
                    <a:pt x="88" y="309"/>
                  </a:lnTo>
                  <a:lnTo>
                    <a:pt x="90" y="309"/>
                  </a:lnTo>
                  <a:lnTo>
                    <a:pt x="90" y="309"/>
                  </a:lnTo>
                  <a:lnTo>
                    <a:pt x="90" y="309"/>
                  </a:lnTo>
                  <a:lnTo>
                    <a:pt x="90" y="309"/>
                  </a:lnTo>
                  <a:lnTo>
                    <a:pt x="92" y="309"/>
                  </a:lnTo>
                  <a:lnTo>
                    <a:pt x="90" y="309"/>
                  </a:lnTo>
                  <a:lnTo>
                    <a:pt x="90" y="309"/>
                  </a:lnTo>
                  <a:lnTo>
                    <a:pt x="90" y="309"/>
                  </a:lnTo>
                  <a:lnTo>
                    <a:pt x="90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4" y="309"/>
                  </a:lnTo>
                  <a:lnTo>
                    <a:pt x="94" y="307"/>
                  </a:lnTo>
                  <a:lnTo>
                    <a:pt x="92" y="307"/>
                  </a:lnTo>
                  <a:lnTo>
                    <a:pt x="92" y="307"/>
                  </a:lnTo>
                  <a:close/>
                  <a:moveTo>
                    <a:pt x="32" y="271"/>
                  </a:moveTo>
                  <a:lnTo>
                    <a:pt x="32" y="271"/>
                  </a:lnTo>
                  <a:lnTo>
                    <a:pt x="32" y="271"/>
                  </a:lnTo>
                  <a:lnTo>
                    <a:pt x="32" y="273"/>
                  </a:lnTo>
                  <a:lnTo>
                    <a:pt x="34" y="275"/>
                  </a:lnTo>
                  <a:lnTo>
                    <a:pt x="34" y="273"/>
                  </a:lnTo>
                  <a:lnTo>
                    <a:pt x="34" y="273"/>
                  </a:lnTo>
                  <a:lnTo>
                    <a:pt x="32" y="271"/>
                  </a:lnTo>
                  <a:close/>
                  <a:moveTo>
                    <a:pt x="7" y="212"/>
                  </a:moveTo>
                  <a:lnTo>
                    <a:pt x="4" y="212"/>
                  </a:lnTo>
                  <a:lnTo>
                    <a:pt x="4" y="212"/>
                  </a:lnTo>
                  <a:lnTo>
                    <a:pt x="4" y="210"/>
                  </a:lnTo>
                  <a:lnTo>
                    <a:pt x="4" y="210"/>
                  </a:lnTo>
                  <a:lnTo>
                    <a:pt x="2" y="210"/>
                  </a:lnTo>
                  <a:lnTo>
                    <a:pt x="0" y="210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4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0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4" y="214"/>
                  </a:lnTo>
                  <a:lnTo>
                    <a:pt x="4" y="214"/>
                  </a:lnTo>
                  <a:lnTo>
                    <a:pt x="7" y="214"/>
                  </a:lnTo>
                  <a:lnTo>
                    <a:pt x="7" y="214"/>
                  </a:lnTo>
                  <a:lnTo>
                    <a:pt x="7" y="212"/>
                  </a:lnTo>
                  <a:lnTo>
                    <a:pt x="7" y="212"/>
                  </a:lnTo>
                  <a:lnTo>
                    <a:pt x="7" y="212"/>
                  </a:lnTo>
                  <a:close/>
                  <a:moveTo>
                    <a:pt x="51" y="216"/>
                  </a:moveTo>
                  <a:lnTo>
                    <a:pt x="51" y="214"/>
                  </a:lnTo>
                  <a:lnTo>
                    <a:pt x="53" y="214"/>
                  </a:lnTo>
                  <a:lnTo>
                    <a:pt x="53" y="214"/>
                  </a:lnTo>
                  <a:lnTo>
                    <a:pt x="55" y="214"/>
                  </a:lnTo>
                  <a:lnTo>
                    <a:pt x="55" y="214"/>
                  </a:lnTo>
                  <a:lnTo>
                    <a:pt x="55" y="214"/>
                  </a:lnTo>
                  <a:lnTo>
                    <a:pt x="51" y="218"/>
                  </a:lnTo>
                  <a:lnTo>
                    <a:pt x="53" y="216"/>
                  </a:lnTo>
                  <a:lnTo>
                    <a:pt x="55" y="216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59" y="214"/>
                  </a:lnTo>
                  <a:lnTo>
                    <a:pt x="61" y="214"/>
                  </a:lnTo>
                  <a:lnTo>
                    <a:pt x="63" y="212"/>
                  </a:lnTo>
                  <a:lnTo>
                    <a:pt x="61" y="210"/>
                  </a:lnTo>
                  <a:lnTo>
                    <a:pt x="61" y="210"/>
                  </a:lnTo>
                  <a:lnTo>
                    <a:pt x="59" y="210"/>
                  </a:lnTo>
                  <a:lnTo>
                    <a:pt x="57" y="210"/>
                  </a:lnTo>
                  <a:lnTo>
                    <a:pt x="55" y="208"/>
                  </a:lnTo>
                  <a:lnTo>
                    <a:pt x="53" y="208"/>
                  </a:lnTo>
                  <a:lnTo>
                    <a:pt x="44" y="212"/>
                  </a:lnTo>
                  <a:lnTo>
                    <a:pt x="42" y="212"/>
                  </a:lnTo>
                  <a:lnTo>
                    <a:pt x="42" y="214"/>
                  </a:lnTo>
                  <a:lnTo>
                    <a:pt x="44" y="214"/>
                  </a:lnTo>
                  <a:lnTo>
                    <a:pt x="51" y="216"/>
                  </a:lnTo>
                  <a:close/>
                  <a:moveTo>
                    <a:pt x="111" y="303"/>
                  </a:moveTo>
                  <a:lnTo>
                    <a:pt x="111" y="303"/>
                  </a:lnTo>
                  <a:lnTo>
                    <a:pt x="111" y="303"/>
                  </a:lnTo>
                  <a:lnTo>
                    <a:pt x="111" y="303"/>
                  </a:lnTo>
                  <a:lnTo>
                    <a:pt x="111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0"/>
                  </a:lnTo>
                  <a:lnTo>
                    <a:pt x="107" y="300"/>
                  </a:lnTo>
                  <a:lnTo>
                    <a:pt x="107" y="300"/>
                  </a:lnTo>
                  <a:lnTo>
                    <a:pt x="107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09" y="303"/>
                  </a:lnTo>
                  <a:lnTo>
                    <a:pt x="111" y="303"/>
                  </a:lnTo>
                  <a:lnTo>
                    <a:pt x="111" y="303"/>
                  </a:lnTo>
                  <a:lnTo>
                    <a:pt x="111" y="303"/>
                  </a:lnTo>
                  <a:lnTo>
                    <a:pt x="111" y="303"/>
                  </a:lnTo>
                  <a:lnTo>
                    <a:pt x="111" y="303"/>
                  </a:lnTo>
                  <a:lnTo>
                    <a:pt x="111" y="303"/>
                  </a:lnTo>
                  <a:close/>
                  <a:moveTo>
                    <a:pt x="105" y="288"/>
                  </a:moveTo>
                  <a:lnTo>
                    <a:pt x="105" y="288"/>
                  </a:lnTo>
                  <a:lnTo>
                    <a:pt x="107" y="288"/>
                  </a:lnTo>
                  <a:lnTo>
                    <a:pt x="107" y="288"/>
                  </a:lnTo>
                  <a:lnTo>
                    <a:pt x="107" y="286"/>
                  </a:lnTo>
                  <a:lnTo>
                    <a:pt x="99" y="284"/>
                  </a:lnTo>
                  <a:lnTo>
                    <a:pt x="99" y="282"/>
                  </a:lnTo>
                  <a:lnTo>
                    <a:pt x="103" y="279"/>
                  </a:lnTo>
                  <a:lnTo>
                    <a:pt x="103" y="279"/>
                  </a:lnTo>
                  <a:lnTo>
                    <a:pt x="105" y="279"/>
                  </a:lnTo>
                  <a:lnTo>
                    <a:pt x="105" y="277"/>
                  </a:lnTo>
                  <a:lnTo>
                    <a:pt x="105" y="275"/>
                  </a:lnTo>
                  <a:lnTo>
                    <a:pt x="105" y="275"/>
                  </a:lnTo>
                  <a:lnTo>
                    <a:pt x="107" y="275"/>
                  </a:lnTo>
                  <a:lnTo>
                    <a:pt x="107" y="275"/>
                  </a:lnTo>
                  <a:lnTo>
                    <a:pt x="107" y="273"/>
                  </a:lnTo>
                  <a:lnTo>
                    <a:pt x="107" y="271"/>
                  </a:lnTo>
                  <a:lnTo>
                    <a:pt x="105" y="271"/>
                  </a:lnTo>
                  <a:lnTo>
                    <a:pt x="105" y="269"/>
                  </a:lnTo>
                  <a:lnTo>
                    <a:pt x="99" y="265"/>
                  </a:lnTo>
                  <a:lnTo>
                    <a:pt x="101" y="261"/>
                  </a:lnTo>
                  <a:lnTo>
                    <a:pt x="99" y="258"/>
                  </a:lnTo>
                  <a:lnTo>
                    <a:pt x="99" y="258"/>
                  </a:lnTo>
                  <a:lnTo>
                    <a:pt x="97" y="258"/>
                  </a:lnTo>
                  <a:lnTo>
                    <a:pt x="97" y="258"/>
                  </a:lnTo>
                  <a:lnTo>
                    <a:pt x="92" y="261"/>
                  </a:lnTo>
                  <a:lnTo>
                    <a:pt x="90" y="263"/>
                  </a:lnTo>
                  <a:lnTo>
                    <a:pt x="90" y="263"/>
                  </a:lnTo>
                  <a:lnTo>
                    <a:pt x="88" y="265"/>
                  </a:lnTo>
                  <a:lnTo>
                    <a:pt x="86" y="265"/>
                  </a:lnTo>
                  <a:lnTo>
                    <a:pt x="82" y="263"/>
                  </a:lnTo>
                  <a:lnTo>
                    <a:pt x="80" y="263"/>
                  </a:lnTo>
                  <a:lnTo>
                    <a:pt x="76" y="265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7" y="267"/>
                  </a:lnTo>
                  <a:lnTo>
                    <a:pt x="63" y="269"/>
                  </a:lnTo>
                  <a:lnTo>
                    <a:pt x="61" y="269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42" y="277"/>
                  </a:lnTo>
                  <a:lnTo>
                    <a:pt x="40" y="277"/>
                  </a:lnTo>
                  <a:lnTo>
                    <a:pt x="40" y="279"/>
                  </a:lnTo>
                  <a:lnTo>
                    <a:pt x="42" y="282"/>
                  </a:lnTo>
                  <a:lnTo>
                    <a:pt x="44" y="282"/>
                  </a:lnTo>
                  <a:lnTo>
                    <a:pt x="48" y="284"/>
                  </a:lnTo>
                  <a:lnTo>
                    <a:pt x="48" y="284"/>
                  </a:lnTo>
                  <a:lnTo>
                    <a:pt x="51" y="286"/>
                  </a:lnTo>
                  <a:lnTo>
                    <a:pt x="51" y="286"/>
                  </a:lnTo>
                  <a:lnTo>
                    <a:pt x="53" y="286"/>
                  </a:lnTo>
                  <a:lnTo>
                    <a:pt x="55" y="288"/>
                  </a:lnTo>
                  <a:lnTo>
                    <a:pt x="57" y="288"/>
                  </a:lnTo>
                  <a:lnTo>
                    <a:pt x="59" y="290"/>
                  </a:lnTo>
                  <a:lnTo>
                    <a:pt x="59" y="290"/>
                  </a:lnTo>
                  <a:lnTo>
                    <a:pt x="63" y="290"/>
                  </a:lnTo>
                  <a:lnTo>
                    <a:pt x="67" y="292"/>
                  </a:lnTo>
                  <a:lnTo>
                    <a:pt x="71" y="292"/>
                  </a:lnTo>
                  <a:lnTo>
                    <a:pt x="74" y="292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6" y="294"/>
                  </a:lnTo>
                  <a:lnTo>
                    <a:pt x="78" y="294"/>
                  </a:lnTo>
                  <a:lnTo>
                    <a:pt x="78" y="294"/>
                  </a:lnTo>
                  <a:lnTo>
                    <a:pt x="78" y="296"/>
                  </a:lnTo>
                  <a:lnTo>
                    <a:pt x="80" y="294"/>
                  </a:lnTo>
                  <a:lnTo>
                    <a:pt x="86" y="294"/>
                  </a:lnTo>
                  <a:lnTo>
                    <a:pt x="90" y="294"/>
                  </a:lnTo>
                  <a:lnTo>
                    <a:pt x="90" y="292"/>
                  </a:lnTo>
                  <a:lnTo>
                    <a:pt x="92" y="292"/>
                  </a:lnTo>
                  <a:lnTo>
                    <a:pt x="92" y="290"/>
                  </a:lnTo>
                  <a:lnTo>
                    <a:pt x="94" y="290"/>
                  </a:lnTo>
                  <a:lnTo>
                    <a:pt x="94" y="288"/>
                  </a:lnTo>
                  <a:lnTo>
                    <a:pt x="97" y="286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88"/>
                  </a:lnTo>
                  <a:lnTo>
                    <a:pt x="99" y="290"/>
                  </a:lnTo>
                  <a:lnTo>
                    <a:pt x="101" y="290"/>
                  </a:lnTo>
                  <a:lnTo>
                    <a:pt x="101" y="290"/>
                  </a:lnTo>
                  <a:lnTo>
                    <a:pt x="101" y="290"/>
                  </a:lnTo>
                  <a:lnTo>
                    <a:pt x="103" y="290"/>
                  </a:lnTo>
                  <a:lnTo>
                    <a:pt x="103" y="290"/>
                  </a:lnTo>
                  <a:lnTo>
                    <a:pt x="103" y="290"/>
                  </a:lnTo>
                  <a:lnTo>
                    <a:pt x="103" y="288"/>
                  </a:lnTo>
                  <a:lnTo>
                    <a:pt x="105" y="288"/>
                  </a:lnTo>
                  <a:close/>
                  <a:moveTo>
                    <a:pt x="53" y="149"/>
                  </a:moveTo>
                  <a:lnTo>
                    <a:pt x="55" y="149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7" y="145"/>
                  </a:lnTo>
                  <a:lnTo>
                    <a:pt x="57" y="143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41"/>
                  </a:lnTo>
                  <a:lnTo>
                    <a:pt x="57" y="141"/>
                  </a:lnTo>
                  <a:lnTo>
                    <a:pt x="57" y="141"/>
                  </a:lnTo>
                  <a:lnTo>
                    <a:pt x="55" y="141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3"/>
                  </a:lnTo>
                  <a:lnTo>
                    <a:pt x="51" y="143"/>
                  </a:lnTo>
                  <a:lnTo>
                    <a:pt x="51" y="145"/>
                  </a:lnTo>
                  <a:lnTo>
                    <a:pt x="53" y="147"/>
                  </a:lnTo>
                  <a:lnTo>
                    <a:pt x="53" y="149"/>
                  </a:lnTo>
                  <a:close/>
                  <a:moveTo>
                    <a:pt x="107" y="309"/>
                  </a:moveTo>
                  <a:lnTo>
                    <a:pt x="105" y="309"/>
                  </a:lnTo>
                  <a:lnTo>
                    <a:pt x="105" y="309"/>
                  </a:lnTo>
                  <a:lnTo>
                    <a:pt x="105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3" y="309"/>
                  </a:lnTo>
                  <a:lnTo>
                    <a:pt x="105" y="311"/>
                  </a:lnTo>
                  <a:lnTo>
                    <a:pt x="105" y="311"/>
                  </a:lnTo>
                  <a:lnTo>
                    <a:pt x="107" y="311"/>
                  </a:lnTo>
                  <a:lnTo>
                    <a:pt x="107" y="311"/>
                  </a:lnTo>
                  <a:lnTo>
                    <a:pt x="107" y="311"/>
                  </a:lnTo>
                  <a:lnTo>
                    <a:pt x="107" y="311"/>
                  </a:lnTo>
                  <a:lnTo>
                    <a:pt x="107" y="309"/>
                  </a:lnTo>
                  <a:close/>
                  <a:moveTo>
                    <a:pt x="105" y="298"/>
                  </a:moveTo>
                  <a:lnTo>
                    <a:pt x="105" y="298"/>
                  </a:lnTo>
                  <a:lnTo>
                    <a:pt x="105" y="298"/>
                  </a:lnTo>
                  <a:lnTo>
                    <a:pt x="103" y="298"/>
                  </a:lnTo>
                  <a:lnTo>
                    <a:pt x="103" y="298"/>
                  </a:lnTo>
                  <a:lnTo>
                    <a:pt x="105" y="298"/>
                  </a:lnTo>
                  <a:close/>
                  <a:moveTo>
                    <a:pt x="182" y="4"/>
                  </a:moveTo>
                  <a:lnTo>
                    <a:pt x="182" y="4"/>
                  </a:lnTo>
                  <a:lnTo>
                    <a:pt x="182" y="6"/>
                  </a:lnTo>
                  <a:lnTo>
                    <a:pt x="182" y="4"/>
                  </a:lnTo>
                  <a:lnTo>
                    <a:pt x="182" y="4"/>
                  </a:lnTo>
                  <a:close/>
                  <a:moveTo>
                    <a:pt x="474" y="34"/>
                  </a:moveTo>
                  <a:lnTo>
                    <a:pt x="476" y="32"/>
                  </a:lnTo>
                  <a:lnTo>
                    <a:pt x="476" y="32"/>
                  </a:lnTo>
                  <a:lnTo>
                    <a:pt x="476" y="29"/>
                  </a:lnTo>
                  <a:lnTo>
                    <a:pt x="474" y="29"/>
                  </a:lnTo>
                  <a:lnTo>
                    <a:pt x="472" y="29"/>
                  </a:lnTo>
                  <a:lnTo>
                    <a:pt x="472" y="32"/>
                  </a:lnTo>
                  <a:lnTo>
                    <a:pt x="472" y="34"/>
                  </a:lnTo>
                  <a:lnTo>
                    <a:pt x="474" y="34"/>
                  </a:lnTo>
                  <a:close/>
                  <a:moveTo>
                    <a:pt x="476" y="298"/>
                  </a:moveTo>
                  <a:lnTo>
                    <a:pt x="474" y="300"/>
                  </a:lnTo>
                  <a:lnTo>
                    <a:pt x="476" y="303"/>
                  </a:lnTo>
                  <a:lnTo>
                    <a:pt x="478" y="305"/>
                  </a:lnTo>
                  <a:lnTo>
                    <a:pt x="480" y="303"/>
                  </a:lnTo>
                  <a:lnTo>
                    <a:pt x="480" y="303"/>
                  </a:lnTo>
                  <a:lnTo>
                    <a:pt x="480" y="298"/>
                  </a:lnTo>
                  <a:lnTo>
                    <a:pt x="484" y="294"/>
                  </a:lnTo>
                  <a:lnTo>
                    <a:pt x="484" y="294"/>
                  </a:lnTo>
                  <a:lnTo>
                    <a:pt x="484" y="292"/>
                  </a:lnTo>
                  <a:lnTo>
                    <a:pt x="482" y="292"/>
                  </a:lnTo>
                  <a:lnTo>
                    <a:pt x="482" y="290"/>
                  </a:lnTo>
                  <a:lnTo>
                    <a:pt x="480" y="290"/>
                  </a:lnTo>
                  <a:lnTo>
                    <a:pt x="480" y="290"/>
                  </a:lnTo>
                  <a:lnTo>
                    <a:pt x="478" y="290"/>
                  </a:lnTo>
                  <a:lnTo>
                    <a:pt x="478" y="290"/>
                  </a:lnTo>
                  <a:lnTo>
                    <a:pt x="478" y="292"/>
                  </a:lnTo>
                  <a:lnTo>
                    <a:pt x="476" y="292"/>
                  </a:lnTo>
                  <a:lnTo>
                    <a:pt x="476" y="294"/>
                  </a:lnTo>
                  <a:lnTo>
                    <a:pt x="476" y="298"/>
                  </a:lnTo>
                  <a:close/>
                  <a:moveTo>
                    <a:pt x="185" y="2"/>
                  </a:moveTo>
                  <a:lnTo>
                    <a:pt x="187" y="2"/>
                  </a:lnTo>
                  <a:lnTo>
                    <a:pt x="187" y="0"/>
                  </a:lnTo>
                  <a:lnTo>
                    <a:pt x="185" y="0"/>
                  </a:lnTo>
                  <a:lnTo>
                    <a:pt x="185" y="2"/>
                  </a:lnTo>
                  <a:lnTo>
                    <a:pt x="185" y="2"/>
                  </a:lnTo>
                  <a:lnTo>
                    <a:pt x="185" y="4"/>
                  </a:lnTo>
                  <a:lnTo>
                    <a:pt x="185" y="2"/>
                  </a:lnTo>
                  <a:close/>
                  <a:moveTo>
                    <a:pt x="88" y="242"/>
                  </a:moveTo>
                  <a:lnTo>
                    <a:pt x="88" y="242"/>
                  </a:lnTo>
                  <a:lnTo>
                    <a:pt x="88" y="239"/>
                  </a:lnTo>
                  <a:lnTo>
                    <a:pt x="90" y="239"/>
                  </a:lnTo>
                  <a:lnTo>
                    <a:pt x="90" y="239"/>
                  </a:lnTo>
                  <a:lnTo>
                    <a:pt x="90" y="239"/>
                  </a:lnTo>
                  <a:lnTo>
                    <a:pt x="90" y="239"/>
                  </a:lnTo>
                  <a:lnTo>
                    <a:pt x="88" y="239"/>
                  </a:lnTo>
                  <a:lnTo>
                    <a:pt x="86" y="239"/>
                  </a:lnTo>
                  <a:lnTo>
                    <a:pt x="86" y="242"/>
                  </a:lnTo>
                  <a:lnTo>
                    <a:pt x="86" y="242"/>
                  </a:lnTo>
                  <a:lnTo>
                    <a:pt x="86" y="242"/>
                  </a:lnTo>
                  <a:lnTo>
                    <a:pt x="88" y="242"/>
                  </a:lnTo>
                  <a:close/>
                  <a:moveTo>
                    <a:pt x="495" y="330"/>
                  </a:moveTo>
                  <a:lnTo>
                    <a:pt x="495" y="332"/>
                  </a:lnTo>
                  <a:lnTo>
                    <a:pt x="495" y="332"/>
                  </a:lnTo>
                  <a:lnTo>
                    <a:pt x="497" y="332"/>
                  </a:lnTo>
                  <a:lnTo>
                    <a:pt x="499" y="332"/>
                  </a:lnTo>
                  <a:lnTo>
                    <a:pt x="499" y="330"/>
                  </a:lnTo>
                  <a:lnTo>
                    <a:pt x="499" y="328"/>
                  </a:lnTo>
                  <a:lnTo>
                    <a:pt x="499" y="321"/>
                  </a:lnTo>
                  <a:lnTo>
                    <a:pt x="499" y="319"/>
                  </a:lnTo>
                  <a:lnTo>
                    <a:pt x="499" y="319"/>
                  </a:lnTo>
                  <a:lnTo>
                    <a:pt x="497" y="317"/>
                  </a:lnTo>
                  <a:lnTo>
                    <a:pt x="497" y="317"/>
                  </a:lnTo>
                  <a:lnTo>
                    <a:pt x="497" y="321"/>
                  </a:lnTo>
                  <a:lnTo>
                    <a:pt x="497" y="324"/>
                  </a:lnTo>
                  <a:lnTo>
                    <a:pt x="495" y="324"/>
                  </a:lnTo>
                  <a:lnTo>
                    <a:pt x="492" y="326"/>
                  </a:lnTo>
                  <a:lnTo>
                    <a:pt x="492" y="328"/>
                  </a:lnTo>
                  <a:lnTo>
                    <a:pt x="495" y="330"/>
                  </a:lnTo>
                  <a:lnTo>
                    <a:pt x="495" y="330"/>
                  </a:lnTo>
                  <a:close/>
                  <a:moveTo>
                    <a:pt x="120" y="151"/>
                  </a:moveTo>
                  <a:lnTo>
                    <a:pt x="122" y="151"/>
                  </a:lnTo>
                  <a:lnTo>
                    <a:pt x="122" y="151"/>
                  </a:lnTo>
                  <a:lnTo>
                    <a:pt x="126" y="151"/>
                  </a:lnTo>
                  <a:lnTo>
                    <a:pt x="128" y="149"/>
                  </a:lnTo>
                  <a:lnTo>
                    <a:pt x="130" y="147"/>
                  </a:lnTo>
                  <a:lnTo>
                    <a:pt x="130" y="145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30" y="143"/>
                  </a:lnTo>
                  <a:lnTo>
                    <a:pt x="126" y="141"/>
                  </a:lnTo>
                  <a:lnTo>
                    <a:pt x="126" y="141"/>
                  </a:lnTo>
                  <a:lnTo>
                    <a:pt x="126" y="141"/>
                  </a:lnTo>
                  <a:lnTo>
                    <a:pt x="124" y="141"/>
                  </a:lnTo>
                  <a:lnTo>
                    <a:pt x="124" y="141"/>
                  </a:lnTo>
                  <a:lnTo>
                    <a:pt x="124" y="141"/>
                  </a:lnTo>
                  <a:lnTo>
                    <a:pt x="124" y="141"/>
                  </a:lnTo>
                  <a:lnTo>
                    <a:pt x="122" y="143"/>
                  </a:lnTo>
                  <a:lnTo>
                    <a:pt x="120" y="143"/>
                  </a:lnTo>
                  <a:lnTo>
                    <a:pt x="120" y="145"/>
                  </a:lnTo>
                  <a:lnTo>
                    <a:pt x="118" y="145"/>
                  </a:lnTo>
                  <a:lnTo>
                    <a:pt x="118" y="145"/>
                  </a:lnTo>
                  <a:lnTo>
                    <a:pt x="115" y="145"/>
                  </a:lnTo>
                  <a:lnTo>
                    <a:pt x="115" y="145"/>
                  </a:lnTo>
                  <a:lnTo>
                    <a:pt x="113" y="143"/>
                  </a:lnTo>
                  <a:lnTo>
                    <a:pt x="113" y="143"/>
                  </a:lnTo>
                  <a:lnTo>
                    <a:pt x="113" y="143"/>
                  </a:lnTo>
                  <a:lnTo>
                    <a:pt x="111" y="145"/>
                  </a:lnTo>
                  <a:lnTo>
                    <a:pt x="111" y="147"/>
                  </a:lnTo>
                  <a:lnTo>
                    <a:pt x="111" y="145"/>
                  </a:lnTo>
                  <a:lnTo>
                    <a:pt x="111" y="145"/>
                  </a:lnTo>
                  <a:lnTo>
                    <a:pt x="109" y="145"/>
                  </a:lnTo>
                  <a:lnTo>
                    <a:pt x="109" y="145"/>
                  </a:lnTo>
                  <a:lnTo>
                    <a:pt x="109" y="147"/>
                  </a:lnTo>
                  <a:lnTo>
                    <a:pt x="111" y="147"/>
                  </a:lnTo>
                  <a:lnTo>
                    <a:pt x="111" y="147"/>
                  </a:lnTo>
                  <a:lnTo>
                    <a:pt x="113" y="147"/>
                  </a:lnTo>
                  <a:lnTo>
                    <a:pt x="113" y="149"/>
                  </a:lnTo>
                  <a:lnTo>
                    <a:pt x="111" y="149"/>
                  </a:lnTo>
                  <a:lnTo>
                    <a:pt x="111" y="149"/>
                  </a:lnTo>
                  <a:lnTo>
                    <a:pt x="109" y="151"/>
                  </a:lnTo>
                  <a:lnTo>
                    <a:pt x="115" y="149"/>
                  </a:lnTo>
                  <a:lnTo>
                    <a:pt x="115" y="149"/>
                  </a:lnTo>
                  <a:lnTo>
                    <a:pt x="115" y="149"/>
                  </a:lnTo>
                  <a:lnTo>
                    <a:pt x="118" y="149"/>
                  </a:lnTo>
                  <a:lnTo>
                    <a:pt x="118" y="149"/>
                  </a:lnTo>
                  <a:lnTo>
                    <a:pt x="120" y="147"/>
                  </a:lnTo>
                  <a:lnTo>
                    <a:pt x="120" y="147"/>
                  </a:lnTo>
                  <a:lnTo>
                    <a:pt x="120" y="147"/>
                  </a:lnTo>
                  <a:lnTo>
                    <a:pt x="122" y="145"/>
                  </a:lnTo>
                  <a:lnTo>
                    <a:pt x="122" y="147"/>
                  </a:lnTo>
                  <a:lnTo>
                    <a:pt x="122" y="151"/>
                  </a:lnTo>
                  <a:lnTo>
                    <a:pt x="120" y="151"/>
                  </a:lnTo>
                  <a:close/>
                  <a:moveTo>
                    <a:pt x="90" y="122"/>
                  </a:moveTo>
                  <a:lnTo>
                    <a:pt x="94" y="124"/>
                  </a:lnTo>
                  <a:lnTo>
                    <a:pt x="94" y="124"/>
                  </a:lnTo>
                  <a:lnTo>
                    <a:pt x="94" y="124"/>
                  </a:lnTo>
                  <a:lnTo>
                    <a:pt x="94" y="126"/>
                  </a:lnTo>
                  <a:lnTo>
                    <a:pt x="94" y="126"/>
                  </a:lnTo>
                  <a:lnTo>
                    <a:pt x="97" y="126"/>
                  </a:lnTo>
                  <a:lnTo>
                    <a:pt x="99" y="126"/>
                  </a:lnTo>
                  <a:lnTo>
                    <a:pt x="99" y="126"/>
                  </a:lnTo>
                  <a:lnTo>
                    <a:pt x="101" y="126"/>
                  </a:lnTo>
                  <a:lnTo>
                    <a:pt x="101" y="126"/>
                  </a:lnTo>
                  <a:lnTo>
                    <a:pt x="101" y="128"/>
                  </a:lnTo>
                  <a:lnTo>
                    <a:pt x="103" y="128"/>
                  </a:lnTo>
                  <a:lnTo>
                    <a:pt x="103" y="126"/>
                  </a:lnTo>
                  <a:lnTo>
                    <a:pt x="103" y="126"/>
                  </a:lnTo>
                  <a:lnTo>
                    <a:pt x="105" y="126"/>
                  </a:lnTo>
                  <a:lnTo>
                    <a:pt x="107" y="126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7" y="128"/>
                  </a:lnTo>
                  <a:lnTo>
                    <a:pt x="109" y="128"/>
                  </a:lnTo>
                  <a:lnTo>
                    <a:pt x="109" y="126"/>
                  </a:lnTo>
                  <a:lnTo>
                    <a:pt x="111" y="126"/>
                  </a:lnTo>
                  <a:lnTo>
                    <a:pt x="113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28"/>
                  </a:lnTo>
                  <a:lnTo>
                    <a:pt x="115" y="130"/>
                  </a:lnTo>
                  <a:lnTo>
                    <a:pt x="118" y="130"/>
                  </a:lnTo>
                  <a:lnTo>
                    <a:pt x="118" y="132"/>
                  </a:lnTo>
                  <a:lnTo>
                    <a:pt x="118" y="134"/>
                  </a:lnTo>
                  <a:lnTo>
                    <a:pt x="118" y="137"/>
                  </a:lnTo>
                  <a:lnTo>
                    <a:pt x="118" y="137"/>
                  </a:lnTo>
                  <a:lnTo>
                    <a:pt x="120" y="139"/>
                  </a:lnTo>
                  <a:lnTo>
                    <a:pt x="118" y="141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18" y="143"/>
                  </a:lnTo>
                  <a:lnTo>
                    <a:pt x="120" y="141"/>
                  </a:lnTo>
                  <a:lnTo>
                    <a:pt x="120" y="137"/>
                  </a:lnTo>
                  <a:lnTo>
                    <a:pt x="122" y="137"/>
                  </a:lnTo>
                  <a:lnTo>
                    <a:pt x="120" y="137"/>
                  </a:lnTo>
                  <a:lnTo>
                    <a:pt x="120" y="137"/>
                  </a:lnTo>
                  <a:lnTo>
                    <a:pt x="120" y="132"/>
                  </a:lnTo>
                  <a:lnTo>
                    <a:pt x="124" y="130"/>
                  </a:lnTo>
                  <a:lnTo>
                    <a:pt x="130" y="128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2" y="132"/>
                  </a:lnTo>
                  <a:lnTo>
                    <a:pt x="130" y="134"/>
                  </a:lnTo>
                  <a:lnTo>
                    <a:pt x="132" y="141"/>
                  </a:lnTo>
                  <a:lnTo>
                    <a:pt x="134" y="141"/>
                  </a:lnTo>
                  <a:lnTo>
                    <a:pt x="134" y="143"/>
                  </a:lnTo>
                  <a:lnTo>
                    <a:pt x="136" y="143"/>
                  </a:lnTo>
                  <a:lnTo>
                    <a:pt x="141" y="143"/>
                  </a:lnTo>
                  <a:lnTo>
                    <a:pt x="147" y="143"/>
                  </a:lnTo>
                  <a:lnTo>
                    <a:pt x="151" y="141"/>
                  </a:lnTo>
                  <a:lnTo>
                    <a:pt x="153" y="139"/>
                  </a:lnTo>
                  <a:lnTo>
                    <a:pt x="153" y="139"/>
                  </a:lnTo>
                  <a:lnTo>
                    <a:pt x="153" y="139"/>
                  </a:lnTo>
                  <a:lnTo>
                    <a:pt x="153" y="137"/>
                  </a:lnTo>
                  <a:lnTo>
                    <a:pt x="155" y="137"/>
                  </a:lnTo>
                  <a:lnTo>
                    <a:pt x="155" y="137"/>
                  </a:lnTo>
                  <a:lnTo>
                    <a:pt x="155" y="134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3" y="132"/>
                  </a:lnTo>
                  <a:lnTo>
                    <a:pt x="151" y="132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49" y="130"/>
                  </a:lnTo>
                  <a:lnTo>
                    <a:pt x="149" y="128"/>
                  </a:lnTo>
                  <a:lnTo>
                    <a:pt x="145" y="128"/>
                  </a:lnTo>
                  <a:lnTo>
                    <a:pt x="143" y="128"/>
                  </a:lnTo>
                  <a:lnTo>
                    <a:pt x="143" y="130"/>
                  </a:lnTo>
                  <a:lnTo>
                    <a:pt x="143" y="132"/>
                  </a:lnTo>
                  <a:lnTo>
                    <a:pt x="141" y="130"/>
                  </a:lnTo>
                  <a:lnTo>
                    <a:pt x="136" y="128"/>
                  </a:lnTo>
                  <a:lnTo>
                    <a:pt x="136" y="128"/>
                  </a:lnTo>
                  <a:lnTo>
                    <a:pt x="136" y="126"/>
                  </a:lnTo>
                  <a:lnTo>
                    <a:pt x="134" y="122"/>
                  </a:lnTo>
                  <a:lnTo>
                    <a:pt x="130" y="118"/>
                  </a:lnTo>
                  <a:lnTo>
                    <a:pt x="128" y="116"/>
                  </a:lnTo>
                  <a:lnTo>
                    <a:pt x="126" y="116"/>
                  </a:lnTo>
                  <a:lnTo>
                    <a:pt x="126" y="113"/>
                  </a:lnTo>
                  <a:lnTo>
                    <a:pt x="126" y="111"/>
                  </a:lnTo>
                  <a:lnTo>
                    <a:pt x="128" y="111"/>
                  </a:lnTo>
                  <a:lnTo>
                    <a:pt x="128" y="111"/>
                  </a:lnTo>
                  <a:lnTo>
                    <a:pt x="126" y="111"/>
                  </a:lnTo>
                  <a:lnTo>
                    <a:pt x="124" y="109"/>
                  </a:lnTo>
                  <a:lnTo>
                    <a:pt x="126" y="109"/>
                  </a:lnTo>
                  <a:lnTo>
                    <a:pt x="128" y="109"/>
                  </a:lnTo>
                  <a:lnTo>
                    <a:pt x="130" y="109"/>
                  </a:lnTo>
                  <a:lnTo>
                    <a:pt x="132" y="109"/>
                  </a:lnTo>
                  <a:lnTo>
                    <a:pt x="132" y="109"/>
                  </a:lnTo>
                  <a:lnTo>
                    <a:pt x="130" y="109"/>
                  </a:lnTo>
                  <a:lnTo>
                    <a:pt x="132" y="111"/>
                  </a:lnTo>
                  <a:lnTo>
                    <a:pt x="132" y="111"/>
                  </a:lnTo>
                  <a:lnTo>
                    <a:pt x="134" y="109"/>
                  </a:lnTo>
                  <a:lnTo>
                    <a:pt x="134" y="111"/>
                  </a:lnTo>
                  <a:lnTo>
                    <a:pt x="134" y="113"/>
                  </a:lnTo>
                  <a:lnTo>
                    <a:pt x="141" y="118"/>
                  </a:lnTo>
                  <a:lnTo>
                    <a:pt x="141" y="120"/>
                  </a:lnTo>
                  <a:lnTo>
                    <a:pt x="141" y="122"/>
                  </a:lnTo>
                  <a:lnTo>
                    <a:pt x="141" y="124"/>
                  </a:lnTo>
                  <a:lnTo>
                    <a:pt x="141" y="124"/>
                  </a:lnTo>
                  <a:lnTo>
                    <a:pt x="143" y="124"/>
                  </a:lnTo>
                  <a:lnTo>
                    <a:pt x="143" y="124"/>
                  </a:lnTo>
                  <a:lnTo>
                    <a:pt x="145" y="124"/>
                  </a:lnTo>
                  <a:lnTo>
                    <a:pt x="147" y="126"/>
                  </a:lnTo>
                  <a:lnTo>
                    <a:pt x="149" y="126"/>
                  </a:lnTo>
                  <a:lnTo>
                    <a:pt x="151" y="126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30"/>
                  </a:lnTo>
                  <a:lnTo>
                    <a:pt x="153" y="130"/>
                  </a:lnTo>
                  <a:lnTo>
                    <a:pt x="155" y="134"/>
                  </a:lnTo>
                  <a:lnTo>
                    <a:pt x="157" y="134"/>
                  </a:lnTo>
                  <a:lnTo>
                    <a:pt x="157" y="134"/>
                  </a:lnTo>
                  <a:lnTo>
                    <a:pt x="157" y="134"/>
                  </a:lnTo>
                  <a:lnTo>
                    <a:pt x="159" y="134"/>
                  </a:lnTo>
                  <a:lnTo>
                    <a:pt x="159" y="134"/>
                  </a:lnTo>
                  <a:lnTo>
                    <a:pt x="159" y="134"/>
                  </a:lnTo>
                  <a:lnTo>
                    <a:pt x="159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2" y="137"/>
                  </a:lnTo>
                  <a:lnTo>
                    <a:pt x="168" y="132"/>
                  </a:lnTo>
                  <a:lnTo>
                    <a:pt x="168" y="132"/>
                  </a:lnTo>
                  <a:lnTo>
                    <a:pt x="170" y="132"/>
                  </a:lnTo>
                  <a:lnTo>
                    <a:pt x="170" y="132"/>
                  </a:lnTo>
                  <a:lnTo>
                    <a:pt x="170" y="132"/>
                  </a:lnTo>
                  <a:lnTo>
                    <a:pt x="172" y="132"/>
                  </a:lnTo>
                  <a:lnTo>
                    <a:pt x="174" y="132"/>
                  </a:lnTo>
                  <a:lnTo>
                    <a:pt x="174" y="132"/>
                  </a:lnTo>
                  <a:lnTo>
                    <a:pt x="176" y="132"/>
                  </a:lnTo>
                  <a:lnTo>
                    <a:pt x="178" y="134"/>
                  </a:lnTo>
                  <a:lnTo>
                    <a:pt x="180" y="137"/>
                  </a:lnTo>
                  <a:lnTo>
                    <a:pt x="182" y="139"/>
                  </a:lnTo>
                  <a:lnTo>
                    <a:pt x="185" y="139"/>
                  </a:lnTo>
                  <a:lnTo>
                    <a:pt x="185" y="137"/>
                  </a:lnTo>
                  <a:lnTo>
                    <a:pt x="185" y="134"/>
                  </a:lnTo>
                  <a:lnTo>
                    <a:pt x="187" y="134"/>
                  </a:lnTo>
                  <a:lnTo>
                    <a:pt x="187" y="134"/>
                  </a:lnTo>
                  <a:lnTo>
                    <a:pt x="187" y="134"/>
                  </a:lnTo>
                  <a:lnTo>
                    <a:pt x="187" y="132"/>
                  </a:lnTo>
                  <a:lnTo>
                    <a:pt x="189" y="132"/>
                  </a:lnTo>
                  <a:lnTo>
                    <a:pt x="189" y="132"/>
                  </a:lnTo>
                  <a:lnTo>
                    <a:pt x="189" y="130"/>
                  </a:lnTo>
                  <a:lnTo>
                    <a:pt x="191" y="130"/>
                  </a:lnTo>
                  <a:lnTo>
                    <a:pt x="193" y="130"/>
                  </a:lnTo>
                  <a:lnTo>
                    <a:pt x="193" y="128"/>
                  </a:lnTo>
                  <a:lnTo>
                    <a:pt x="193" y="128"/>
                  </a:lnTo>
                  <a:lnTo>
                    <a:pt x="189" y="126"/>
                  </a:lnTo>
                  <a:lnTo>
                    <a:pt x="189" y="124"/>
                  </a:lnTo>
                  <a:lnTo>
                    <a:pt x="189" y="122"/>
                  </a:lnTo>
                  <a:lnTo>
                    <a:pt x="189" y="122"/>
                  </a:lnTo>
                  <a:lnTo>
                    <a:pt x="191" y="120"/>
                  </a:lnTo>
                  <a:lnTo>
                    <a:pt x="189" y="118"/>
                  </a:lnTo>
                  <a:lnTo>
                    <a:pt x="189" y="116"/>
                  </a:lnTo>
                  <a:lnTo>
                    <a:pt x="187" y="116"/>
                  </a:lnTo>
                  <a:lnTo>
                    <a:pt x="187" y="116"/>
                  </a:lnTo>
                  <a:lnTo>
                    <a:pt x="185" y="116"/>
                  </a:lnTo>
                  <a:lnTo>
                    <a:pt x="185" y="116"/>
                  </a:lnTo>
                  <a:lnTo>
                    <a:pt x="182" y="116"/>
                  </a:lnTo>
                  <a:lnTo>
                    <a:pt x="182" y="116"/>
                  </a:lnTo>
                  <a:lnTo>
                    <a:pt x="182" y="113"/>
                  </a:lnTo>
                  <a:lnTo>
                    <a:pt x="180" y="113"/>
                  </a:lnTo>
                  <a:lnTo>
                    <a:pt x="180" y="113"/>
                  </a:lnTo>
                  <a:lnTo>
                    <a:pt x="178" y="113"/>
                  </a:lnTo>
                  <a:lnTo>
                    <a:pt x="178" y="111"/>
                  </a:lnTo>
                  <a:lnTo>
                    <a:pt x="178" y="111"/>
                  </a:lnTo>
                  <a:lnTo>
                    <a:pt x="176" y="111"/>
                  </a:lnTo>
                  <a:lnTo>
                    <a:pt x="176" y="109"/>
                  </a:lnTo>
                  <a:lnTo>
                    <a:pt x="174" y="109"/>
                  </a:lnTo>
                  <a:lnTo>
                    <a:pt x="172" y="109"/>
                  </a:lnTo>
                  <a:lnTo>
                    <a:pt x="172" y="109"/>
                  </a:lnTo>
                  <a:lnTo>
                    <a:pt x="168" y="109"/>
                  </a:lnTo>
                  <a:lnTo>
                    <a:pt x="166" y="107"/>
                  </a:lnTo>
                  <a:lnTo>
                    <a:pt x="164" y="107"/>
                  </a:lnTo>
                  <a:lnTo>
                    <a:pt x="166" y="107"/>
                  </a:lnTo>
                  <a:lnTo>
                    <a:pt x="166" y="105"/>
                  </a:lnTo>
                  <a:lnTo>
                    <a:pt x="164" y="105"/>
                  </a:lnTo>
                  <a:lnTo>
                    <a:pt x="164" y="105"/>
                  </a:lnTo>
                  <a:lnTo>
                    <a:pt x="162" y="105"/>
                  </a:lnTo>
                  <a:lnTo>
                    <a:pt x="159" y="105"/>
                  </a:lnTo>
                  <a:lnTo>
                    <a:pt x="159" y="105"/>
                  </a:lnTo>
                  <a:lnTo>
                    <a:pt x="157" y="107"/>
                  </a:lnTo>
                  <a:lnTo>
                    <a:pt x="157" y="107"/>
                  </a:lnTo>
                  <a:lnTo>
                    <a:pt x="157" y="107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45" y="101"/>
                  </a:lnTo>
                  <a:lnTo>
                    <a:pt x="141" y="101"/>
                  </a:lnTo>
                  <a:lnTo>
                    <a:pt x="138" y="103"/>
                  </a:lnTo>
                  <a:lnTo>
                    <a:pt x="138" y="103"/>
                  </a:lnTo>
                  <a:lnTo>
                    <a:pt x="136" y="105"/>
                  </a:lnTo>
                  <a:lnTo>
                    <a:pt x="138" y="105"/>
                  </a:lnTo>
                  <a:lnTo>
                    <a:pt x="138" y="105"/>
                  </a:lnTo>
                  <a:lnTo>
                    <a:pt x="138" y="105"/>
                  </a:lnTo>
                  <a:lnTo>
                    <a:pt x="141" y="105"/>
                  </a:lnTo>
                  <a:lnTo>
                    <a:pt x="138" y="107"/>
                  </a:lnTo>
                  <a:lnTo>
                    <a:pt x="136" y="105"/>
                  </a:lnTo>
                  <a:lnTo>
                    <a:pt x="134" y="107"/>
                  </a:lnTo>
                  <a:lnTo>
                    <a:pt x="134" y="105"/>
                  </a:lnTo>
                  <a:lnTo>
                    <a:pt x="132" y="105"/>
                  </a:lnTo>
                  <a:lnTo>
                    <a:pt x="128" y="105"/>
                  </a:lnTo>
                  <a:lnTo>
                    <a:pt x="126" y="105"/>
                  </a:lnTo>
                  <a:lnTo>
                    <a:pt x="124" y="107"/>
                  </a:lnTo>
                  <a:lnTo>
                    <a:pt x="122" y="105"/>
                  </a:lnTo>
                  <a:lnTo>
                    <a:pt x="122" y="107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0" y="107"/>
                  </a:lnTo>
                  <a:lnTo>
                    <a:pt x="120" y="109"/>
                  </a:lnTo>
                  <a:lnTo>
                    <a:pt x="118" y="107"/>
                  </a:lnTo>
                  <a:lnTo>
                    <a:pt x="118" y="107"/>
                  </a:lnTo>
                  <a:lnTo>
                    <a:pt x="118" y="107"/>
                  </a:lnTo>
                  <a:lnTo>
                    <a:pt x="118" y="107"/>
                  </a:lnTo>
                  <a:lnTo>
                    <a:pt x="118" y="109"/>
                  </a:lnTo>
                  <a:lnTo>
                    <a:pt x="115" y="107"/>
                  </a:lnTo>
                  <a:lnTo>
                    <a:pt x="115" y="107"/>
                  </a:lnTo>
                  <a:lnTo>
                    <a:pt x="113" y="105"/>
                  </a:lnTo>
                  <a:lnTo>
                    <a:pt x="113" y="107"/>
                  </a:lnTo>
                  <a:lnTo>
                    <a:pt x="111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7" y="111"/>
                  </a:lnTo>
                  <a:lnTo>
                    <a:pt x="105" y="111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1" y="109"/>
                  </a:lnTo>
                  <a:lnTo>
                    <a:pt x="101" y="109"/>
                  </a:lnTo>
                  <a:lnTo>
                    <a:pt x="101" y="111"/>
                  </a:lnTo>
                  <a:lnTo>
                    <a:pt x="101" y="113"/>
                  </a:lnTo>
                  <a:lnTo>
                    <a:pt x="101" y="113"/>
                  </a:lnTo>
                  <a:lnTo>
                    <a:pt x="99" y="113"/>
                  </a:lnTo>
                  <a:lnTo>
                    <a:pt x="99" y="111"/>
                  </a:lnTo>
                  <a:lnTo>
                    <a:pt x="99" y="111"/>
                  </a:lnTo>
                  <a:lnTo>
                    <a:pt x="99" y="109"/>
                  </a:lnTo>
                  <a:lnTo>
                    <a:pt x="97" y="109"/>
                  </a:lnTo>
                  <a:lnTo>
                    <a:pt x="97" y="111"/>
                  </a:lnTo>
                  <a:lnTo>
                    <a:pt x="97" y="111"/>
                  </a:lnTo>
                  <a:lnTo>
                    <a:pt x="97" y="111"/>
                  </a:lnTo>
                  <a:lnTo>
                    <a:pt x="94" y="111"/>
                  </a:lnTo>
                  <a:lnTo>
                    <a:pt x="94" y="111"/>
                  </a:lnTo>
                  <a:lnTo>
                    <a:pt x="92" y="111"/>
                  </a:lnTo>
                  <a:lnTo>
                    <a:pt x="92" y="113"/>
                  </a:lnTo>
                  <a:lnTo>
                    <a:pt x="92" y="113"/>
                  </a:lnTo>
                  <a:lnTo>
                    <a:pt x="94" y="116"/>
                  </a:lnTo>
                  <a:lnTo>
                    <a:pt x="94" y="118"/>
                  </a:lnTo>
                  <a:lnTo>
                    <a:pt x="94" y="118"/>
                  </a:lnTo>
                  <a:lnTo>
                    <a:pt x="97" y="118"/>
                  </a:lnTo>
                  <a:lnTo>
                    <a:pt x="97" y="120"/>
                  </a:lnTo>
                  <a:lnTo>
                    <a:pt x="99" y="120"/>
                  </a:lnTo>
                  <a:lnTo>
                    <a:pt x="99" y="118"/>
                  </a:lnTo>
                  <a:lnTo>
                    <a:pt x="99" y="118"/>
                  </a:lnTo>
                  <a:lnTo>
                    <a:pt x="99" y="116"/>
                  </a:lnTo>
                  <a:lnTo>
                    <a:pt x="99" y="116"/>
                  </a:lnTo>
                  <a:lnTo>
                    <a:pt x="99" y="116"/>
                  </a:lnTo>
                  <a:lnTo>
                    <a:pt x="99" y="116"/>
                  </a:lnTo>
                  <a:lnTo>
                    <a:pt x="101" y="116"/>
                  </a:lnTo>
                  <a:lnTo>
                    <a:pt x="101" y="113"/>
                  </a:lnTo>
                  <a:lnTo>
                    <a:pt x="101" y="113"/>
                  </a:lnTo>
                  <a:lnTo>
                    <a:pt x="101" y="116"/>
                  </a:lnTo>
                  <a:lnTo>
                    <a:pt x="103" y="116"/>
                  </a:lnTo>
                  <a:lnTo>
                    <a:pt x="103" y="116"/>
                  </a:lnTo>
                  <a:lnTo>
                    <a:pt x="105" y="113"/>
                  </a:lnTo>
                  <a:lnTo>
                    <a:pt x="105" y="116"/>
                  </a:lnTo>
                  <a:lnTo>
                    <a:pt x="105" y="116"/>
                  </a:lnTo>
                  <a:lnTo>
                    <a:pt x="105" y="118"/>
                  </a:lnTo>
                  <a:lnTo>
                    <a:pt x="103" y="118"/>
                  </a:lnTo>
                  <a:lnTo>
                    <a:pt x="103" y="120"/>
                  </a:lnTo>
                  <a:lnTo>
                    <a:pt x="105" y="120"/>
                  </a:lnTo>
                  <a:lnTo>
                    <a:pt x="107" y="120"/>
                  </a:lnTo>
                  <a:lnTo>
                    <a:pt x="107" y="120"/>
                  </a:lnTo>
                  <a:lnTo>
                    <a:pt x="105" y="122"/>
                  </a:lnTo>
                  <a:lnTo>
                    <a:pt x="103" y="122"/>
                  </a:lnTo>
                  <a:lnTo>
                    <a:pt x="103" y="122"/>
                  </a:lnTo>
                  <a:lnTo>
                    <a:pt x="101" y="122"/>
                  </a:lnTo>
                  <a:lnTo>
                    <a:pt x="99" y="120"/>
                  </a:lnTo>
                  <a:lnTo>
                    <a:pt x="99" y="120"/>
                  </a:lnTo>
                  <a:lnTo>
                    <a:pt x="94" y="122"/>
                  </a:lnTo>
                  <a:lnTo>
                    <a:pt x="94" y="122"/>
                  </a:lnTo>
                  <a:lnTo>
                    <a:pt x="92" y="122"/>
                  </a:lnTo>
                  <a:lnTo>
                    <a:pt x="92" y="122"/>
                  </a:lnTo>
                  <a:lnTo>
                    <a:pt x="90" y="122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6" y="120"/>
                  </a:lnTo>
                  <a:lnTo>
                    <a:pt x="88" y="122"/>
                  </a:lnTo>
                  <a:lnTo>
                    <a:pt x="90" y="122"/>
                  </a:lnTo>
                  <a:close/>
                  <a:moveTo>
                    <a:pt x="174" y="197"/>
                  </a:moveTo>
                  <a:lnTo>
                    <a:pt x="174" y="197"/>
                  </a:lnTo>
                  <a:lnTo>
                    <a:pt x="174" y="197"/>
                  </a:lnTo>
                  <a:lnTo>
                    <a:pt x="174" y="197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0" y="195"/>
                  </a:lnTo>
                  <a:lnTo>
                    <a:pt x="168" y="197"/>
                  </a:lnTo>
                  <a:lnTo>
                    <a:pt x="168" y="197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0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70" y="204"/>
                  </a:lnTo>
                  <a:lnTo>
                    <a:pt x="170" y="204"/>
                  </a:lnTo>
                  <a:lnTo>
                    <a:pt x="170" y="204"/>
                  </a:lnTo>
                  <a:lnTo>
                    <a:pt x="170" y="204"/>
                  </a:lnTo>
                  <a:lnTo>
                    <a:pt x="170" y="204"/>
                  </a:lnTo>
                  <a:lnTo>
                    <a:pt x="170" y="204"/>
                  </a:lnTo>
                  <a:lnTo>
                    <a:pt x="170" y="202"/>
                  </a:lnTo>
                  <a:lnTo>
                    <a:pt x="170" y="202"/>
                  </a:lnTo>
                  <a:lnTo>
                    <a:pt x="170" y="202"/>
                  </a:lnTo>
                  <a:lnTo>
                    <a:pt x="170" y="202"/>
                  </a:lnTo>
                  <a:lnTo>
                    <a:pt x="170" y="202"/>
                  </a:lnTo>
                  <a:lnTo>
                    <a:pt x="170" y="202"/>
                  </a:lnTo>
                  <a:lnTo>
                    <a:pt x="172" y="200"/>
                  </a:lnTo>
                  <a:lnTo>
                    <a:pt x="172" y="200"/>
                  </a:lnTo>
                  <a:lnTo>
                    <a:pt x="172" y="200"/>
                  </a:lnTo>
                  <a:lnTo>
                    <a:pt x="172" y="200"/>
                  </a:lnTo>
                  <a:lnTo>
                    <a:pt x="172" y="197"/>
                  </a:lnTo>
                  <a:lnTo>
                    <a:pt x="174" y="197"/>
                  </a:lnTo>
                  <a:close/>
                  <a:moveTo>
                    <a:pt x="115" y="311"/>
                  </a:moveTo>
                  <a:lnTo>
                    <a:pt x="113" y="311"/>
                  </a:lnTo>
                  <a:lnTo>
                    <a:pt x="113" y="311"/>
                  </a:lnTo>
                  <a:lnTo>
                    <a:pt x="113" y="311"/>
                  </a:lnTo>
                  <a:lnTo>
                    <a:pt x="113" y="311"/>
                  </a:lnTo>
                  <a:lnTo>
                    <a:pt x="113" y="311"/>
                  </a:lnTo>
                  <a:lnTo>
                    <a:pt x="113" y="311"/>
                  </a:lnTo>
                  <a:lnTo>
                    <a:pt x="115" y="311"/>
                  </a:lnTo>
                  <a:lnTo>
                    <a:pt x="115" y="311"/>
                  </a:lnTo>
                  <a:lnTo>
                    <a:pt x="115" y="311"/>
                  </a:lnTo>
                  <a:lnTo>
                    <a:pt x="118" y="311"/>
                  </a:lnTo>
                  <a:lnTo>
                    <a:pt x="115" y="311"/>
                  </a:lnTo>
                  <a:lnTo>
                    <a:pt x="115" y="311"/>
                  </a:lnTo>
                  <a:close/>
                  <a:moveTo>
                    <a:pt x="384" y="336"/>
                  </a:moveTo>
                  <a:lnTo>
                    <a:pt x="384" y="336"/>
                  </a:lnTo>
                  <a:lnTo>
                    <a:pt x="384" y="334"/>
                  </a:lnTo>
                  <a:lnTo>
                    <a:pt x="384" y="334"/>
                  </a:lnTo>
                  <a:lnTo>
                    <a:pt x="384" y="332"/>
                  </a:lnTo>
                  <a:lnTo>
                    <a:pt x="381" y="330"/>
                  </a:lnTo>
                  <a:lnTo>
                    <a:pt x="379" y="330"/>
                  </a:lnTo>
                  <a:lnTo>
                    <a:pt x="379" y="330"/>
                  </a:lnTo>
                  <a:lnTo>
                    <a:pt x="379" y="332"/>
                  </a:lnTo>
                  <a:lnTo>
                    <a:pt x="381" y="334"/>
                  </a:lnTo>
                  <a:lnTo>
                    <a:pt x="384" y="336"/>
                  </a:lnTo>
                  <a:close/>
                  <a:moveTo>
                    <a:pt x="396" y="332"/>
                  </a:moveTo>
                  <a:lnTo>
                    <a:pt x="398" y="334"/>
                  </a:lnTo>
                  <a:lnTo>
                    <a:pt x="398" y="336"/>
                  </a:lnTo>
                  <a:lnTo>
                    <a:pt x="402" y="336"/>
                  </a:lnTo>
                  <a:lnTo>
                    <a:pt x="402" y="338"/>
                  </a:lnTo>
                  <a:lnTo>
                    <a:pt x="402" y="338"/>
                  </a:lnTo>
                  <a:lnTo>
                    <a:pt x="405" y="338"/>
                  </a:lnTo>
                  <a:lnTo>
                    <a:pt x="407" y="336"/>
                  </a:lnTo>
                  <a:lnTo>
                    <a:pt x="407" y="334"/>
                  </a:lnTo>
                  <a:lnTo>
                    <a:pt x="405" y="332"/>
                  </a:lnTo>
                  <a:lnTo>
                    <a:pt x="405" y="332"/>
                  </a:lnTo>
                  <a:lnTo>
                    <a:pt x="402" y="332"/>
                  </a:lnTo>
                  <a:lnTo>
                    <a:pt x="402" y="332"/>
                  </a:lnTo>
                  <a:lnTo>
                    <a:pt x="400" y="332"/>
                  </a:lnTo>
                  <a:lnTo>
                    <a:pt x="400" y="332"/>
                  </a:lnTo>
                  <a:lnTo>
                    <a:pt x="400" y="330"/>
                  </a:lnTo>
                  <a:lnTo>
                    <a:pt x="396" y="330"/>
                  </a:lnTo>
                  <a:lnTo>
                    <a:pt x="396" y="330"/>
                  </a:lnTo>
                  <a:lnTo>
                    <a:pt x="396" y="332"/>
                  </a:lnTo>
                  <a:lnTo>
                    <a:pt x="396" y="332"/>
                  </a:lnTo>
                  <a:close/>
                  <a:moveTo>
                    <a:pt x="467" y="420"/>
                  </a:moveTo>
                  <a:lnTo>
                    <a:pt x="465" y="420"/>
                  </a:lnTo>
                  <a:lnTo>
                    <a:pt x="465" y="416"/>
                  </a:lnTo>
                  <a:lnTo>
                    <a:pt x="467" y="412"/>
                  </a:lnTo>
                  <a:lnTo>
                    <a:pt x="469" y="408"/>
                  </a:lnTo>
                  <a:lnTo>
                    <a:pt x="472" y="403"/>
                  </a:lnTo>
                  <a:lnTo>
                    <a:pt x="474" y="401"/>
                  </a:lnTo>
                  <a:lnTo>
                    <a:pt x="484" y="395"/>
                  </a:lnTo>
                  <a:lnTo>
                    <a:pt x="486" y="391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4"/>
                  </a:lnTo>
                  <a:lnTo>
                    <a:pt x="486" y="384"/>
                  </a:lnTo>
                  <a:lnTo>
                    <a:pt x="488" y="382"/>
                  </a:lnTo>
                  <a:lnTo>
                    <a:pt x="488" y="382"/>
                  </a:lnTo>
                  <a:lnTo>
                    <a:pt x="505" y="368"/>
                  </a:lnTo>
                  <a:lnTo>
                    <a:pt x="507" y="368"/>
                  </a:lnTo>
                  <a:lnTo>
                    <a:pt x="507" y="368"/>
                  </a:lnTo>
                  <a:lnTo>
                    <a:pt x="507" y="368"/>
                  </a:lnTo>
                  <a:lnTo>
                    <a:pt x="505" y="342"/>
                  </a:lnTo>
                  <a:lnTo>
                    <a:pt x="505" y="338"/>
                  </a:lnTo>
                  <a:lnTo>
                    <a:pt x="503" y="338"/>
                  </a:lnTo>
                  <a:lnTo>
                    <a:pt x="503" y="336"/>
                  </a:lnTo>
                  <a:lnTo>
                    <a:pt x="501" y="336"/>
                  </a:lnTo>
                  <a:lnTo>
                    <a:pt x="499" y="334"/>
                  </a:lnTo>
                  <a:lnTo>
                    <a:pt x="497" y="334"/>
                  </a:lnTo>
                  <a:lnTo>
                    <a:pt x="497" y="334"/>
                  </a:lnTo>
                  <a:lnTo>
                    <a:pt x="495" y="334"/>
                  </a:lnTo>
                  <a:lnTo>
                    <a:pt x="495" y="334"/>
                  </a:lnTo>
                  <a:lnTo>
                    <a:pt x="495" y="334"/>
                  </a:lnTo>
                  <a:lnTo>
                    <a:pt x="495" y="336"/>
                  </a:lnTo>
                  <a:lnTo>
                    <a:pt x="495" y="336"/>
                  </a:lnTo>
                  <a:lnTo>
                    <a:pt x="490" y="338"/>
                  </a:lnTo>
                  <a:lnTo>
                    <a:pt x="490" y="338"/>
                  </a:lnTo>
                  <a:lnTo>
                    <a:pt x="488" y="340"/>
                  </a:lnTo>
                  <a:lnTo>
                    <a:pt x="488" y="342"/>
                  </a:lnTo>
                  <a:lnTo>
                    <a:pt x="488" y="345"/>
                  </a:lnTo>
                  <a:lnTo>
                    <a:pt x="488" y="347"/>
                  </a:lnTo>
                  <a:lnTo>
                    <a:pt x="488" y="349"/>
                  </a:lnTo>
                  <a:lnTo>
                    <a:pt x="488" y="351"/>
                  </a:lnTo>
                  <a:lnTo>
                    <a:pt x="490" y="353"/>
                  </a:lnTo>
                  <a:lnTo>
                    <a:pt x="490" y="353"/>
                  </a:lnTo>
                  <a:lnTo>
                    <a:pt x="490" y="355"/>
                  </a:lnTo>
                  <a:lnTo>
                    <a:pt x="490" y="357"/>
                  </a:lnTo>
                  <a:lnTo>
                    <a:pt x="490" y="359"/>
                  </a:lnTo>
                  <a:lnTo>
                    <a:pt x="490" y="359"/>
                  </a:lnTo>
                  <a:lnTo>
                    <a:pt x="492" y="361"/>
                  </a:lnTo>
                  <a:lnTo>
                    <a:pt x="492" y="363"/>
                  </a:lnTo>
                  <a:lnTo>
                    <a:pt x="492" y="368"/>
                  </a:lnTo>
                  <a:lnTo>
                    <a:pt x="492" y="368"/>
                  </a:lnTo>
                  <a:lnTo>
                    <a:pt x="490" y="370"/>
                  </a:lnTo>
                  <a:lnTo>
                    <a:pt x="490" y="370"/>
                  </a:lnTo>
                  <a:lnTo>
                    <a:pt x="486" y="370"/>
                  </a:lnTo>
                  <a:lnTo>
                    <a:pt x="486" y="370"/>
                  </a:lnTo>
                  <a:lnTo>
                    <a:pt x="484" y="366"/>
                  </a:lnTo>
                  <a:lnTo>
                    <a:pt x="484" y="363"/>
                  </a:lnTo>
                  <a:lnTo>
                    <a:pt x="482" y="361"/>
                  </a:lnTo>
                  <a:lnTo>
                    <a:pt x="482" y="361"/>
                  </a:lnTo>
                  <a:lnTo>
                    <a:pt x="482" y="359"/>
                  </a:lnTo>
                  <a:lnTo>
                    <a:pt x="480" y="353"/>
                  </a:lnTo>
                  <a:lnTo>
                    <a:pt x="480" y="351"/>
                  </a:lnTo>
                  <a:lnTo>
                    <a:pt x="478" y="349"/>
                  </a:lnTo>
                  <a:lnTo>
                    <a:pt x="478" y="347"/>
                  </a:lnTo>
                  <a:lnTo>
                    <a:pt x="476" y="345"/>
                  </a:lnTo>
                  <a:lnTo>
                    <a:pt x="476" y="340"/>
                  </a:lnTo>
                  <a:lnTo>
                    <a:pt x="474" y="338"/>
                  </a:lnTo>
                  <a:lnTo>
                    <a:pt x="474" y="336"/>
                  </a:lnTo>
                  <a:lnTo>
                    <a:pt x="474" y="336"/>
                  </a:lnTo>
                  <a:lnTo>
                    <a:pt x="472" y="336"/>
                  </a:lnTo>
                  <a:lnTo>
                    <a:pt x="469" y="334"/>
                  </a:lnTo>
                  <a:lnTo>
                    <a:pt x="469" y="334"/>
                  </a:lnTo>
                  <a:lnTo>
                    <a:pt x="467" y="332"/>
                  </a:lnTo>
                  <a:lnTo>
                    <a:pt x="463" y="328"/>
                  </a:lnTo>
                  <a:lnTo>
                    <a:pt x="463" y="326"/>
                  </a:lnTo>
                  <a:lnTo>
                    <a:pt x="461" y="326"/>
                  </a:lnTo>
                  <a:lnTo>
                    <a:pt x="461" y="324"/>
                  </a:lnTo>
                  <a:lnTo>
                    <a:pt x="461" y="321"/>
                  </a:lnTo>
                  <a:lnTo>
                    <a:pt x="461" y="321"/>
                  </a:lnTo>
                  <a:lnTo>
                    <a:pt x="459" y="319"/>
                  </a:lnTo>
                  <a:lnTo>
                    <a:pt x="459" y="319"/>
                  </a:lnTo>
                  <a:lnTo>
                    <a:pt x="459" y="317"/>
                  </a:lnTo>
                  <a:lnTo>
                    <a:pt x="459" y="315"/>
                  </a:lnTo>
                  <a:lnTo>
                    <a:pt x="459" y="313"/>
                  </a:lnTo>
                  <a:lnTo>
                    <a:pt x="457" y="311"/>
                  </a:lnTo>
                  <a:lnTo>
                    <a:pt x="457" y="309"/>
                  </a:lnTo>
                  <a:lnTo>
                    <a:pt x="457" y="307"/>
                  </a:lnTo>
                  <a:lnTo>
                    <a:pt x="457" y="307"/>
                  </a:lnTo>
                  <a:lnTo>
                    <a:pt x="457" y="307"/>
                  </a:lnTo>
                  <a:lnTo>
                    <a:pt x="457" y="305"/>
                  </a:lnTo>
                  <a:lnTo>
                    <a:pt x="457" y="305"/>
                  </a:lnTo>
                  <a:lnTo>
                    <a:pt x="455" y="303"/>
                  </a:lnTo>
                  <a:lnTo>
                    <a:pt x="455" y="303"/>
                  </a:lnTo>
                  <a:lnTo>
                    <a:pt x="455" y="300"/>
                  </a:lnTo>
                  <a:lnTo>
                    <a:pt x="457" y="294"/>
                  </a:lnTo>
                  <a:lnTo>
                    <a:pt x="457" y="294"/>
                  </a:lnTo>
                  <a:lnTo>
                    <a:pt x="457" y="294"/>
                  </a:lnTo>
                  <a:lnTo>
                    <a:pt x="457" y="294"/>
                  </a:lnTo>
                  <a:lnTo>
                    <a:pt x="459" y="294"/>
                  </a:lnTo>
                  <a:lnTo>
                    <a:pt x="459" y="294"/>
                  </a:lnTo>
                  <a:lnTo>
                    <a:pt x="457" y="292"/>
                  </a:lnTo>
                  <a:lnTo>
                    <a:pt x="457" y="292"/>
                  </a:lnTo>
                  <a:lnTo>
                    <a:pt x="457" y="292"/>
                  </a:lnTo>
                  <a:lnTo>
                    <a:pt x="457" y="290"/>
                  </a:lnTo>
                  <a:lnTo>
                    <a:pt x="457" y="284"/>
                  </a:lnTo>
                  <a:lnTo>
                    <a:pt x="453" y="265"/>
                  </a:lnTo>
                  <a:lnTo>
                    <a:pt x="453" y="261"/>
                  </a:lnTo>
                  <a:lnTo>
                    <a:pt x="451" y="261"/>
                  </a:lnTo>
                  <a:lnTo>
                    <a:pt x="453" y="258"/>
                  </a:lnTo>
                  <a:lnTo>
                    <a:pt x="453" y="258"/>
                  </a:lnTo>
                  <a:lnTo>
                    <a:pt x="453" y="256"/>
                  </a:lnTo>
                  <a:lnTo>
                    <a:pt x="455" y="256"/>
                  </a:lnTo>
                  <a:lnTo>
                    <a:pt x="455" y="256"/>
                  </a:lnTo>
                  <a:lnTo>
                    <a:pt x="457" y="256"/>
                  </a:lnTo>
                  <a:lnTo>
                    <a:pt x="457" y="254"/>
                  </a:lnTo>
                  <a:lnTo>
                    <a:pt x="463" y="250"/>
                  </a:lnTo>
                  <a:lnTo>
                    <a:pt x="463" y="248"/>
                  </a:lnTo>
                  <a:lnTo>
                    <a:pt x="463" y="246"/>
                  </a:lnTo>
                  <a:lnTo>
                    <a:pt x="465" y="239"/>
                  </a:lnTo>
                  <a:lnTo>
                    <a:pt x="465" y="237"/>
                  </a:lnTo>
                  <a:lnTo>
                    <a:pt x="465" y="235"/>
                  </a:lnTo>
                  <a:lnTo>
                    <a:pt x="469" y="229"/>
                  </a:lnTo>
                  <a:lnTo>
                    <a:pt x="469" y="227"/>
                  </a:lnTo>
                  <a:lnTo>
                    <a:pt x="463" y="216"/>
                  </a:lnTo>
                  <a:lnTo>
                    <a:pt x="461" y="214"/>
                  </a:lnTo>
                  <a:lnTo>
                    <a:pt x="461" y="214"/>
                  </a:lnTo>
                  <a:lnTo>
                    <a:pt x="459" y="212"/>
                  </a:lnTo>
                  <a:lnTo>
                    <a:pt x="457" y="210"/>
                  </a:lnTo>
                  <a:lnTo>
                    <a:pt x="455" y="210"/>
                  </a:lnTo>
                  <a:lnTo>
                    <a:pt x="455" y="206"/>
                  </a:lnTo>
                  <a:lnTo>
                    <a:pt x="453" y="206"/>
                  </a:lnTo>
                  <a:lnTo>
                    <a:pt x="453" y="204"/>
                  </a:lnTo>
                  <a:lnTo>
                    <a:pt x="453" y="202"/>
                  </a:lnTo>
                  <a:lnTo>
                    <a:pt x="453" y="202"/>
                  </a:lnTo>
                  <a:lnTo>
                    <a:pt x="451" y="200"/>
                  </a:lnTo>
                  <a:lnTo>
                    <a:pt x="446" y="191"/>
                  </a:lnTo>
                  <a:lnTo>
                    <a:pt x="449" y="191"/>
                  </a:lnTo>
                  <a:lnTo>
                    <a:pt x="449" y="191"/>
                  </a:lnTo>
                  <a:lnTo>
                    <a:pt x="451" y="189"/>
                  </a:lnTo>
                  <a:lnTo>
                    <a:pt x="451" y="187"/>
                  </a:lnTo>
                  <a:lnTo>
                    <a:pt x="451" y="185"/>
                  </a:lnTo>
                  <a:lnTo>
                    <a:pt x="453" y="185"/>
                  </a:lnTo>
                  <a:lnTo>
                    <a:pt x="457" y="185"/>
                  </a:lnTo>
                  <a:lnTo>
                    <a:pt x="459" y="183"/>
                  </a:lnTo>
                  <a:lnTo>
                    <a:pt x="459" y="183"/>
                  </a:lnTo>
                  <a:lnTo>
                    <a:pt x="459" y="183"/>
                  </a:lnTo>
                  <a:lnTo>
                    <a:pt x="457" y="181"/>
                  </a:lnTo>
                  <a:lnTo>
                    <a:pt x="455" y="181"/>
                  </a:lnTo>
                  <a:lnTo>
                    <a:pt x="453" y="179"/>
                  </a:lnTo>
                  <a:lnTo>
                    <a:pt x="453" y="179"/>
                  </a:lnTo>
                  <a:lnTo>
                    <a:pt x="453" y="176"/>
                  </a:lnTo>
                  <a:lnTo>
                    <a:pt x="451" y="176"/>
                  </a:lnTo>
                  <a:lnTo>
                    <a:pt x="449" y="176"/>
                  </a:lnTo>
                  <a:lnTo>
                    <a:pt x="442" y="170"/>
                  </a:lnTo>
                  <a:lnTo>
                    <a:pt x="440" y="170"/>
                  </a:lnTo>
                  <a:lnTo>
                    <a:pt x="440" y="170"/>
                  </a:lnTo>
                  <a:lnTo>
                    <a:pt x="438" y="170"/>
                  </a:lnTo>
                  <a:lnTo>
                    <a:pt x="434" y="170"/>
                  </a:lnTo>
                  <a:lnTo>
                    <a:pt x="430" y="170"/>
                  </a:lnTo>
                  <a:lnTo>
                    <a:pt x="428" y="172"/>
                  </a:lnTo>
                  <a:lnTo>
                    <a:pt x="428" y="172"/>
                  </a:lnTo>
                  <a:lnTo>
                    <a:pt x="425" y="170"/>
                  </a:lnTo>
                  <a:lnTo>
                    <a:pt x="425" y="170"/>
                  </a:lnTo>
                  <a:lnTo>
                    <a:pt x="423" y="168"/>
                  </a:lnTo>
                  <a:lnTo>
                    <a:pt x="421" y="168"/>
                  </a:lnTo>
                  <a:lnTo>
                    <a:pt x="421" y="170"/>
                  </a:lnTo>
                  <a:lnTo>
                    <a:pt x="419" y="170"/>
                  </a:lnTo>
                  <a:lnTo>
                    <a:pt x="421" y="172"/>
                  </a:lnTo>
                  <a:lnTo>
                    <a:pt x="419" y="172"/>
                  </a:lnTo>
                  <a:lnTo>
                    <a:pt x="411" y="172"/>
                  </a:lnTo>
                  <a:lnTo>
                    <a:pt x="409" y="172"/>
                  </a:lnTo>
                  <a:lnTo>
                    <a:pt x="407" y="170"/>
                  </a:lnTo>
                  <a:lnTo>
                    <a:pt x="407" y="170"/>
                  </a:lnTo>
                  <a:lnTo>
                    <a:pt x="405" y="170"/>
                  </a:lnTo>
                  <a:lnTo>
                    <a:pt x="405" y="170"/>
                  </a:lnTo>
                  <a:lnTo>
                    <a:pt x="405" y="170"/>
                  </a:lnTo>
                  <a:lnTo>
                    <a:pt x="405" y="172"/>
                  </a:lnTo>
                  <a:lnTo>
                    <a:pt x="402" y="172"/>
                  </a:lnTo>
                  <a:lnTo>
                    <a:pt x="402" y="172"/>
                  </a:lnTo>
                  <a:lnTo>
                    <a:pt x="402" y="172"/>
                  </a:lnTo>
                  <a:lnTo>
                    <a:pt x="402" y="172"/>
                  </a:lnTo>
                  <a:lnTo>
                    <a:pt x="386" y="170"/>
                  </a:lnTo>
                  <a:lnTo>
                    <a:pt x="386" y="168"/>
                  </a:lnTo>
                  <a:lnTo>
                    <a:pt x="381" y="166"/>
                  </a:lnTo>
                  <a:lnTo>
                    <a:pt x="379" y="166"/>
                  </a:lnTo>
                  <a:lnTo>
                    <a:pt x="379" y="164"/>
                  </a:lnTo>
                  <a:lnTo>
                    <a:pt x="375" y="160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1" y="151"/>
                  </a:lnTo>
                  <a:lnTo>
                    <a:pt x="361" y="151"/>
                  </a:lnTo>
                  <a:lnTo>
                    <a:pt x="358" y="151"/>
                  </a:lnTo>
                  <a:lnTo>
                    <a:pt x="358" y="149"/>
                  </a:lnTo>
                  <a:lnTo>
                    <a:pt x="358" y="149"/>
                  </a:lnTo>
                  <a:lnTo>
                    <a:pt x="356" y="149"/>
                  </a:lnTo>
                  <a:lnTo>
                    <a:pt x="354" y="149"/>
                  </a:lnTo>
                  <a:lnTo>
                    <a:pt x="354" y="149"/>
                  </a:lnTo>
                  <a:lnTo>
                    <a:pt x="352" y="149"/>
                  </a:lnTo>
                  <a:lnTo>
                    <a:pt x="348" y="147"/>
                  </a:lnTo>
                  <a:lnTo>
                    <a:pt x="348" y="145"/>
                  </a:lnTo>
                  <a:lnTo>
                    <a:pt x="348" y="145"/>
                  </a:lnTo>
                  <a:lnTo>
                    <a:pt x="348" y="145"/>
                  </a:lnTo>
                  <a:lnTo>
                    <a:pt x="346" y="143"/>
                  </a:lnTo>
                  <a:lnTo>
                    <a:pt x="346" y="143"/>
                  </a:lnTo>
                  <a:lnTo>
                    <a:pt x="344" y="145"/>
                  </a:lnTo>
                  <a:lnTo>
                    <a:pt x="342" y="145"/>
                  </a:lnTo>
                  <a:lnTo>
                    <a:pt x="340" y="145"/>
                  </a:lnTo>
                  <a:lnTo>
                    <a:pt x="321" y="134"/>
                  </a:lnTo>
                  <a:lnTo>
                    <a:pt x="319" y="137"/>
                  </a:lnTo>
                  <a:lnTo>
                    <a:pt x="296" y="134"/>
                  </a:lnTo>
                  <a:lnTo>
                    <a:pt x="291" y="134"/>
                  </a:lnTo>
                  <a:lnTo>
                    <a:pt x="285" y="137"/>
                  </a:lnTo>
                  <a:lnTo>
                    <a:pt x="281" y="137"/>
                  </a:lnTo>
                  <a:lnTo>
                    <a:pt x="281" y="139"/>
                  </a:lnTo>
                  <a:lnTo>
                    <a:pt x="277" y="139"/>
                  </a:lnTo>
                  <a:lnTo>
                    <a:pt x="273" y="141"/>
                  </a:lnTo>
                  <a:lnTo>
                    <a:pt x="270" y="143"/>
                  </a:lnTo>
                  <a:lnTo>
                    <a:pt x="268" y="143"/>
                  </a:lnTo>
                  <a:lnTo>
                    <a:pt x="264" y="145"/>
                  </a:lnTo>
                  <a:lnTo>
                    <a:pt x="264" y="147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0" y="151"/>
                  </a:lnTo>
                  <a:lnTo>
                    <a:pt x="256" y="153"/>
                  </a:lnTo>
                  <a:lnTo>
                    <a:pt x="254" y="155"/>
                  </a:lnTo>
                  <a:lnTo>
                    <a:pt x="250" y="158"/>
                  </a:lnTo>
                  <a:lnTo>
                    <a:pt x="245" y="162"/>
                  </a:lnTo>
                  <a:lnTo>
                    <a:pt x="243" y="166"/>
                  </a:lnTo>
                  <a:lnTo>
                    <a:pt x="243" y="166"/>
                  </a:lnTo>
                  <a:lnTo>
                    <a:pt x="241" y="166"/>
                  </a:lnTo>
                  <a:lnTo>
                    <a:pt x="235" y="168"/>
                  </a:lnTo>
                  <a:lnTo>
                    <a:pt x="216" y="172"/>
                  </a:lnTo>
                  <a:lnTo>
                    <a:pt x="216" y="172"/>
                  </a:lnTo>
                  <a:lnTo>
                    <a:pt x="214" y="174"/>
                  </a:lnTo>
                  <a:lnTo>
                    <a:pt x="212" y="174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10" y="174"/>
                  </a:lnTo>
                  <a:lnTo>
                    <a:pt x="210" y="172"/>
                  </a:lnTo>
                  <a:lnTo>
                    <a:pt x="212" y="170"/>
                  </a:lnTo>
                  <a:lnTo>
                    <a:pt x="210" y="170"/>
                  </a:lnTo>
                  <a:lnTo>
                    <a:pt x="210" y="170"/>
                  </a:lnTo>
                  <a:lnTo>
                    <a:pt x="208" y="170"/>
                  </a:lnTo>
                  <a:lnTo>
                    <a:pt x="208" y="170"/>
                  </a:lnTo>
                  <a:lnTo>
                    <a:pt x="206" y="172"/>
                  </a:lnTo>
                  <a:lnTo>
                    <a:pt x="203" y="172"/>
                  </a:lnTo>
                  <a:lnTo>
                    <a:pt x="201" y="172"/>
                  </a:lnTo>
                  <a:lnTo>
                    <a:pt x="201" y="172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5" y="176"/>
                  </a:lnTo>
                  <a:lnTo>
                    <a:pt x="191" y="176"/>
                  </a:lnTo>
                  <a:lnTo>
                    <a:pt x="182" y="179"/>
                  </a:lnTo>
                  <a:lnTo>
                    <a:pt x="182" y="181"/>
                  </a:lnTo>
                  <a:lnTo>
                    <a:pt x="185" y="183"/>
                  </a:lnTo>
                  <a:lnTo>
                    <a:pt x="189" y="187"/>
                  </a:lnTo>
                  <a:lnTo>
                    <a:pt x="187" y="189"/>
                  </a:lnTo>
                  <a:lnTo>
                    <a:pt x="185" y="189"/>
                  </a:lnTo>
                  <a:lnTo>
                    <a:pt x="187" y="191"/>
                  </a:lnTo>
                  <a:lnTo>
                    <a:pt x="185" y="195"/>
                  </a:lnTo>
                  <a:lnTo>
                    <a:pt x="187" y="195"/>
                  </a:lnTo>
                  <a:lnTo>
                    <a:pt x="185" y="197"/>
                  </a:lnTo>
                  <a:lnTo>
                    <a:pt x="185" y="197"/>
                  </a:lnTo>
                  <a:lnTo>
                    <a:pt x="185" y="202"/>
                  </a:lnTo>
                  <a:lnTo>
                    <a:pt x="185" y="204"/>
                  </a:lnTo>
                  <a:lnTo>
                    <a:pt x="182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0" y="210"/>
                  </a:lnTo>
                  <a:lnTo>
                    <a:pt x="178" y="214"/>
                  </a:lnTo>
                  <a:lnTo>
                    <a:pt x="178" y="216"/>
                  </a:lnTo>
                  <a:lnTo>
                    <a:pt x="174" y="216"/>
                  </a:lnTo>
                  <a:lnTo>
                    <a:pt x="168" y="218"/>
                  </a:lnTo>
                  <a:lnTo>
                    <a:pt x="166" y="218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1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2" y="231"/>
                  </a:lnTo>
                  <a:lnTo>
                    <a:pt x="159" y="231"/>
                  </a:lnTo>
                  <a:lnTo>
                    <a:pt x="159" y="233"/>
                  </a:lnTo>
                  <a:lnTo>
                    <a:pt x="155" y="233"/>
                  </a:lnTo>
                  <a:lnTo>
                    <a:pt x="155" y="233"/>
                  </a:lnTo>
                  <a:lnTo>
                    <a:pt x="155" y="235"/>
                  </a:lnTo>
                  <a:lnTo>
                    <a:pt x="157" y="237"/>
                  </a:lnTo>
                  <a:lnTo>
                    <a:pt x="157" y="237"/>
                  </a:lnTo>
                  <a:lnTo>
                    <a:pt x="162" y="237"/>
                  </a:lnTo>
                  <a:lnTo>
                    <a:pt x="168" y="237"/>
                  </a:lnTo>
                  <a:lnTo>
                    <a:pt x="172" y="237"/>
                  </a:lnTo>
                  <a:lnTo>
                    <a:pt x="176" y="239"/>
                  </a:lnTo>
                  <a:lnTo>
                    <a:pt x="176" y="239"/>
                  </a:lnTo>
                  <a:lnTo>
                    <a:pt x="178" y="242"/>
                  </a:lnTo>
                  <a:lnTo>
                    <a:pt x="178" y="242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5" y="242"/>
                  </a:lnTo>
                  <a:lnTo>
                    <a:pt x="189" y="242"/>
                  </a:lnTo>
                  <a:lnTo>
                    <a:pt x="189" y="242"/>
                  </a:lnTo>
                  <a:lnTo>
                    <a:pt x="191" y="239"/>
                  </a:lnTo>
                  <a:lnTo>
                    <a:pt x="193" y="237"/>
                  </a:lnTo>
                  <a:lnTo>
                    <a:pt x="193" y="237"/>
                  </a:lnTo>
                  <a:lnTo>
                    <a:pt x="189" y="233"/>
                  </a:lnTo>
                  <a:lnTo>
                    <a:pt x="187" y="233"/>
                  </a:lnTo>
                  <a:lnTo>
                    <a:pt x="187" y="231"/>
                  </a:lnTo>
                  <a:lnTo>
                    <a:pt x="191" y="233"/>
                  </a:lnTo>
                  <a:lnTo>
                    <a:pt x="193" y="233"/>
                  </a:lnTo>
                  <a:lnTo>
                    <a:pt x="195" y="233"/>
                  </a:lnTo>
                  <a:lnTo>
                    <a:pt x="197" y="233"/>
                  </a:lnTo>
                  <a:lnTo>
                    <a:pt x="197" y="235"/>
                  </a:lnTo>
                  <a:lnTo>
                    <a:pt x="199" y="235"/>
                  </a:lnTo>
                  <a:lnTo>
                    <a:pt x="197" y="237"/>
                  </a:lnTo>
                  <a:lnTo>
                    <a:pt x="197" y="237"/>
                  </a:lnTo>
                  <a:lnTo>
                    <a:pt x="197" y="237"/>
                  </a:lnTo>
                  <a:lnTo>
                    <a:pt x="197" y="239"/>
                  </a:lnTo>
                  <a:lnTo>
                    <a:pt x="197" y="239"/>
                  </a:lnTo>
                  <a:lnTo>
                    <a:pt x="199" y="239"/>
                  </a:lnTo>
                  <a:lnTo>
                    <a:pt x="201" y="242"/>
                  </a:lnTo>
                  <a:lnTo>
                    <a:pt x="201" y="242"/>
                  </a:lnTo>
                  <a:lnTo>
                    <a:pt x="203" y="244"/>
                  </a:lnTo>
                  <a:lnTo>
                    <a:pt x="203" y="244"/>
                  </a:lnTo>
                  <a:lnTo>
                    <a:pt x="206" y="242"/>
                  </a:lnTo>
                  <a:lnTo>
                    <a:pt x="203" y="242"/>
                  </a:lnTo>
                  <a:lnTo>
                    <a:pt x="206" y="239"/>
                  </a:lnTo>
                  <a:lnTo>
                    <a:pt x="206" y="239"/>
                  </a:lnTo>
                  <a:lnTo>
                    <a:pt x="206" y="239"/>
                  </a:lnTo>
                  <a:lnTo>
                    <a:pt x="208" y="239"/>
                  </a:lnTo>
                  <a:lnTo>
                    <a:pt x="208" y="239"/>
                  </a:lnTo>
                  <a:lnTo>
                    <a:pt x="210" y="239"/>
                  </a:lnTo>
                  <a:lnTo>
                    <a:pt x="210" y="239"/>
                  </a:lnTo>
                  <a:lnTo>
                    <a:pt x="212" y="239"/>
                  </a:lnTo>
                  <a:lnTo>
                    <a:pt x="214" y="242"/>
                  </a:lnTo>
                  <a:lnTo>
                    <a:pt x="216" y="242"/>
                  </a:lnTo>
                  <a:lnTo>
                    <a:pt x="218" y="244"/>
                  </a:lnTo>
                  <a:lnTo>
                    <a:pt x="220" y="244"/>
                  </a:lnTo>
                  <a:lnTo>
                    <a:pt x="222" y="246"/>
                  </a:lnTo>
                  <a:lnTo>
                    <a:pt x="222" y="244"/>
                  </a:lnTo>
                  <a:lnTo>
                    <a:pt x="224" y="244"/>
                  </a:lnTo>
                  <a:lnTo>
                    <a:pt x="226" y="244"/>
                  </a:lnTo>
                  <a:lnTo>
                    <a:pt x="229" y="244"/>
                  </a:lnTo>
                  <a:lnTo>
                    <a:pt x="226" y="246"/>
                  </a:lnTo>
                  <a:lnTo>
                    <a:pt x="226" y="248"/>
                  </a:lnTo>
                  <a:lnTo>
                    <a:pt x="229" y="250"/>
                  </a:lnTo>
                  <a:lnTo>
                    <a:pt x="231" y="250"/>
                  </a:lnTo>
                  <a:lnTo>
                    <a:pt x="233" y="248"/>
                  </a:lnTo>
                  <a:lnTo>
                    <a:pt x="235" y="248"/>
                  </a:lnTo>
                  <a:lnTo>
                    <a:pt x="235" y="246"/>
                  </a:lnTo>
                  <a:lnTo>
                    <a:pt x="235" y="242"/>
                  </a:lnTo>
                  <a:lnTo>
                    <a:pt x="237" y="244"/>
                  </a:lnTo>
                  <a:lnTo>
                    <a:pt x="237" y="248"/>
                  </a:lnTo>
                  <a:lnTo>
                    <a:pt x="235" y="250"/>
                  </a:lnTo>
                  <a:lnTo>
                    <a:pt x="237" y="252"/>
                  </a:lnTo>
                  <a:lnTo>
                    <a:pt x="237" y="252"/>
                  </a:lnTo>
                  <a:lnTo>
                    <a:pt x="241" y="248"/>
                  </a:lnTo>
                  <a:lnTo>
                    <a:pt x="243" y="248"/>
                  </a:lnTo>
                  <a:lnTo>
                    <a:pt x="243" y="248"/>
                  </a:lnTo>
                  <a:lnTo>
                    <a:pt x="243" y="248"/>
                  </a:lnTo>
                  <a:lnTo>
                    <a:pt x="243" y="250"/>
                  </a:lnTo>
                  <a:lnTo>
                    <a:pt x="245" y="248"/>
                  </a:lnTo>
                  <a:lnTo>
                    <a:pt x="252" y="246"/>
                  </a:lnTo>
                  <a:lnTo>
                    <a:pt x="254" y="246"/>
                  </a:lnTo>
                  <a:lnTo>
                    <a:pt x="252" y="248"/>
                  </a:lnTo>
                  <a:lnTo>
                    <a:pt x="250" y="250"/>
                  </a:lnTo>
                  <a:lnTo>
                    <a:pt x="250" y="250"/>
                  </a:lnTo>
                  <a:lnTo>
                    <a:pt x="247" y="250"/>
                  </a:lnTo>
                  <a:lnTo>
                    <a:pt x="247" y="250"/>
                  </a:lnTo>
                  <a:lnTo>
                    <a:pt x="245" y="250"/>
                  </a:lnTo>
                  <a:lnTo>
                    <a:pt x="245" y="252"/>
                  </a:lnTo>
                  <a:lnTo>
                    <a:pt x="245" y="252"/>
                  </a:lnTo>
                  <a:lnTo>
                    <a:pt x="243" y="256"/>
                  </a:lnTo>
                  <a:lnTo>
                    <a:pt x="243" y="256"/>
                  </a:lnTo>
                  <a:lnTo>
                    <a:pt x="245" y="258"/>
                  </a:lnTo>
                  <a:lnTo>
                    <a:pt x="245" y="258"/>
                  </a:lnTo>
                  <a:lnTo>
                    <a:pt x="245" y="258"/>
                  </a:lnTo>
                  <a:lnTo>
                    <a:pt x="245" y="258"/>
                  </a:lnTo>
                  <a:lnTo>
                    <a:pt x="245" y="261"/>
                  </a:lnTo>
                  <a:lnTo>
                    <a:pt x="245" y="261"/>
                  </a:lnTo>
                  <a:lnTo>
                    <a:pt x="245" y="263"/>
                  </a:lnTo>
                  <a:lnTo>
                    <a:pt x="247" y="263"/>
                  </a:lnTo>
                  <a:lnTo>
                    <a:pt x="247" y="263"/>
                  </a:lnTo>
                  <a:lnTo>
                    <a:pt x="252" y="261"/>
                  </a:lnTo>
                  <a:lnTo>
                    <a:pt x="256" y="258"/>
                  </a:lnTo>
                  <a:lnTo>
                    <a:pt x="258" y="258"/>
                  </a:lnTo>
                  <a:lnTo>
                    <a:pt x="256" y="261"/>
                  </a:lnTo>
                  <a:lnTo>
                    <a:pt x="256" y="261"/>
                  </a:lnTo>
                  <a:lnTo>
                    <a:pt x="256" y="261"/>
                  </a:lnTo>
                  <a:lnTo>
                    <a:pt x="256" y="261"/>
                  </a:lnTo>
                  <a:lnTo>
                    <a:pt x="256" y="263"/>
                  </a:lnTo>
                  <a:lnTo>
                    <a:pt x="256" y="263"/>
                  </a:lnTo>
                  <a:lnTo>
                    <a:pt x="256" y="265"/>
                  </a:lnTo>
                  <a:lnTo>
                    <a:pt x="254" y="265"/>
                  </a:lnTo>
                  <a:lnTo>
                    <a:pt x="252" y="267"/>
                  </a:lnTo>
                  <a:lnTo>
                    <a:pt x="252" y="269"/>
                  </a:lnTo>
                  <a:lnTo>
                    <a:pt x="250" y="271"/>
                  </a:lnTo>
                  <a:lnTo>
                    <a:pt x="247" y="271"/>
                  </a:lnTo>
                  <a:lnTo>
                    <a:pt x="250" y="273"/>
                  </a:lnTo>
                  <a:lnTo>
                    <a:pt x="250" y="275"/>
                  </a:lnTo>
                  <a:lnTo>
                    <a:pt x="250" y="275"/>
                  </a:lnTo>
                  <a:lnTo>
                    <a:pt x="250" y="279"/>
                  </a:lnTo>
                  <a:lnTo>
                    <a:pt x="250" y="279"/>
                  </a:lnTo>
                  <a:lnTo>
                    <a:pt x="250" y="282"/>
                  </a:lnTo>
                  <a:lnTo>
                    <a:pt x="252" y="282"/>
                  </a:lnTo>
                  <a:lnTo>
                    <a:pt x="252" y="282"/>
                  </a:lnTo>
                  <a:lnTo>
                    <a:pt x="252" y="282"/>
                  </a:lnTo>
                  <a:lnTo>
                    <a:pt x="252" y="282"/>
                  </a:lnTo>
                  <a:lnTo>
                    <a:pt x="252" y="284"/>
                  </a:lnTo>
                  <a:lnTo>
                    <a:pt x="252" y="284"/>
                  </a:lnTo>
                  <a:lnTo>
                    <a:pt x="252" y="286"/>
                  </a:lnTo>
                  <a:lnTo>
                    <a:pt x="252" y="286"/>
                  </a:lnTo>
                  <a:lnTo>
                    <a:pt x="254" y="288"/>
                  </a:lnTo>
                  <a:lnTo>
                    <a:pt x="256" y="288"/>
                  </a:lnTo>
                  <a:lnTo>
                    <a:pt x="258" y="292"/>
                  </a:lnTo>
                  <a:lnTo>
                    <a:pt x="260" y="290"/>
                  </a:lnTo>
                  <a:lnTo>
                    <a:pt x="264" y="290"/>
                  </a:lnTo>
                  <a:lnTo>
                    <a:pt x="266" y="290"/>
                  </a:lnTo>
                  <a:lnTo>
                    <a:pt x="264" y="290"/>
                  </a:lnTo>
                  <a:lnTo>
                    <a:pt x="264" y="290"/>
                  </a:lnTo>
                  <a:lnTo>
                    <a:pt x="262" y="292"/>
                  </a:lnTo>
                  <a:lnTo>
                    <a:pt x="262" y="292"/>
                  </a:lnTo>
                  <a:lnTo>
                    <a:pt x="260" y="294"/>
                  </a:lnTo>
                  <a:lnTo>
                    <a:pt x="258" y="294"/>
                  </a:lnTo>
                  <a:lnTo>
                    <a:pt x="260" y="298"/>
                  </a:lnTo>
                  <a:lnTo>
                    <a:pt x="262" y="298"/>
                  </a:lnTo>
                  <a:lnTo>
                    <a:pt x="275" y="305"/>
                  </a:lnTo>
                  <a:lnTo>
                    <a:pt x="277" y="307"/>
                  </a:lnTo>
                  <a:lnTo>
                    <a:pt x="279" y="309"/>
                  </a:lnTo>
                  <a:lnTo>
                    <a:pt x="279" y="311"/>
                  </a:lnTo>
                  <a:lnTo>
                    <a:pt x="281" y="313"/>
                  </a:lnTo>
                  <a:lnTo>
                    <a:pt x="283" y="315"/>
                  </a:lnTo>
                  <a:lnTo>
                    <a:pt x="287" y="315"/>
                  </a:lnTo>
                  <a:lnTo>
                    <a:pt x="291" y="313"/>
                  </a:lnTo>
                  <a:lnTo>
                    <a:pt x="298" y="311"/>
                  </a:lnTo>
                  <a:lnTo>
                    <a:pt x="304" y="309"/>
                  </a:lnTo>
                  <a:lnTo>
                    <a:pt x="306" y="307"/>
                  </a:lnTo>
                  <a:lnTo>
                    <a:pt x="308" y="307"/>
                  </a:lnTo>
                  <a:lnTo>
                    <a:pt x="310" y="307"/>
                  </a:lnTo>
                  <a:lnTo>
                    <a:pt x="312" y="309"/>
                  </a:lnTo>
                  <a:lnTo>
                    <a:pt x="312" y="309"/>
                  </a:lnTo>
                  <a:lnTo>
                    <a:pt x="312" y="311"/>
                  </a:lnTo>
                  <a:lnTo>
                    <a:pt x="314" y="313"/>
                  </a:lnTo>
                  <a:lnTo>
                    <a:pt x="314" y="315"/>
                  </a:lnTo>
                  <a:lnTo>
                    <a:pt x="317" y="317"/>
                  </a:lnTo>
                  <a:lnTo>
                    <a:pt x="319" y="317"/>
                  </a:lnTo>
                  <a:lnTo>
                    <a:pt x="319" y="317"/>
                  </a:lnTo>
                  <a:lnTo>
                    <a:pt x="319" y="317"/>
                  </a:lnTo>
                  <a:lnTo>
                    <a:pt x="319" y="319"/>
                  </a:lnTo>
                  <a:lnTo>
                    <a:pt x="321" y="317"/>
                  </a:lnTo>
                  <a:lnTo>
                    <a:pt x="327" y="313"/>
                  </a:lnTo>
                  <a:lnTo>
                    <a:pt x="329" y="313"/>
                  </a:lnTo>
                  <a:lnTo>
                    <a:pt x="331" y="313"/>
                  </a:lnTo>
                  <a:lnTo>
                    <a:pt x="333" y="313"/>
                  </a:lnTo>
                  <a:lnTo>
                    <a:pt x="340" y="315"/>
                  </a:lnTo>
                  <a:lnTo>
                    <a:pt x="344" y="315"/>
                  </a:lnTo>
                  <a:lnTo>
                    <a:pt x="348" y="315"/>
                  </a:lnTo>
                  <a:lnTo>
                    <a:pt x="350" y="313"/>
                  </a:lnTo>
                  <a:lnTo>
                    <a:pt x="354" y="313"/>
                  </a:lnTo>
                  <a:lnTo>
                    <a:pt x="361" y="313"/>
                  </a:lnTo>
                  <a:lnTo>
                    <a:pt x="363" y="311"/>
                  </a:lnTo>
                  <a:lnTo>
                    <a:pt x="365" y="309"/>
                  </a:lnTo>
                  <a:lnTo>
                    <a:pt x="367" y="309"/>
                  </a:lnTo>
                  <a:lnTo>
                    <a:pt x="371" y="311"/>
                  </a:lnTo>
                  <a:lnTo>
                    <a:pt x="375" y="309"/>
                  </a:lnTo>
                  <a:lnTo>
                    <a:pt x="377" y="309"/>
                  </a:lnTo>
                  <a:lnTo>
                    <a:pt x="377" y="309"/>
                  </a:lnTo>
                  <a:lnTo>
                    <a:pt x="379" y="311"/>
                  </a:lnTo>
                  <a:lnTo>
                    <a:pt x="381" y="311"/>
                  </a:lnTo>
                  <a:lnTo>
                    <a:pt x="386" y="311"/>
                  </a:lnTo>
                  <a:lnTo>
                    <a:pt x="388" y="311"/>
                  </a:lnTo>
                  <a:lnTo>
                    <a:pt x="392" y="311"/>
                  </a:lnTo>
                  <a:lnTo>
                    <a:pt x="394" y="311"/>
                  </a:lnTo>
                  <a:lnTo>
                    <a:pt x="396" y="311"/>
                  </a:lnTo>
                  <a:lnTo>
                    <a:pt x="398" y="311"/>
                  </a:lnTo>
                  <a:lnTo>
                    <a:pt x="396" y="309"/>
                  </a:lnTo>
                  <a:lnTo>
                    <a:pt x="396" y="309"/>
                  </a:lnTo>
                  <a:lnTo>
                    <a:pt x="398" y="309"/>
                  </a:lnTo>
                  <a:lnTo>
                    <a:pt x="398" y="311"/>
                  </a:lnTo>
                  <a:lnTo>
                    <a:pt x="400" y="313"/>
                  </a:lnTo>
                  <a:lnTo>
                    <a:pt x="402" y="311"/>
                  </a:lnTo>
                  <a:lnTo>
                    <a:pt x="402" y="311"/>
                  </a:lnTo>
                  <a:lnTo>
                    <a:pt x="405" y="307"/>
                  </a:lnTo>
                  <a:lnTo>
                    <a:pt x="405" y="309"/>
                  </a:lnTo>
                  <a:lnTo>
                    <a:pt x="405" y="311"/>
                  </a:lnTo>
                  <a:lnTo>
                    <a:pt x="407" y="311"/>
                  </a:lnTo>
                  <a:lnTo>
                    <a:pt x="409" y="311"/>
                  </a:lnTo>
                  <a:lnTo>
                    <a:pt x="409" y="311"/>
                  </a:lnTo>
                  <a:lnTo>
                    <a:pt x="409" y="311"/>
                  </a:lnTo>
                  <a:lnTo>
                    <a:pt x="411" y="311"/>
                  </a:lnTo>
                  <a:lnTo>
                    <a:pt x="411" y="311"/>
                  </a:lnTo>
                  <a:lnTo>
                    <a:pt x="411" y="311"/>
                  </a:lnTo>
                  <a:lnTo>
                    <a:pt x="411" y="309"/>
                  </a:lnTo>
                  <a:lnTo>
                    <a:pt x="413" y="309"/>
                  </a:lnTo>
                  <a:lnTo>
                    <a:pt x="415" y="309"/>
                  </a:lnTo>
                  <a:lnTo>
                    <a:pt x="415" y="307"/>
                  </a:lnTo>
                  <a:lnTo>
                    <a:pt x="415" y="307"/>
                  </a:lnTo>
                  <a:lnTo>
                    <a:pt x="417" y="305"/>
                  </a:lnTo>
                  <a:lnTo>
                    <a:pt x="421" y="305"/>
                  </a:lnTo>
                  <a:lnTo>
                    <a:pt x="421" y="305"/>
                  </a:lnTo>
                  <a:lnTo>
                    <a:pt x="423" y="303"/>
                  </a:lnTo>
                  <a:lnTo>
                    <a:pt x="425" y="303"/>
                  </a:lnTo>
                  <a:lnTo>
                    <a:pt x="428" y="303"/>
                  </a:lnTo>
                  <a:lnTo>
                    <a:pt x="428" y="303"/>
                  </a:lnTo>
                  <a:lnTo>
                    <a:pt x="428" y="303"/>
                  </a:lnTo>
                  <a:lnTo>
                    <a:pt x="430" y="300"/>
                  </a:lnTo>
                  <a:lnTo>
                    <a:pt x="430" y="300"/>
                  </a:lnTo>
                  <a:lnTo>
                    <a:pt x="432" y="300"/>
                  </a:lnTo>
                  <a:lnTo>
                    <a:pt x="432" y="300"/>
                  </a:lnTo>
                  <a:lnTo>
                    <a:pt x="432" y="300"/>
                  </a:lnTo>
                  <a:lnTo>
                    <a:pt x="434" y="300"/>
                  </a:lnTo>
                  <a:lnTo>
                    <a:pt x="436" y="298"/>
                  </a:lnTo>
                  <a:lnTo>
                    <a:pt x="438" y="300"/>
                  </a:lnTo>
                  <a:lnTo>
                    <a:pt x="438" y="300"/>
                  </a:lnTo>
                  <a:lnTo>
                    <a:pt x="438" y="300"/>
                  </a:lnTo>
                  <a:lnTo>
                    <a:pt x="436" y="303"/>
                  </a:lnTo>
                  <a:lnTo>
                    <a:pt x="436" y="303"/>
                  </a:lnTo>
                  <a:lnTo>
                    <a:pt x="436" y="305"/>
                  </a:lnTo>
                  <a:lnTo>
                    <a:pt x="434" y="305"/>
                  </a:lnTo>
                  <a:lnTo>
                    <a:pt x="434" y="305"/>
                  </a:lnTo>
                  <a:lnTo>
                    <a:pt x="434" y="307"/>
                  </a:lnTo>
                  <a:lnTo>
                    <a:pt x="436" y="307"/>
                  </a:lnTo>
                  <a:lnTo>
                    <a:pt x="436" y="305"/>
                  </a:lnTo>
                  <a:lnTo>
                    <a:pt x="438" y="305"/>
                  </a:lnTo>
                  <a:lnTo>
                    <a:pt x="438" y="305"/>
                  </a:lnTo>
                  <a:lnTo>
                    <a:pt x="436" y="307"/>
                  </a:lnTo>
                  <a:lnTo>
                    <a:pt x="436" y="307"/>
                  </a:lnTo>
                  <a:lnTo>
                    <a:pt x="434" y="309"/>
                  </a:lnTo>
                  <a:lnTo>
                    <a:pt x="432" y="307"/>
                  </a:lnTo>
                  <a:lnTo>
                    <a:pt x="432" y="309"/>
                  </a:lnTo>
                  <a:lnTo>
                    <a:pt x="430" y="311"/>
                  </a:lnTo>
                  <a:lnTo>
                    <a:pt x="430" y="311"/>
                  </a:lnTo>
                  <a:lnTo>
                    <a:pt x="425" y="311"/>
                  </a:lnTo>
                  <a:lnTo>
                    <a:pt x="423" y="313"/>
                  </a:lnTo>
                  <a:lnTo>
                    <a:pt x="423" y="313"/>
                  </a:lnTo>
                  <a:lnTo>
                    <a:pt x="423" y="315"/>
                  </a:lnTo>
                  <a:lnTo>
                    <a:pt x="425" y="315"/>
                  </a:lnTo>
                  <a:lnTo>
                    <a:pt x="428" y="317"/>
                  </a:lnTo>
                  <a:lnTo>
                    <a:pt x="428" y="317"/>
                  </a:lnTo>
                  <a:lnTo>
                    <a:pt x="430" y="317"/>
                  </a:lnTo>
                  <a:lnTo>
                    <a:pt x="432" y="315"/>
                  </a:lnTo>
                  <a:lnTo>
                    <a:pt x="434" y="313"/>
                  </a:lnTo>
                  <a:lnTo>
                    <a:pt x="434" y="313"/>
                  </a:lnTo>
                  <a:lnTo>
                    <a:pt x="436" y="315"/>
                  </a:lnTo>
                  <a:lnTo>
                    <a:pt x="438" y="313"/>
                  </a:lnTo>
                  <a:lnTo>
                    <a:pt x="438" y="309"/>
                  </a:lnTo>
                  <a:lnTo>
                    <a:pt x="440" y="311"/>
                  </a:lnTo>
                  <a:lnTo>
                    <a:pt x="440" y="313"/>
                  </a:lnTo>
                  <a:lnTo>
                    <a:pt x="440" y="315"/>
                  </a:lnTo>
                  <a:lnTo>
                    <a:pt x="438" y="317"/>
                  </a:lnTo>
                  <a:lnTo>
                    <a:pt x="438" y="319"/>
                  </a:lnTo>
                  <a:lnTo>
                    <a:pt x="436" y="319"/>
                  </a:lnTo>
                  <a:lnTo>
                    <a:pt x="432" y="321"/>
                  </a:lnTo>
                  <a:lnTo>
                    <a:pt x="432" y="321"/>
                  </a:lnTo>
                  <a:lnTo>
                    <a:pt x="434" y="321"/>
                  </a:lnTo>
                  <a:lnTo>
                    <a:pt x="438" y="319"/>
                  </a:lnTo>
                  <a:lnTo>
                    <a:pt x="440" y="319"/>
                  </a:lnTo>
                  <a:lnTo>
                    <a:pt x="438" y="321"/>
                  </a:lnTo>
                  <a:lnTo>
                    <a:pt x="434" y="324"/>
                  </a:lnTo>
                  <a:lnTo>
                    <a:pt x="434" y="326"/>
                  </a:lnTo>
                  <a:lnTo>
                    <a:pt x="436" y="326"/>
                  </a:lnTo>
                  <a:lnTo>
                    <a:pt x="438" y="326"/>
                  </a:lnTo>
                  <a:lnTo>
                    <a:pt x="444" y="326"/>
                  </a:lnTo>
                  <a:lnTo>
                    <a:pt x="442" y="328"/>
                  </a:lnTo>
                  <a:lnTo>
                    <a:pt x="438" y="328"/>
                  </a:lnTo>
                  <a:lnTo>
                    <a:pt x="432" y="328"/>
                  </a:lnTo>
                  <a:lnTo>
                    <a:pt x="430" y="328"/>
                  </a:lnTo>
                  <a:lnTo>
                    <a:pt x="432" y="330"/>
                  </a:lnTo>
                  <a:lnTo>
                    <a:pt x="434" y="332"/>
                  </a:lnTo>
                  <a:lnTo>
                    <a:pt x="434" y="334"/>
                  </a:lnTo>
                  <a:lnTo>
                    <a:pt x="434" y="334"/>
                  </a:lnTo>
                  <a:lnTo>
                    <a:pt x="434" y="334"/>
                  </a:lnTo>
                  <a:lnTo>
                    <a:pt x="430" y="332"/>
                  </a:lnTo>
                  <a:lnTo>
                    <a:pt x="430" y="330"/>
                  </a:lnTo>
                  <a:lnTo>
                    <a:pt x="430" y="330"/>
                  </a:lnTo>
                  <a:lnTo>
                    <a:pt x="428" y="330"/>
                  </a:lnTo>
                  <a:lnTo>
                    <a:pt x="423" y="330"/>
                  </a:lnTo>
                  <a:lnTo>
                    <a:pt x="421" y="330"/>
                  </a:lnTo>
                  <a:lnTo>
                    <a:pt x="419" y="330"/>
                  </a:lnTo>
                  <a:lnTo>
                    <a:pt x="419" y="332"/>
                  </a:lnTo>
                  <a:lnTo>
                    <a:pt x="419" y="334"/>
                  </a:lnTo>
                  <a:lnTo>
                    <a:pt x="421" y="334"/>
                  </a:lnTo>
                  <a:lnTo>
                    <a:pt x="425" y="334"/>
                  </a:lnTo>
                  <a:lnTo>
                    <a:pt x="425" y="334"/>
                  </a:lnTo>
                  <a:lnTo>
                    <a:pt x="425" y="336"/>
                  </a:lnTo>
                  <a:lnTo>
                    <a:pt x="425" y="336"/>
                  </a:lnTo>
                  <a:lnTo>
                    <a:pt x="425" y="336"/>
                  </a:lnTo>
                  <a:lnTo>
                    <a:pt x="425" y="338"/>
                  </a:lnTo>
                  <a:lnTo>
                    <a:pt x="425" y="338"/>
                  </a:lnTo>
                  <a:lnTo>
                    <a:pt x="425" y="340"/>
                  </a:lnTo>
                  <a:lnTo>
                    <a:pt x="428" y="340"/>
                  </a:lnTo>
                  <a:lnTo>
                    <a:pt x="428" y="340"/>
                  </a:lnTo>
                  <a:lnTo>
                    <a:pt x="425" y="347"/>
                  </a:lnTo>
                  <a:lnTo>
                    <a:pt x="425" y="349"/>
                  </a:lnTo>
                  <a:lnTo>
                    <a:pt x="425" y="351"/>
                  </a:lnTo>
                  <a:lnTo>
                    <a:pt x="425" y="351"/>
                  </a:lnTo>
                  <a:lnTo>
                    <a:pt x="423" y="351"/>
                  </a:lnTo>
                  <a:lnTo>
                    <a:pt x="423" y="347"/>
                  </a:lnTo>
                  <a:lnTo>
                    <a:pt x="421" y="342"/>
                  </a:lnTo>
                  <a:lnTo>
                    <a:pt x="419" y="338"/>
                  </a:lnTo>
                  <a:lnTo>
                    <a:pt x="419" y="338"/>
                  </a:lnTo>
                  <a:lnTo>
                    <a:pt x="417" y="338"/>
                  </a:lnTo>
                  <a:lnTo>
                    <a:pt x="415" y="338"/>
                  </a:lnTo>
                  <a:lnTo>
                    <a:pt x="415" y="345"/>
                  </a:lnTo>
                  <a:lnTo>
                    <a:pt x="415" y="347"/>
                  </a:lnTo>
                  <a:lnTo>
                    <a:pt x="415" y="349"/>
                  </a:lnTo>
                  <a:lnTo>
                    <a:pt x="415" y="351"/>
                  </a:lnTo>
                  <a:lnTo>
                    <a:pt x="415" y="353"/>
                  </a:lnTo>
                  <a:lnTo>
                    <a:pt x="415" y="355"/>
                  </a:lnTo>
                  <a:lnTo>
                    <a:pt x="415" y="355"/>
                  </a:lnTo>
                  <a:lnTo>
                    <a:pt x="413" y="357"/>
                  </a:lnTo>
                  <a:lnTo>
                    <a:pt x="413" y="353"/>
                  </a:lnTo>
                  <a:lnTo>
                    <a:pt x="413" y="351"/>
                  </a:lnTo>
                  <a:lnTo>
                    <a:pt x="413" y="351"/>
                  </a:lnTo>
                  <a:lnTo>
                    <a:pt x="413" y="345"/>
                  </a:lnTo>
                  <a:lnTo>
                    <a:pt x="413" y="345"/>
                  </a:lnTo>
                  <a:lnTo>
                    <a:pt x="413" y="342"/>
                  </a:lnTo>
                  <a:lnTo>
                    <a:pt x="409" y="340"/>
                  </a:lnTo>
                  <a:lnTo>
                    <a:pt x="409" y="340"/>
                  </a:lnTo>
                  <a:lnTo>
                    <a:pt x="409" y="340"/>
                  </a:lnTo>
                  <a:lnTo>
                    <a:pt x="409" y="340"/>
                  </a:lnTo>
                  <a:lnTo>
                    <a:pt x="407" y="340"/>
                  </a:lnTo>
                  <a:lnTo>
                    <a:pt x="407" y="340"/>
                  </a:lnTo>
                  <a:lnTo>
                    <a:pt x="405" y="340"/>
                  </a:lnTo>
                  <a:lnTo>
                    <a:pt x="405" y="342"/>
                  </a:lnTo>
                  <a:lnTo>
                    <a:pt x="402" y="342"/>
                  </a:lnTo>
                  <a:lnTo>
                    <a:pt x="402" y="342"/>
                  </a:lnTo>
                  <a:lnTo>
                    <a:pt x="400" y="342"/>
                  </a:lnTo>
                  <a:lnTo>
                    <a:pt x="400" y="342"/>
                  </a:lnTo>
                  <a:lnTo>
                    <a:pt x="400" y="342"/>
                  </a:lnTo>
                  <a:lnTo>
                    <a:pt x="400" y="345"/>
                  </a:lnTo>
                  <a:lnTo>
                    <a:pt x="400" y="345"/>
                  </a:lnTo>
                  <a:lnTo>
                    <a:pt x="398" y="345"/>
                  </a:lnTo>
                  <a:lnTo>
                    <a:pt x="398" y="342"/>
                  </a:lnTo>
                  <a:lnTo>
                    <a:pt x="396" y="340"/>
                  </a:lnTo>
                  <a:lnTo>
                    <a:pt x="396" y="340"/>
                  </a:lnTo>
                  <a:lnTo>
                    <a:pt x="396" y="338"/>
                  </a:lnTo>
                  <a:lnTo>
                    <a:pt x="394" y="338"/>
                  </a:lnTo>
                  <a:lnTo>
                    <a:pt x="394" y="338"/>
                  </a:lnTo>
                  <a:lnTo>
                    <a:pt x="394" y="340"/>
                  </a:lnTo>
                  <a:lnTo>
                    <a:pt x="394" y="340"/>
                  </a:lnTo>
                  <a:lnTo>
                    <a:pt x="394" y="342"/>
                  </a:lnTo>
                  <a:lnTo>
                    <a:pt x="394" y="342"/>
                  </a:lnTo>
                  <a:lnTo>
                    <a:pt x="394" y="347"/>
                  </a:lnTo>
                  <a:lnTo>
                    <a:pt x="392" y="349"/>
                  </a:lnTo>
                  <a:lnTo>
                    <a:pt x="392" y="351"/>
                  </a:lnTo>
                  <a:lnTo>
                    <a:pt x="392" y="347"/>
                  </a:lnTo>
                  <a:lnTo>
                    <a:pt x="392" y="345"/>
                  </a:lnTo>
                  <a:lnTo>
                    <a:pt x="392" y="340"/>
                  </a:lnTo>
                  <a:lnTo>
                    <a:pt x="392" y="336"/>
                  </a:lnTo>
                  <a:lnTo>
                    <a:pt x="392" y="336"/>
                  </a:lnTo>
                  <a:lnTo>
                    <a:pt x="392" y="336"/>
                  </a:lnTo>
                  <a:lnTo>
                    <a:pt x="390" y="336"/>
                  </a:lnTo>
                  <a:lnTo>
                    <a:pt x="388" y="342"/>
                  </a:lnTo>
                  <a:lnTo>
                    <a:pt x="388" y="345"/>
                  </a:lnTo>
                  <a:lnTo>
                    <a:pt x="388" y="347"/>
                  </a:lnTo>
                  <a:lnTo>
                    <a:pt x="388" y="351"/>
                  </a:lnTo>
                  <a:lnTo>
                    <a:pt x="388" y="353"/>
                  </a:lnTo>
                  <a:lnTo>
                    <a:pt x="386" y="353"/>
                  </a:lnTo>
                  <a:lnTo>
                    <a:pt x="386" y="351"/>
                  </a:lnTo>
                  <a:lnTo>
                    <a:pt x="386" y="342"/>
                  </a:lnTo>
                  <a:lnTo>
                    <a:pt x="386" y="340"/>
                  </a:lnTo>
                  <a:lnTo>
                    <a:pt x="386" y="338"/>
                  </a:lnTo>
                  <a:lnTo>
                    <a:pt x="386" y="338"/>
                  </a:lnTo>
                  <a:lnTo>
                    <a:pt x="384" y="336"/>
                  </a:lnTo>
                  <a:lnTo>
                    <a:pt x="381" y="336"/>
                  </a:lnTo>
                  <a:lnTo>
                    <a:pt x="381" y="336"/>
                  </a:lnTo>
                  <a:lnTo>
                    <a:pt x="379" y="336"/>
                  </a:lnTo>
                  <a:lnTo>
                    <a:pt x="379" y="336"/>
                  </a:lnTo>
                  <a:lnTo>
                    <a:pt x="379" y="332"/>
                  </a:lnTo>
                  <a:lnTo>
                    <a:pt x="379" y="332"/>
                  </a:lnTo>
                  <a:lnTo>
                    <a:pt x="373" y="328"/>
                  </a:lnTo>
                  <a:lnTo>
                    <a:pt x="371" y="328"/>
                  </a:lnTo>
                  <a:lnTo>
                    <a:pt x="369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7" y="330"/>
                  </a:lnTo>
                  <a:lnTo>
                    <a:pt x="365" y="330"/>
                  </a:lnTo>
                  <a:lnTo>
                    <a:pt x="365" y="330"/>
                  </a:lnTo>
                  <a:lnTo>
                    <a:pt x="365" y="330"/>
                  </a:lnTo>
                  <a:lnTo>
                    <a:pt x="363" y="330"/>
                  </a:lnTo>
                  <a:lnTo>
                    <a:pt x="363" y="330"/>
                  </a:lnTo>
                  <a:lnTo>
                    <a:pt x="363" y="330"/>
                  </a:lnTo>
                  <a:lnTo>
                    <a:pt x="361" y="332"/>
                  </a:lnTo>
                  <a:lnTo>
                    <a:pt x="352" y="334"/>
                  </a:lnTo>
                  <a:lnTo>
                    <a:pt x="350" y="336"/>
                  </a:lnTo>
                  <a:lnTo>
                    <a:pt x="350" y="338"/>
                  </a:lnTo>
                  <a:lnTo>
                    <a:pt x="344" y="345"/>
                  </a:lnTo>
                  <a:lnTo>
                    <a:pt x="342" y="349"/>
                  </a:lnTo>
                  <a:lnTo>
                    <a:pt x="340" y="351"/>
                  </a:lnTo>
                  <a:lnTo>
                    <a:pt x="335" y="357"/>
                  </a:lnTo>
                  <a:lnTo>
                    <a:pt x="333" y="359"/>
                  </a:lnTo>
                  <a:lnTo>
                    <a:pt x="327" y="363"/>
                  </a:lnTo>
                  <a:lnTo>
                    <a:pt x="327" y="363"/>
                  </a:lnTo>
                  <a:lnTo>
                    <a:pt x="325" y="363"/>
                  </a:lnTo>
                  <a:lnTo>
                    <a:pt x="325" y="366"/>
                  </a:lnTo>
                  <a:lnTo>
                    <a:pt x="323" y="366"/>
                  </a:lnTo>
                  <a:lnTo>
                    <a:pt x="323" y="366"/>
                  </a:lnTo>
                  <a:lnTo>
                    <a:pt x="319" y="366"/>
                  </a:lnTo>
                  <a:lnTo>
                    <a:pt x="312" y="359"/>
                  </a:lnTo>
                  <a:lnTo>
                    <a:pt x="310" y="357"/>
                  </a:lnTo>
                  <a:lnTo>
                    <a:pt x="308" y="357"/>
                  </a:lnTo>
                  <a:lnTo>
                    <a:pt x="306" y="357"/>
                  </a:lnTo>
                  <a:lnTo>
                    <a:pt x="304" y="357"/>
                  </a:lnTo>
                  <a:lnTo>
                    <a:pt x="304" y="355"/>
                  </a:lnTo>
                  <a:lnTo>
                    <a:pt x="302" y="355"/>
                  </a:lnTo>
                  <a:lnTo>
                    <a:pt x="300" y="355"/>
                  </a:lnTo>
                  <a:lnTo>
                    <a:pt x="300" y="355"/>
                  </a:lnTo>
                  <a:lnTo>
                    <a:pt x="300" y="357"/>
                  </a:lnTo>
                  <a:lnTo>
                    <a:pt x="300" y="359"/>
                  </a:lnTo>
                  <a:lnTo>
                    <a:pt x="298" y="359"/>
                  </a:lnTo>
                  <a:lnTo>
                    <a:pt x="296" y="359"/>
                  </a:lnTo>
                  <a:lnTo>
                    <a:pt x="293" y="359"/>
                  </a:lnTo>
                  <a:lnTo>
                    <a:pt x="296" y="359"/>
                  </a:lnTo>
                  <a:lnTo>
                    <a:pt x="296" y="357"/>
                  </a:lnTo>
                  <a:lnTo>
                    <a:pt x="296" y="357"/>
                  </a:lnTo>
                  <a:lnTo>
                    <a:pt x="296" y="355"/>
                  </a:lnTo>
                  <a:lnTo>
                    <a:pt x="293" y="355"/>
                  </a:lnTo>
                  <a:lnTo>
                    <a:pt x="293" y="355"/>
                  </a:lnTo>
                  <a:lnTo>
                    <a:pt x="293" y="355"/>
                  </a:lnTo>
                  <a:lnTo>
                    <a:pt x="291" y="355"/>
                  </a:lnTo>
                  <a:lnTo>
                    <a:pt x="289" y="355"/>
                  </a:lnTo>
                  <a:lnTo>
                    <a:pt x="285" y="353"/>
                  </a:lnTo>
                  <a:lnTo>
                    <a:pt x="285" y="353"/>
                  </a:lnTo>
                  <a:lnTo>
                    <a:pt x="275" y="353"/>
                  </a:lnTo>
                  <a:lnTo>
                    <a:pt x="273" y="353"/>
                  </a:lnTo>
                  <a:lnTo>
                    <a:pt x="273" y="353"/>
                  </a:lnTo>
                  <a:lnTo>
                    <a:pt x="270" y="353"/>
                  </a:lnTo>
                  <a:lnTo>
                    <a:pt x="266" y="355"/>
                  </a:lnTo>
                  <a:lnTo>
                    <a:pt x="266" y="355"/>
                  </a:lnTo>
                  <a:lnTo>
                    <a:pt x="264" y="357"/>
                  </a:lnTo>
                  <a:lnTo>
                    <a:pt x="270" y="357"/>
                  </a:lnTo>
                  <a:lnTo>
                    <a:pt x="273" y="357"/>
                  </a:lnTo>
                  <a:lnTo>
                    <a:pt x="268" y="359"/>
                  </a:lnTo>
                  <a:lnTo>
                    <a:pt x="266" y="359"/>
                  </a:lnTo>
                  <a:lnTo>
                    <a:pt x="262" y="359"/>
                  </a:lnTo>
                  <a:lnTo>
                    <a:pt x="262" y="359"/>
                  </a:lnTo>
                  <a:lnTo>
                    <a:pt x="262" y="359"/>
                  </a:lnTo>
                  <a:lnTo>
                    <a:pt x="262" y="361"/>
                  </a:lnTo>
                  <a:lnTo>
                    <a:pt x="262" y="361"/>
                  </a:lnTo>
                  <a:lnTo>
                    <a:pt x="260" y="359"/>
                  </a:lnTo>
                  <a:lnTo>
                    <a:pt x="260" y="361"/>
                  </a:lnTo>
                  <a:lnTo>
                    <a:pt x="258" y="361"/>
                  </a:lnTo>
                  <a:lnTo>
                    <a:pt x="258" y="361"/>
                  </a:lnTo>
                  <a:lnTo>
                    <a:pt x="256" y="361"/>
                  </a:lnTo>
                  <a:lnTo>
                    <a:pt x="252" y="363"/>
                  </a:lnTo>
                  <a:lnTo>
                    <a:pt x="252" y="363"/>
                  </a:lnTo>
                  <a:lnTo>
                    <a:pt x="252" y="363"/>
                  </a:lnTo>
                  <a:lnTo>
                    <a:pt x="256" y="363"/>
                  </a:lnTo>
                  <a:lnTo>
                    <a:pt x="258" y="363"/>
                  </a:lnTo>
                  <a:lnTo>
                    <a:pt x="258" y="366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6" y="368"/>
                  </a:lnTo>
                  <a:lnTo>
                    <a:pt x="254" y="368"/>
                  </a:lnTo>
                  <a:lnTo>
                    <a:pt x="254" y="370"/>
                  </a:lnTo>
                  <a:lnTo>
                    <a:pt x="256" y="370"/>
                  </a:lnTo>
                  <a:lnTo>
                    <a:pt x="258" y="370"/>
                  </a:lnTo>
                  <a:lnTo>
                    <a:pt x="256" y="372"/>
                  </a:lnTo>
                  <a:lnTo>
                    <a:pt x="256" y="372"/>
                  </a:lnTo>
                  <a:lnTo>
                    <a:pt x="256" y="374"/>
                  </a:lnTo>
                  <a:lnTo>
                    <a:pt x="254" y="374"/>
                  </a:lnTo>
                  <a:lnTo>
                    <a:pt x="254" y="374"/>
                  </a:lnTo>
                  <a:lnTo>
                    <a:pt x="252" y="376"/>
                  </a:lnTo>
                  <a:lnTo>
                    <a:pt x="252" y="376"/>
                  </a:lnTo>
                  <a:lnTo>
                    <a:pt x="254" y="376"/>
                  </a:lnTo>
                  <a:lnTo>
                    <a:pt x="254" y="376"/>
                  </a:lnTo>
                  <a:lnTo>
                    <a:pt x="258" y="376"/>
                  </a:lnTo>
                  <a:lnTo>
                    <a:pt x="260" y="376"/>
                  </a:lnTo>
                  <a:lnTo>
                    <a:pt x="262" y="378"/>
                  </a:lnTo>
                  <a:lnTo>
                    <a:pt x="262" y="380"/>
                  </a:lnTo>
                  <a:lnTo>
                    <a:pt x="264" y="380"/>
                  </a:lnTo>
                  <a:lnTo>
                    <a:pt x="264" y="380"/>
                  </a:lnTo>
                  <a:lnTo>
                    <a:pt x="264" y="378"/>
                  </a:lnTo>
                  <a:lnTo>
                    <a:pt x="266" y="378"/>
                  </a:lnTo>
                  <a:lnTo>
                    <a:pt x="266" y="378"/>
                  </a:lnTo>
                  <a:lnTo>
                    <a:pt x="266" y="378"/>
                  </a:lnTo>
                  <a:lnTo>
                    <a:pt x="268" y="378"/>
                  </a:lnTo>
                  <a:lnTo>
                    <a:pt x="268" y="378"/>
                  </a:lnTo>
                  <a:lnTo>
                    <a:pt x="270" y="378"/>
                  </a:lnTo>
                  <a:lnTo>
                    <a:pt x="273" y="378"/>
                  </a:lnTo>
                  <a:lnTo>
                    <a:pt x="273" y="376"/>
                  </a:lnTo>
                  <a:lnTo>
                    <a:pt x="273" y="376"/>
                  </a:lnTo>
                  <a:lnTo>
                    <a:pt x="275" y="376"/>
                  </a:lnTo>
                  <a:lnTo>
                    <a:pt x="275" y="378"/>
                  </a:lnTo>
                  <a:lnTo>
                    <a:pt x="277" y="378"/>
                  </a:lnTo>
                  <a:lnTo>
                    <a:pt x="279" y="378"/>
                  </a:lnTo>
                  <a:lnTo>
                    <a:pt x="281" y="378"/>
                  </a:lnTo>
                  <a:lnTo>
                    <a:pt x="285" y="378"/>
                  </a:lnTo>
                  <a:lnTo>
                    <a:pt x="287" y="380"/>
                  </a:lnTo>
                  <a:lnTo>
                    <a:pt x="287" y="382"/>
                  </a:lnTo>
                  <a:lnTo>
                    <a:pt x="289" y="382"/>
                  </a:lnTo>
                  <a:lnTo>
                    <a:pt x="300" y="389"/>
                  </a:lnTo>
                  <a:lnTo>
                    <a:pt x="300" y="389"/>
                  </a:lnTo>
                  <a:lnTo>
                    <a:pt x="300" y="389"/>
                  </a:lnTo>
                  <a:lnTo>
                    <a:pt x="302" y="391"/>
                  </a:lnTo>
                  <a:lnTo>
                    <a:pt x="302" y="391"/>
                  </a:lnTo>
                  <a:lnTo>
                    <a:pt x="304" y="391"/>
                  </a:lnTo>
                  <a:lnTo>
                    <a:pt x="306" y="393"/>
                  </a:lnTo>
                  <a:lnTo>
                    <a:pt x="306" y="393"/>
                  </a:lnTo>
                  <a:lnTo>
                    <a:pt x="306" y="393"/>
                  </a:lnTo>
                  <a:lnTo>
                    <a:pt x="308" y="395"/>
                  </a:lnTo>
                  <a:lnTo>
                    <a:pt x="308" y="395"/>
                  </a:lnTo>
                  <a:lnTo>
                    <a:pt x="308" y="397"/>
                  </a:lnTo>
                  <a:lnTo>
                    <a:pt x="308" y="397"/>
                  </a:lnTo>
                  <a:lnTo>
                    <a:pt x="310" y="399"/>
                  </a:lnTo>
                  <a:lnTo>
                    <a:pt x="310" y="399"/>
                  </a:lnTo>
                  <a:lnTo>
                    <a:pt x="310" y="401"/>
                  </a:lnTo>
                  <a:lnTo>
                    <a:pt x="312" y="401"/>
                  </a:lnTo>
                  <a:lnTo>
                    <a:pt x="314" y="401"/>
                  </a:lnTo>
                  <a:lnTo>
                    <a:pt x="314" y="403"/>
                  </a:lnTo>
                  <a:lnTo>
                    <a:pt x="312" y="405"/>
                  </a:lnTo>
                  <a:lnTo>
                    <a:pt x="312" y="405"/>
                  </a:lnTo>
                  <a:lnTo>
                    <a:pt x="312" y="405"/>
                  </a:lnTo>
                  <a:lnTo>
                    <a:pt x="314" y="408"/>
                  </a:lnTo>
                  <a:lnTo>
                    <a:pt x="314" y="410"/>
                  </a:lnTo>
                  <a:lnTo>
                    <a:pt x="317" y="412"/>
                  </a:lnTo>
                  <a:lnTo>
                    <a:pt x="317" y="414"/>
                  </a:lnTo>
                  <a:lnTo>
                    <a:pt x="319" y="414"/>
                  </a:lnTo>
                  <a:lnTo>
                    <a:pt x="321" y="416"/>
                  </a:lnTo>
                  <a:lnTo>
                    <a:pt x="323" y="416"/>
                  </a:lnTo>
                  <a:lnTo>
                    <a:pt x="323" y="414"/>
                  </a:lnTo>
                  <a:lnTo>
                    <a:pt x="325" y="414"/>
                  </a:lnTo>
                  <a:lnTo>
                    <a:pt x="323" y="412"/>
                  </a:lnTo>
                  <a:lnTo>
                    <a:pt x="323" y="410"/>
                  </a:lnTo>
                  <a:lnTo>
                    <a:pt x="325" y="410"/>
                  </a:lnTo>
                  <a:lnTo>
                    <a:pt x="325" y="410"/>
                  </a:lnTo>
                  <a:lnTo>
                    <a:pt x="327" y="410"/>
                  </a:lnTo>
                  <a:lnTo>
                    <a:pt x="329" y="410"/>
                  </a:lnTo>
                  <a:lnTo>
                    <a:pt x="331" y="410"/>
                  </a:lnTo>
                  <a:lnTo>
                    <a:pt x="331" y="412"/>
                  </a:lnTo>
                  <a:lnTo>
                    <a:pt x="331" y="418"/>
                  </a:lnTo>
                  <a:lnTo>
                    <a:pt x="331" y="420"/>
                  </a:lnTo>
                  <a:lnTo>
                    <a:pt x="331" y="424"/>
                  </a:lnTo>
                  <a:lnTo>
                    <a:pt x="333" y="426"/>
                  </a:lnTo>
                  <a:lnTo>
                    <a:pt x="335" y="429"/>
                  </a:lnTo>
                  <a:lnTo>
                    <a:pt x="337" y="429"/>
                  </a:lnTo>
                  <a:lnTo>
                    <a:pt x="337" y="429"/>
                  </a:lnTo>
                  <a:lnTo>
                    <a:pt x="340" y="431"/>
                  </a:lnTo>
                  <a:lnTo>
                    <a:pt x="340" y="433"/>
                  </a:lnTo>
                  <a:lnTo>
                    <a:pt x="340" y="433"/>
                  </a:lnTo>
                  <a:lnTo>
                    <a:pt x="342" y="435"/>
                  </a:lnTo>
                  <a:lnTo>
                    <a:pt x="342" y="435"/>
                  </a:lnTo>
                  <a:lnTo>
                    <a:pt x="342" y="435"/>
                  </a:lnTo>
                  <a:lnTo>
                    <a:pt x="342" y="437"/>
                  </a:lnTo>
                  <a:lnTo>
                    <a:pt x="342" y="437"/>
                  </a:lnTo>
                  <a:lnTo>
                    <a:pt x="340" y="439"/>
                  </a:lnTo>
                  <a:lnTo>
                    <a:pt x="340" y="439"/>
                  </a:lnTo>
                  <a:lnTo>
                    <a:pt x="337" y="441"/>
                  </a:lnTo>
                  <a:lnTo>
                    <a:pt x="337" y="441"/>
                  </a:lnTo>
                  <a:lnTo>
                    <a:pt x="340" y="443"/>
                  </a:lnTo>
                  <a:lnTo>
                    <a:pt x="340" y="443"/>
                  </a:lnTo>
                  <a:lnTo>
                    <a:pt x="337" y="443"/>
                  </a:lnTo>
                  <a:lnTo>
                    <a:pt x="333" y="445"/>
                  </a:lnTo>
                  <a:lnTo>
                    <a:pt x="329" y="443"/>
                  </a:lnTo>
                  <a:lnTo>
                    <a:pt x="327" y="443"/>
                  </a:lnTo>
                  <a:lnTo>
                    <a:pt x="323" y="445"/>
                  </a:lnTo>
                  <a:lnTo>
                    <a:pt x="323" y="447"/>
                  </a:lnTo>
                  <a:lnTo>
                    <a:pt x="329" y="458"/>
                  </a:lnTo>
                  <a:lnTo>
                    <a:pt x="329" y="460"/>
                  </a:lnTo>
                  <a:lnTo>
                    <a:pt x="329" y="462"/>
                  </a:lnTo>
                  <a:lnTo>
                    <a:pt x="329" y="462"/>
                  </a:lnTo>
                  <a:lnTo>
                    <a:pt x="331" y="464"/>
                  </a:lnTo>
                  <a:lnTo>
                    <a:pt x="333" y="471"/>
                  </a:lnTo>
                  <a:lnTo>
                    <a:pt x="333" y="471"/>
                  </a:lnTo>
                  <a:lnTo>
                    <a:pt x="333" y="473"/>
                  </a:lnTo>
                  <a:lnTo>
                    <a:pt x="331" y="471"/>
                  </a:lnTo>
                  <a:lnTo>
                    <a:pt x="329" y="471"/>
                  </a:lnTo>
                  <a:lnTo>
                    <a:pt x="329" y="471"/>
                  </a:lnTo>
                  <a:lnTo>
                    <a:pt x="329" y="473"/>
                  </a:lnTo>
                  <a:lnTo>
                    <a:pt x="331" y="473"/>
                  </a:lnTo>
                  <a:lnTo>
                    <a:pt x="331" y="473"/>
                  </a:lnTo>
                  <a:lnTo>
                    <a:pt x="333" y="475"/>
                  </a:lnTo>
                  <a:lnTo>
                    <a:pt x="333" y="475"/>
                  </a:lnTo>
                  <a:lnTo>
                    <a:pt x="333" y="477"/>
                  </a:lnTo>
                  <a:lnTo>
                    <a:pt x="335" y="479"/>
                  </a:lnTo>
                  <a:lnTo>
                    <a:pt x="335" y="479"/>
                  </a:lnTo>
                  <a:lnTo>
                    <a:pt x="337" y="481"/>
                  </a:lnTo>
                  <a:lnTo>
                    <a:pt x="340" y="481"/>
                  </a:lnTo>
                  <a:lnTo>
                    <a:pt x="340" y="483"/>
                  </a:lnTo>
                  <a:lnTo>
                    <a:pt x="340" y="483"/>
                  </a:lnTo>
                  <a:lnTo>
                    <a:pt x="340" y="485"/>
                  </a:lnTo>
                  <a:lnTo>
                    <a:pt x="340" y="485"/>
                  </a:lnTo>
                  <a:lnTo>
                    <a:pt x="342" y="485"/>
                  </a:lnTo>
                  <a:lnTo>
                    <a:pt x="342" y="485"/>
                  </a:lnTo>
                  <a:lnTo>
                    <a:pt x="346" y="487"/>
                  </a:lnTo>
                  <a:lnTo>
                    <a:pt x="348" y="487"/>
                  </a:lnTo>
                  <a:lnTo>
                    <a:pt x="350" y="487"/>
                  </a:lnTo>
                  <a:lnTo>
                    <a:pt x="352" y="483"/>
                  </a:lnTo>
                  <a:lnTo>
                    <a:pt x="354" y="483"/>
                  </a:lnTo>
                  <a:lnTo>
                    <a:pt x="356" y="483"/>
                  </a:lnTo>
                  <a:lnTo>
                    <a:pt x="365" y="485"/>
                  </a:lnTo>
                  <a:lnTo>
                    <a:pt x="369" y="485"/>
                  </a:lnTo>
                  <a:lnTo>
                    <a:pt x="373" y="483"/>
                  </a:lnTo>
                  <a:lnTo>
                    <a:pt x="375" y="483"/>
                  </a:lnTo>
                  <a:lnTo>
                    <a:pt x="386" y="471"/>
                  </a:lnTo>
                  <a:lnTo>
                    <a:pt x="388" y="468"/>
                  </a:lnTo>
                  <a:lnTo>
                    <a:pt x="388" y="466"/>
                  </a:lnTo>
                  <a:lnTo>
                    <a:pt x="388" y="466"/>
                  </a:lnTo>
                  <a:lnTo>
                    <a:pt x="390" y="466"/>
                  </a:lnTo>
                  <a:lnTo>
                    <a:pt x="392" y="464"/>
                  </a:lnTo>
                  <a:lnTo>
                    <a:pt x="392" y="462"/>
                  </a:lnTo>
                  <a:lnTo>
                    <a:pt x="390" y="462"/>
                  </a:lnTo>
                  <a:lnTo>
                    <a:pt x="388" y="458"/>
                  </a:lnTo>
                  <a:lnTo>
                    <a:pt x="386" y="454"/>
                  </a:lnTo>
                  <a:lnTo>
                    <a:pt x="388" y="452"/>
                  </a:lnTo>
                  <a:lnTo>
                    <a:pt x="396" y="441"/>
                  </a:lnTo>
                  <a:lnTo>
                    <a:pt x="398" y="441"/>
                  </a:lnTo>
                  <a:lnTo>
                    <a:pt x="400" y="441"/>
                  </a:lnTo>
                  <a:lnTo>
                    <a:pt x="402" y="439"/>
                  </a:lnTo>
                  <a:lnTo>
                    <a:pt x="402" y="439"/>
                  </a:lnTo>
                  <a:lnTo>
                    <a:pt x="405" y="437"/>
                  </a:lnTo>
                  <a:lnTo>
                    <a:pt x="405" y="435"/>
                  </a:lnTo>
                  <a:lnTo>
                    <a:pt x="405" y="433"/>
                  </a:lnTo>
                  <a:lnTo>
                    <a:pt x="405" y="431"/>
                  </a:lnTo>
                  <a:lnTo>
                    <a:pt x="402" y="429"/>
                  </a:lnTo>
                  <a:lnTo>
                    <a:pt x="400" y="429"/>
                  </a:lnTo>
                  <a:lnTo>
                    <a:pt x="398" y="426"/>
                  </a:lnTo>
                  <a:lnTo>
                    <a:pt x="396" y="424"/>
                  </a:lnTo>
                  <a:lnTo>
                    <a:pt x="396" y="424"/>
                  </a:lnTo>
                  <a:lnTo>
                    <a:pt x="398" y="424"/>
                  </a:lnTo>
                  <a:lnTo>
                    <a:pt x="398" y="424"/>
                  </a:lnTo>
                  <a:lnTo>
                    <a:pt x="398" y="422"/>
                  </a:lnTo>
                  <a:lnTo>
                    <a:pt x="398" y="420"/>
                  </a:lnTo>
                  <a:lnTo>
                    <a:pt x="398" y="418"/>
                  </a:lnTo>
                  <a:lnTo>
                    <a:pt x="398" y="420"/>
                  </a:lnTo>
                  <a:lnTo>
                    <a:pt x="398" y="420"/>
                  </a:lnTo>
                  <a:lnTo>
                    <a:pt x="400" y="424"/>
                  </a:lnTo>
                  <a:lnTo>
                    <a:pt x="400" y="424"/>
                  </a:lnTo>
                  <a:lnTo>
                    <a:pt x="402" y="424"/>
                  </a:lnTo>
                  <a:lnTo>
                    <a:pt x="407" y="422"/>
                  </a:lnTo>
                  <a:lnTo>
                    <a:pt x="409" y="422"/>
                  </a:lnTo>
                  <a:lnTo>
                    <a:pt x="411" y="418"/>
                  </a:lnTo>
                  <a:lnTo>
                    <a:pt x="411" y="401"/>
                  </a:lnTo>
                  <a:lnTo>
                    <a:pt x="413" y="395"/>
                  </a:lnTo>
                  <a:lnTo>
                    <a:pt x="415" y="393"/>
                  </a:lnTo>
                  <a:lnTo>
                    <a:pt x="417" y="389"/>
                  </a:lnTo>
                  <a:lnTo>
                    <a:pt x="419" y="389"/>
                  </a:lnTo>
                  <a:lnTo>
                    <a:pt x="425" y="384"/>
                  </a:lnTo>
                  <a:lnTo>
                    <a:pt x="425" y="384"/>
                  </a:lnTo>
                  <a:lnTo>
                    <a:pt x="425" y="382"/>
                  </a:lnTo>
                  <a:lnTo>
                    <a:pt x="428" y="380"/>
                  </a:lnTo>
                  <a:lnTo>
                    <a:pt x="428" y="378"/>
                  </a:lnTo>
                  <a:lnTo>
                    <a:pt x="425" y="378"/>
                  </a:lnTo>
                  <a:lnTo>
                    <a:pt x="428" y="376"/>
                  </a:lnTo>
                  <a:lnTo>
                    <a:pt x="428" y="376"/>
                  </a:lnTo>
                  <a:lnTo>
                    <a:pt x="430" y="376"/>
                  </a:lnTo>
                  <a:lnTo>
                    <a:pt x="432" y="376"/>
                  </a:lnTo>
                  <a:lnTo>
                    <a:pt x="432" y="378"/>
                  </a:lnTo>
                  <a:lnTo>
                    <a:pt x="432" y="378"/>
                  </a:lnTo>
                  <a:lnTo>
                    <a:pt x="432" y="380"/>
                  </a:lnTo>
                  <a:lnTo>
                    <a:pt x="432" y="382"/>
                  </a:lnTo>
                  <a:lnTo>
                    <a:pt x="430" y="384"/>
                  </a:lnTo>
                  <a:lnTo>
                    <a:pt x="430" y="387"/>
                  </a:lnTo>
                  <a:lnTo>
                    <a:pt x="430" y="387"/>
                  </a:lnTo>
                  <a:lnTo>
                    <a:pt x="432" y="389"/>
                  </a:lnTo>
                  <a:lnTo>
                    <a:pt x="432" y="389"/>
                  </a:lnTo>
                  <a:lnTo>
                    <a:pt x="432" y="391"/>
                  </a:lnTo>
                  <a:lnTo>
                    <a:pt x="434" y="391"/>
                  </a:lnTo>
                  <a:lnTo>
                    <a:pt x="434" y="391"/>
                  </a:lnTo>
                  <a:lnTo>
                    <a:pt x="436" y="391"/>
                  </a:lnTo>
                  <a:lnTo>
                    <a:pt x="436" y="393"/>
                  </a:lnTo>
                  <a:lnTo>
                    <a:pt x="436" y="393"/>
                  </a:lnTo>
                  <a:lnTo>
                    <a:pt x="436" y="393"/>
                  </a:lnTo>
                  <a:lnTo>
                    <a:pt x="436" y="395"/>
                  </a:lnTo>
                  <a:lnTo>
                    <a:pt x="436" y="395"/>
                  </a:lnTo>
                  <a:lnTo>
                    <a:pt x="436" y="395"/>
                  </a:lnTo>
                  <a:lnTo>
                    <a:pt x="434" y="395"/>
                  </a:lnTo>
                  <a:lnTo>
                    <a:pt x="432" y="393"/>
                  </a:lnTo>
                  <a:lnTo>
                    <a:pt x="430" y="391"/>
                  </a:lnTo>
                  <a:lnTo>
                    <a:pt x="430" y="391"/>
                  </a:lnTo>
                  <a:lnTo>
                    <a:pt x="428" y="395"/>
                  </a:lnTo>
                  <a:lnTo>
                    <a:pt x="425" y="395"/>
                  </a:lnTo>
                  <a:lnTo>
                    <a:pt x="423" y="395"/>
                  </a:lnTo>
                  <a:lnTo>
                    <a:pt x="421" y="399"/>
                  </a:lnTo>
                  <a:lnTo>
                    <a:pt x="421" y="401"/>
                  </a:lnTo>
                  <a:lnTo>
                    <a:pt x="419" y="401"/>
                  </a:lnTo>
                  <a:lnTo>
                    <a:pt x="417" y="401"/>
                  </a:lnTo>
                  <a:lnTo>
                    <a:pt x="417" y="401"/>
                  </a:lnTo>
                  <a:lnTo>
                    <a:pt x="417" y="403"/>
                  </a:lnTo>
                  <a:lnTo>
                    <a:pt x="417" y="405"/>
                  </a:lnTo>
                  <a:lnTo>
                    <a:pt x="415" y="405"/>
                  </a:lnTo>
                  <a:lnTo>
                    <a:pt x="415" y="403"/>
                  </a:lnTo>
                  <a:lnTo>
                    <a:pt x="413" y="405"/>
                  </a:lnTo>
                  <a:lnTo>
                    <a:pt x="413" y="412"/>
                  </a:lnTo>
                  <a:lnTo>
                    <a:pt x="415" y="420"/>
                  </a:lnTo>
                  <a:lnTo>
                    <a:pt x="415" y="422"/>
                  </a:lnTo>
                  <a:lnTo>
                    <a:pt x="415" y="424"/>
                  </a:lnTo>
                  <a:lnTo>
                    <a:pt x="413" y="424"/>
                  </a:lnTo>
                  <a:lnTo>
                    <a:pt x="411" y="424"/>
                  </a:lnTo>
                  <a:lnTo>
                    <a:pt x="409" y="426"/>
                  </a:lnTo>
                  <a:lnTo>
                    <a:pt x="409" y="429"/>
                  </a:lnTo>
                  <a:lnTo>
                    <a:pt x="411" y="431"/>
                  </a:lnTo>
                  <a:lnTo>
                    <a:pt x="415" y="437"/>
                  </a:lnTo>
                  <a:lnTo>
                    <a:pt x="415" y="439"/>
                  </a:lnTo>
                  <a:lnTo>
                    <a:pt x="415" y="441"/>
                  </a:lnTo>
                  <a:lnTo>
                    <a:pt x="415" y="441"/>
                  </a:lnTo>
                  <a:lnTo>
                    <a:pt x="415" y="443"/>
                  </a:lnTo>
                  <a:lnTo>
                    <a:pt x="415" y="445"/>
                  </a:lnTo>
                  <a:lnTo>
                    <a:pt x="415" y="447"/>
                  </a:lnTo>
                  <a:lnTo>
                    <a:pt x="417" y="447"/>
                  </a:lnTo>
                  <a:lnTo>
                    <a:pt x="417" y="445"/>
                  </a:lnTo>
                  <a:lnTo>
                    <a:pt x="419" y="445"/>
                  </a:lnTo>
                  <a:lnTo>
                    <a:pt x="421" y="445"/>
                  </a:lnTo>
                  <a:lnTo>
                    <a:pt x="421" y="447"/>
                  </a:lnTo>
                  <a:lnTo>
                    <a:pt x="423" y="447"/>
                  </a:lnTo>
                  <a:lnTo>
                    <a:pt x="423" y="447"/>
                  </a:lnTo>
                  <a:lnTo>
                    <a:pt x="425" y="452"/>
                  </a:lnTo>
                  <a:lnTo>
                    <a:pt x="425" y="452"/>
                  </a:lnTo>
                  <a:lnTo>
                    <a:pt x="428" y="452"/>
                  </a:lnTo>
                  <a:lnTo>
                    <a:pt x="428" y="452"/>
                  </a:lnTo>
                  <a:lnTo>
                    <a:pt x="428" y="450"/>
                  </a:lnTo>
                  <a:lnTo>
                    <a:pt x="425" y="447"/>
                  </a:lnTo>
                  <a:lnTo>
                    <a:pt x="425" y="445"/>
                  </a:lnTo>
                  <a:lnTo>
                    <a:pt x="423" y="443"/>
                  </a:lnTo>
                  <a:lnTo>
                    <a:pt x="423" y="441"/>
                  </a:lnTo>
                  <a:lnTo>
                    <a:pt x="425" y="441"/>
                  </a:lnTo>
                  <a:lnTo>
                    <a:pt x="425" y="439"/>
                  </a:lnTo>
                  <a:lnTo>
                    <a:pt x="428" y="439"/>
                  </a:lnTo>
                  <a:lnTo>
                    <a:pt x="428" y="439"/>
                  </a:lnTo>
                  <a:lnTo>
                    <a:pt x="428" y="439"/>
                  </a:lnTo>
                  <a:lnTo>
                    <a:pt x="428" y="439"/>
                  </a:lnTo>
                  <a:lnTo>
                    <a:pt x="428" y="441"/>
                  </a:lnTo>
                  <a:lnTo>
                    <a:pt x="428" y="443"/>
                  </a:lnTo>
                  <a:lnTo>
                    <a:pt x="430" y="445"/>
                  </a:lnTo>
                  <a:lnTo>
                    <a:pt x="434" y="450"/>
                  </a:lnTo>
                  <a:lnTo>
                    <a:pt x="436" y="452"/>
                  </a:lnTo>
                  <a:lnTo>
                    <a:pt x="440" y="462"/>
                  </a:lnTo>
                  <a:lnTo>
                    <a:pt x="440" y="464"/>
                  </a:lnTo>
                  <a:lnTo>
                    <a:pt x="442" y="464"/>
                  </a:lnTo>
                  <a:lnTo>
                    <a:pt x="442" y="462"/>
                  </a:lnTo>
                  <a:lnTo>
                    <a:pt x="446" y="460"/>
                  </a:lnTo>
                  <a:lnTo>
                    <a:pt x="446" y="458"/>
                  </a:lnTo>
                  <a:lnTo>
                    <a:pt x="449" y="458"/>
                  </a:lnTo>
                  <a:lnTo>
                    <a:pt x="451" y="460"/>
                  </a:lnTo>
                  <a:lnTo>
                    <a:pt x="453" y="460"/>
                  </a:lnTo>
                  <a:lnTo>
                    <a:pt x="453" y="460"/>
                  </a:lnTo>
                  <a:lnTo>
                    <a:pt x="455" y="460"/>
                  </a:lnTo>
                  <a:lnTo>
                    <a:pt x="455" y="458"/>
                  </a:lnTo>
                  <a:lnTo>
                    <a:pt x="455" y="456"/>
                  </a:lnTo>
                  <a:lnTo>
                    <a:pt x="455" y="456"/>
                  </a:lnTo>
                  <a:lnTo>
                    <a:pt x="455" y="456"/>
                  </a:lnTo>
                  <a:lnTo>
                    <a:pt x="455" y="454"/>
                  </a:lnTo>
                  <a:lnTo>
                    <a:pt x="455" y="454"/>
                  </a:lnTo>
                  <a:lnTo>
                    <a:pt x="457" y="454"/>
                  </a:lnTo>
                  <a:lnTo>
                    <a:pt x="459" y="456"/>
                  </a:lnTo>
                  <a:lnTo>
                    <a:pt x="459" y="458"/>
                  </a:lnTo>
                  <a:lnTo>
                    <a:pt x="461" y="462"/>
                  </a:lnTo>
                  <a:lnTo>
                    <a:pt x="461" y="462"/>
                  </a:lnTo>
                  <a:lnTo>
                    <a:pt x="461" y="462"/>
                  </a:lnTo>
                  <a:lnTo>
                    <a:pt x="457" y="466"/>
                  </a:lnTo>
                  <a:lnTo>
                    <a:pt x="457" y="466"/>
                  </a:lnTo>
                  <a:lnTo>
                    <a:pt x="457" y="468"/>
                  </a:lnTo>
                  <a:lnTo>
                    <a:pt x="457" y="468"/>
                  </a:lnTo>
                  <a:lnTo>
                    <a:pt x="459" y="468"/>
                  </a:lnTo>
                  <a:lnTo>
                    <a:pt x="459" y="466"/>
                  </a:lnTo>
                  <a:lnTo>
                    <a:pt x="459" y="468"/>
                  </a:lnTo>
                  <a:lnTo>
                    <a:pt x="459" y="468"/>
                  </a:lnTo>
                  <a:lnTo>
                    <a:pt x="461" y="471"/>
                  </a:lnTo>
                  <a:lnTo>
                    <a:pt x="461" y="471"/>
                  </a:lnTo>
                  <a:lnTo>
                    <a:pt x="461" y="473"/>
                  </a:lnTo>
                  <a:lnTo>
                    <a:pt x="463" y="473"/>
                  </a:lnTo>
                  <a:lnTo>
                    <a:pt x="465" y="475"/>
                  </a:lnTo>
                  <a:lnTo>
                    <a:pt x="467" y="475"/>
                  </a:lnTo>
                  <a:lnTo>
                    <a:pt x="469" y="475"/>
                  </a:lnTo>
                  <a:lnTo>
                    <a:pt x="469" y="477"/>
                  </a:lnTo>
                  <a:lnTo>
                    <a:pt x="472" y="477"/>
                  </a:lnTo>
                  <a:lnTo>
                    <a:pt x="472" y="479"/>
                  </a:lnTo>
                  <a:lnTo>
                    <a:pt x="472" y="479"/>
                  </a:lnTo>
                  <a:lnTo>
                    <a:pt x="472" y="479"/>
                  </a:lnTo>
                  <a:lnTo>
                    <a:pt x="474" y="479"/>
                  </a:lnTo>
                  <a:lnTo>
                    <a:pt x="474" y="479"/>
                  </a:lnTo>
                  <a:lnTo>
                    <a:pt x="476" y="477"/>
                  </a:lnTo>
                  <a:lnTo>
                    <a:pt x="476" y="477"/>
                  </a:lnTo>
                  <a:lnTo>
                    <a:pt x="474" y="475"/>
                  </a:lnTo>
                  <a:lnTo>
                    <a:pt x="474" y="473"/>
                  </a:lnTo>
                  <a:lnTo>
                    <a:pt x="472" y="473"/>
                  </a:lnTo>
                  <a:lnTo>
                    <a:pt x="472" y="473"/>
                  </a:lnTo>
                  <a:lnTo>
                    <a:pt x="476" y="473"/>
                  </a:lnTo>
                  <a:lnTo>
                    <a:pt x="478" y="471"/>
                  </a:lnTo>
                  <a:lnTo>
                    <a:pt x="476" y="468"/>
                  </a:lnTo>
                  <a:lnTo>
                    <a:pt x="476" y="464"/>
                  </a:lnTo>
                  <a:lnTo>
                    <a:pt x="478" y="468"/>
                  </a:lnTo>
                  <a:lnTo>
                    <a:pt x="480" y="468"/>
                  </a:lnTo>
                  <a:lnTo>
                    <a:pt x="482" y="468"/>
                  </a:lnTo>
                  <a:lnTo>
                    <a:pt x="484" y="468"/>
                  </a:lnTo>
                  <a:lnTo>
                    <a:pt x="484" y="468"/>
                  </a:lnTo>
                  <a:lnTo>
                    <a:pt x="486" y="471"/>
                  </a:lnTo>
                  <a:lnTo>
                    <a:pt x="488" y="473"/>
                  </a:lnTo>
                  <a:lnTo>
                    <a:pt x="488" y="475"/>
                  </a:lnTo>
                  <a:lnTo>
                    <a:pt x="486" y="475"/>
                  </a:lnTo>
                  <a:lnTo>
                    <a:pt x="488" y="477"/>
                  </a:lnTo>
                  <a:lnTo>
                    <a:pt x="490" y="479"/>
                  </a:lnTo>
                  <a:lnTo>
                    <a:pt x="492" y="481"/>
                  </a:lnTo>
                  <a:lnTo>
                    <a:pt x="492" y="479"/>
                  </a:lnTo>
                  <a:lnTo>
                    <a:pt x="499" y="479"/>
                  </a:lnTo>
                  <a:lnTo>
                    <a:pt x="501" y="477"/>
                  </a:lnTo>
                  <a:lnTo>
                    <a:pt x="501" y="477"/>
                  </a:lnTo>
                  <a:lnTo>
                    <a:pt x="501" y="475"/>
                  </a:lnTo>
                  <a:lnTo>
                    <a:pt x="501" y="473"/>
                  </a:lnTo>
                  <a:lnTo>
                    <a:pt x="503" y="473"/>
                  </a:lnTo>
                  <a:lnTo>
                    <a:pt x="505" y="471"/>
                  </a:lnTo>
                  <a:lnTo>
                    <a:pt x="505" y="471"/>
                  </a:lnTo>
                  <a:lnTo>
                    <a:pt x="507" y="471"/>
                  </a:lnTo>
                  <a:lnTo>
                    <a:pt x="507" y="468"/>
                  </a:lnTo>
                  <a:lnTo>
                    <a:pt x="507" y="468"/>
                  </a:lnTo>
                  <a:lnTo>
                    <a:pt x="509" y="471"/>
                  </a:lnTo>
                  <a:lnTo>
                    <a:pt x="516" y="471"/>
                  </a:lnTo>
                  <a:lnTo>
                    <a:pt x="524" y="471"/>
                  </a:lnTo>
                  <a:lnTo>
                    <a:pt x="528" y="471"/>
                  </a:lnTo>
                  <a:lnTo>
                    <a:pt x="528" y="471"/>
                  </a:lnTo>
                  <a:lnTo>
                    <a:pt x="528" y="471"/>
                  </a:lnTo>
                  <a:lnTo>
                    <a:pt x="528" y="471"/>
                  </a:lnTo>
                  <a:lnTo>
                    <a:pt x="530" y="471"/>
                  </a:lnTo>
                  <a:lnTo>
                    <a:pt x="530" y="471"/>
                  </a:lnTo>
                  <a:lnTo>
                    <a:pt x="530" y="471"/>
                  </a:lnTo>
                  <a:lnTo>
                    <a:pt x="530" y="471"/>
                  </a:lnTo>
                  <a:lnTo>
                    <a:pt x="530" y="473"/>
                  </a:lnTo>
                  <a:lnTo>
                    <a:pt x="530" y="473"/>
                  </a:lnTo>
                  <a:lnTo>
                    <a:pt x="530" y="473"/>
                  </a:lnTo>
                  <a:lnTo>
                    <a:pt x="530" y="473"/>
                  </a:lnTo>
                  <a:lnTo>
                    <a:pt x="532" y="473"/>
                  </a:lnTo>
                  <a:lnTo>
                    <a:pt x="532" y="473"/>
                  </a:lnTo>
                  <a:lnTo>
                    <a:pt x="534" y="473"/>
                  </a:lnTo>
                  <a:lnTo>
                    <a:pt x="534" y="473"/>
                  </a:lnTo>
                  <a:lnTo>
                    <a:pt x="534" y="473"/>
                  </a:lnTo>
                  <a:lnTo>
                    <a:pt x="534" y="473"/>
                  </a:lnTo>
                  <a:lnTo>
                    <a:pt x="532" y="475"/>
                  </a:lnTo>
                  <a:lnTo>
                    <a:pt x="532" y="475"/>
                  </a:lnTo>
                  <a:lnTo>
                    <a:pt x="532" y="475"/>
                  </a:lnTo>
                  <a:lnTo>
                    <a:pt x="530" y="475"/>
                  </a:lnTo>
                  <a:lnTo>
                    <a:pt x="530" y="475"/>
                  </a:lnTo>
                  <a:lnTo>
                    <a:pt x="528" y="475"/>
                  </a:lnTo>
                  <a:lnTo>
                    <a:pt x="526" y="473"/>
                  </a:lnTo>
                  <a:lnTo>
                    <a:pt x="524" y="473"/>
                  </a:lnTo>
                  <a:lnTo>
                    <a:pt x="518" y="473"/>
                  </a:lnTo>
                  <a:lnTo>
                    <a:pt x="513" y="473"/>
                  </a:lnTo>
                  <a:lnTo>
                    <a:pt x="511" y="473"/>
                  </a:lnTo>
                  <a:lnTo>
                    <a:pt x="509" y="473"/>
                  </a:lnTo>
                  <a:lnTo>
                    <a:pt x="509" y="473"/>
                  </a:lnTo>
                  <a:lnTo>
                    <a:pt x="507" y="475"/>
                  </a:lnTo>
                  <a:lnTo>
                    <a:pt x="507" y="479"/>
                  </a:lnTo>
                  <a:lnTo>
                    <a:pt x="507" y="481"/>
                  </a:lnTo>
                  <a:lnTo>
                    <a:pt x="507" y="481"/>
                  </a:lnTo>
                  <a:lnTo>
                    <a:pt x="509" y="481"/>
                  </a:lnTo>
                  <a:lnTo>
                    <a:pt x="509" y="483"/>
                  </a:lnTo>
                  <a:lnTo>
                    <a:pt x="507" y="485"/>
                  </a:lnTo>
                  <a:lnTo>
                    <a:pt x="505" y="487"/>
                  </a:lnTo>
                  <a:lnTo>
                    <a:pt x="505" y="490"/>
                  </a:lnTo>
                  <a:lnTo>
                    <a:pt x="505" y="490"/>
                  </a:lnTo>
                  <a:lnTo>
                    <a:pt x="507" y="490"/>
                  </a:lnTo>
                  <a:lnTo>
                    <a:pt x="509" y="492"/>
                  </a:lnTo>
                  <a:lnTo>
                    <a:pt x="511" y="492"/>
                  </a:lnTo>
                  <a:lnTo>
                    <a:pt x="511" y="492"/>
                  </a:lnTo>
                  <a:lnTo>
                    <a:pt x="511" y="496"/>
                  </a:lnTo>
                  <a:lnTo>
                    <a:pt x="513" y="496"/>
                  </a:lnTo>
                  <a:lnTo>
                    <a:pt x="513" y="498"/>
                  </a:lnTo>
                  <a:lnTo>
                    <a:pt x="518" y="500"/>
                  </a:lnTo>
                  <a:lnTo>
                    <a:pt x="520" y="502"/>
                  </a:lnTo>
                  <a:lnTo>
                    <a:pt x="520" y="502"/>
                  </a:lnTo>
                  <a:lnTo>
                    <a:pt x="522" y="502"/>
                  </a:lnTo>
                  <a:lnTo>
                    <a:pt x="524" y="502"/>
                  </a:lnTo>
                  <a:lnTo>
                    <a:pt x="526" y="502"/>
                  </a:lnTo>
                  <a:lnTo>
                    <a:pt x="526" y="502"/>
                  </a:lnTo>
                  <a:lnTo>
                    <a:pt x="562" y="456"/>
                  </a:lnTo>
                  <a:lnTo>
                    <a:pt x="467" y="420"/>
                  </a:lnTo>
                  <a:close/>
                  <a:moveTo>
                    <a:pt x="413" y="315"/>
                  </a:moveTo>
                  <a:lnTo>
                    <a:pt x="417" y="313"/>
                  </a:lnTo>
                  <a:lnTo>
                    <a:pt x="419" y="313"/>
                  </a:lnTo>
                  <a:lnTo>
                    <a:pt x="421" y="311"/>
                  </a:lnTo>
                  <a:lnTo>
                    <a:pt x="419" y="311"/>
                  </a:lnTo>
                  <a:lnTo>
                    <a:pt x="419" y="311"/>
                  </a:lnTo>
                  <a:lnTo>
                    <a:pt x="417" y="311"/>
                  </a:lnTo>
                  <a:lnTo>
                    <a:pt x="413" y="313"/>
                  </a:lnTo>
                  <a:lnTo>
                    <a:pt x="413" y="315"/>
                  </a:lnTo>
                  <a:lnTo>
                    <a:pt x="413" y="315"/>
                  </a:lnTo>
                  <a:close/>
                  <a:moveTo>
                    <a:pt x="434" y="317"/>
                  </a:moveTo>
                  <a:lnTo>
                    <a:pt x="436" y="317"/>
                  </a:lnTo>
                  <a:lnTo>
                    <a:pt x="436" y="317"/>
                  </a:lnTo>
                  <a:lnTo>
                    <a:pt x="436" y="317"/>
                  </a:lnTo>
                  <a:lnTo>
                    <a:pt x="436" y="315"/>
                  </a:lnTo>
                  <a:lnTo>
                    <a:pt x="434" y="315"/>
                  </a:lnTo>
                  <a:lnTo>
                    <a:pt x="432" y="315"/>
                  </a:lnTo>
                  <a:lnTo>
                    <a:pt x="432" y="317"/>
                  </a:lnTo>
                  <a:lnTo>
                    <a:pt x="432" y="317"/>
                  </a:lnTo>
                  <a:lnTo>
                    <a:pt x="432" y="317"/>
                  </a:lnTo>
                  <a:lnTo>
                    <a:pt x="432" y="317"/>
                  </a:lnTo>
                  <a:lnTo>
                    <a:pt x="434" y="317"/>
                  </a:lnTo>
                  <a:close/>
                  <a:moveTo>
                    <a:pt x="415" y="311"/>
                  </a:moveTo>
                  <a:lnTo>
                    <a:pt x="419" y="309"/>
                  </a:lnTo>
                  <a:lnTo>
                    <a:pt x="419" y="309"/>
                  </a:lnTo>
                  <a:lnTo>
                    <a:pt x="421" y="307"/>
                  </a:lnTo>
                  <a:lnTo>
                    <a:pt x="421" y="307"/>
                  </a:lnTo>
                  <a:lnTo>
                    <a:pt x="419" y="307"/>
                  </a:lnTo>
                  <a:lnTo>
                    <a:pt x="419" y="307"/>
                  </a:lnTo>
                  <a:lnTo>
                    <a:pt x="417" y="307"/>
                  </a:lnTo>
                  <a:lnTo>
                    <a:pt x="417" y="307"/>
                  </a:lnTo>
                  <a:lnTo>
                    <a:pt x="417" y="309"/>
                  </a:lnTo>
                  <a:lnTo>
                    <a:pt x="415" y="309"/>
                  </a:lnTo>
                  <a:lnTo>
                    <a:pt x="413" y="311"/>
                  </a:lnTo>
                  <a:lnTo>
                    <a:pt x="413" y="311"/>
                  </a:lnTo>
                  <a:lnTo>
                    <a:pt x="413" y="311"/>
                  </a:lnTo>
                  <a:lnTo>
                    <a:pt x="413" y="313"/>
                  </a:lnTo>
                  <a:lnTo>
                    <a:pt x="415" y="311"/>
                  </a:lnTo>
                  <a:close/>
                  <a:moveTo>
                    <a:pt x="465" y="271"/>
                  </a:moveTo>
                  <a:lnTo>
                    <a:pt x="467" y="271"/>
                  </a:lnTo>
                  <a:lnTo>
                    <a:pt x="467" y="267"/>
                  </a:lnTo>
                  <a:lnTo>
                    <a:pt x="467" y="265"/>
                  </a:lnTo>
                  <a:lnTo>
                    <a:pt x="465" y="265"/>
                  </a:lnTo>
                  <a:lnTo>
                    <a:pt x="465" y="265"/>
                  </a:lnTo>
                  <a:lnTo>
                    <a:pt x="459" y="273"/>
                  </a:lnTo>
                  <a:lnTo>
                    <a:pt x="459" y="277"/>
                  </a:lnTo>
                  <a:lnTo>
                    <a:pt x="459" y="279"/>
                  </a:lnTo>
                  <a:lnTo>
                    <a:pt x="459" y="284"/>
                  </a:lnTo>
                  <a:lnTo>
                    <a:pt x="461" y="282"/>
                  </a:lnTo>
                  <a:lnTo>
                    <a:pt x="463" y="279"/>
                  </a:lnTo>
                  <a:lnTo>
                    <a:pt x="465" y="275"/>
                  </a:lnTo>
                  <a:lnTo>
                    <a:pt x="463" y="273"/>
                  </a:lnTo>
                  <a:lnTo>
                    <a:pt x="463" y="271"/>
                  </a:lnTo>
                  <a:lnTo>
                    <a:pt x="465" y="271"/>
                  </a:lnTo>
                  <a:close/>
                  <a:moveTo>
                    <a:pt x="461" y="477"/>
                  </a:moveTo>
                  <a:lnTo>
                    <a:pt x="461" y="477"/>
                  </a:lnTo>
                  <a:lnTo>
                    <a:pt x="459" y="477"/>
                  </a:lnTo>
                  <a:lnTo>
                    <a:pt x="459" y="475"/>
                  </a:lnTo>
                  <a:lnTo>
                    <a:pt x="459" y="475"/>
                  </a:lnTo>
                  <a:lnTo>
                    <a:pt x="459" y="475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5"/>
                  </a:lnTo>
                  <a:lnTo>
                    <a:pt x="455" y="471"/>
                  </a:lnTo>
                  <a:lnTo>
                    <a:pt x="453" y="471"/>
                  </a:lnTo>
                  <a:lnTo>
                    <a:pt x="453" y="468"/>
                  </a:lnTo>
                  <a:lnTo>
                    <a:pt x="449" y="468"/>
                  </a:lnTo>
                  <a:lnTo>
                    <a:pt x="449" y="471"/>
                  </a:lnTo>
                  <a:lnTo>
                    <a:pt x="449" y="471"/>
                  </a:lnTo>
                  <a:lnTo>
                    <a:pt x="451" y="471"/>
                  </a:lnTo>
                  <a:lnTo>
                    <a:pt x="453" y="475"/>
                  </a:lnTo>
                  <a:lnTo>
                    <a:pt x="453" y="475"/>
                  </a:lnTo>
                  <a:lnTo>
                    <a:pt x="455" y="477"/>
                  </a:lnTo>
                  <a:lnTo>
                    <a:pt x="455" y="477"/>
                  </a:lnTo>
                  <a:lnTo>
                    <a:pt x="457" y="477"/>
                  </a:lnTo>
                  <a:lnTo>
                    <a:pt x="457" y="477"/>
                  </a:lnTo>
                  <a:lnTo>
                    <a:pt x="459" y="477"/>
                  </a:lnTo>
                  <a:lnTo>
                    <a:pt x="459" y="477"/>
                  </a:lnTo>
                  <a:lnTo>
                    <a:pt x="461" y="479"/>
                  </a:lnTo>
                  <a:lnTo>
                    <a:pt x="461" y="479"/>
                  </a:lnTo>
                  <a:lnTo>
                    <a:pt x="461" y="479"/>
                  </a:lnTo>
                  <a:lnTo>
                    <a:pt x="461" y="479"/>
                  </a:lnTo>
                  <a:lnTo>
                    <a:pt x="463" y="479"/>
                  </a:lnTo>
                  <a:lnTo>
                    <a:pt x="463" y="479"/>
                  </a:lnTo>
                  <a:lnTo>
                    <a:pt x="463" y="479"/>
                  </a:lnTo>
                  <a:lnTo>
                    <a:pt x="463" y="479"/>
                  </a:lnTo>
                  <a:lnTo>
                    <a:pt x="461" y="477"/>
                  </a:lnTo>
                  <a:lnTo>
                    <a:pt x="461" y="477"/>
                  </a:lnTo>
                  <a:close/>
                  <a:moveTo>
                    <a:pt x="425" y="309"/>
                  </a:moveTo>
                  <a:lnTo>
                    <a:pt x="428" y="309"/>
                  </a:lnTo>
                  <a:lnTo>
                    <a:pt x="430" y="305"/>
                  </a:lnTo>
                  <a:lnTo>
                    <a:pt x="430" y="305"/>
                  </a:lnTo>
                  <a:lnTo>
                    <a:pt x="428" y="305"/>
                  </a:lnTo>
                  <a:lnTo>
                    <a:pt x="425" y="305"/>
                  </a:lnTo>
                  <a:lnTo>
                    <a:pt x="423" y="307"/>
                  </a:lnTo>
                  <a:lnTo>
                    <a:pt x="421" y="309"/>
                  </a:lnTo>
                  <a:lnTo>
                    <a:pt x="423" y="309"/>
                  </a:lnTo>
                  <a:lnTo>
                    <a:pt x="423" y="309"/>
                  </a:lnTo>
                  <a:lnTo>
                    <a:pt x="425" y="309"/>
                  </a:lnTo>
                  <a:close/>
                  <a:moveTo>
                    <a:pt x="141" y="183"/>
                  </a:moveTo>
                  <a:lnTo>
                    <a:pt x="143" y="183"/>
                  </a:lnTo>
                  <a:lnTo>
                    <a:pt x="147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1" y="176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1" y="174"/>
                  </a:lnTo>
                  <a:lnTo>
                    <a:pt x="149" y="174"/>
                  </a:lnTo>
                  <a:lnTo>
                    <a:pt x="149" y="174"/>
                  </a:lnTo>
                  <a:lnTo>
                    <a:pt x="149" y="174"/>
                  </a:lnTo>
                  <a:lnTo>
                    <a:pt x="147" y="174"/>
                  </a:lnTo>
                  <a:lnTo>
                    <a:pt x="147" y="174"/>
                  </a:lnTo>
                  <a:lnTo>
                    <a:pt x="145" y="174"/>
                  </a:lnTo>
                  <a:lnTo>
                    <a:pt x="143" y="174"/>
                  </a:lnTo>
                  <a:lnTo>
                    <a:pt x="143" y="174"/>
                  </a:lnTo>
                  <a:lnTo>
                    <a:pt x="143" y="172"/>
                  </a:lnTo>
                  <a:lnTo>
                    <a:pt x="141" y="174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76"/>
                  </a:lnTo>
                  <a:lnTo>
                    <a:pt x="143" y="179"/>
                  </a:lnTo>
                  <a:lnTo>
                    <a:pt x="143" y="179"/>
                  </a:lnTo>
                  <a:lnTo>
                    <a:pt x="141" y="176"/>
                  </a:lnTo>
                  <a:lnTo>
                    <a:pt x="141" y="176"/>
                  </a:lnTo>
                  <a:lnTo>
                    <a:pt x="138" y="179"/>
                  </a:lnTo>
                  <a:lnTo>
                    <a:pt x="134" y="179"/>
                  </a:lnTo>
                  <a:lnTo>
                    <a:pt x="134" y="179"/>
                  </a:lnTo>
                  <a:lnTo>
                    <a:pt x="132" y="179"/>
                  </a:lnTo>
                  <a:lnTo>
                    <a:pt x="130" y="179"/>
                  </a:lnTo>
                  <a:lnTo>
                    <a:pt x="130" y="179"/>
                  </a:lnTo>
                  <a:lnTo>
                    <a:pt x="128" y="179"/>
                  </a:lnTo>
                  <a:lnTo>
                    <a:pt x="128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6" y="179"/>
                  </a:lnTo>
                  <a:lnTo>
                    <a:pt x="128" y="179"/>
                  </a:lnTo>
                  <a:lnTo>
                    <a:pt x="126" y="176"/>
                  </a:lnTo>
                  <a:lnTo>
                    <a:pt x="124" y="179"/>
                  </a:lnTo>
                  <a:lnTo>
                    <a:pt x="122" y="181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0" y="179"/>
                  </a:lnTo>
                  <a:lnTo>
                    <a:pt x="120" y="176"/>
                  </a:lnTo>
                  <a:lnTo>
                    <a:pt x="118" y="181"/>
                  </a:lnTo>
                  <a:lnTo>
                    <a:pt x="115" y="181"/>
                  </a:lnTo>
                  <a:lnTo>
                    <a:pt x="113" y="179"/>
                  </a:lnTo>
                  <a:lnTo>
                    <a:pt x="113" y="176"/>
                  </a:lnTo>
                  <a:lnTo>
                    <a:pt x="111" y="176"/>
                  </a:lnTo>
                  <a:lnTo>
                    <a:pt x="111" y="176"/>
                  </a:lnTo>
                  <a:lnTo>
                    <a:pt x="111" y="176"/>
                  </a:lnTo>
                  <a:lnTo>
                    <a:pt x="111" y="179"/>
                  </a:lnTo>
                  <a:lnTo>
                    <a:pt x="109" y="179"/>
                  </a:lnTo>
                  <a:lnTo>
                    <a:pt x="109" y="179"/>
                  </a:lnTo>
                  <a:lnTo>
                    <a:pt x="109" y="176"/>
                  </a:lnTo>
                  <a:lnTo>
                    <a:pt x="109" y="179"/>
                  </a:lnTo>
                  <a:lnTo>
                    <a:pt x="109" y="183"/>
                  </a:lnTo>
                  <a:lnTo>
                    <a:pt x="107" y="183"/>
                  </a:lnTo>
                  <a:lnTo>
                    <a:pt x="107" y="185"/>
                  </a:lnTo>
                  <a:lnTo>
                    <a:pt x="107" y="187"/>
                  </a:lnTo>
                  <a:lnTo>
                    <a:pt x="105" y="187"/>
                  </a:lnTo>
                  <a:lnTo>
                    <a:pt x="103" y="189"/>
                  </a:lnTo>
                  <a:lnTo>
                    <a:pt x="107" y="187"/>
                  </a:lnTo>
                  <a:lnTo>
                    <a:pt x="109" y="187"/>
                  </a:lnTo>
                  <a:lnTo>
                    <a:pt x="109" y="189"/>
                  </a:lnTo>
                  <a:lnTo>
                    <a:pt x="111" y="189"/>
                  </a:lnTo>
                  <a:lnTo>
                    <a:pt x="111" y="187"/>
                  </a:lnTo>
                  <a:lnTo>
                    <a:pt x="111" y="187"/>
                  </a:lnTo>
                  <a:lnTo>
                    <a:pt x="113" y="187"/>
                  </a:lnTo>
                  <a:lnTo>
                    <a:pt x="115" y="187"/>
                  </a:lnTo>
                  <a:lnTo>
                    <a:pt x="115" y="187"/>
                  </a:lnTo>
                  <a:lnTo>
                    <a:pt x="113" y="187"/>
                  </a:lnTo>
                  <a:lnTo>
                    <a:pt x="113" y="189"/>
                  </a:lnTo>
                  <a:lnTo>
                    <a:pt x="118" y="187"/>
                  </a:lnTo>
                  <a:lnTo>
                    <a:pt x="124" y="187"/>
                  </a:lnTo>
                  <a:lnTo>
                    <a:pt x="138" y="185"/>
                  </a:lnTo>
                  <a:lnTo>
                    <a:pt x="141" y="183"/>
                  </a:lnTo>
                  <a:close/>
                  <a:moveTo>
                    <a:pt x="151" y="305"/>
                  </a:moveTo>
                  <a:lnTo>
                    <a:pt x="151" y="303"/>
                  </a:lnTo>
                  <a:lnTo>
                    <a:pt x="151" y="303"/>
                  </a:lnTo>
                  <a:lnTo>
                    <a:pt x="149" y="303"/>
                  </a:lnTo>
                  <a:lnTo>
                    <a:pt x="149" y="303"/>
                  </a:lnTo>
                  <a:lnTo>
                    <a:pt x="149" y="303"/>
                  </a:lnTo>
                  <a:lnTo>
                    <a:pt x="149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1" y="305"/>
                  </a:lnTo>
                  <a:lnTo>
                    <a:pt x="153" y="305"/>
                  </a:lnTo>
                  <a:lnTo>
                    <a:pt x="153" y="305"/>
                  </a:lnTo>
                  <a:lnTo>
                    <a:pt x="153" y="305"/>
                  </a:lnTo>
                  <a:lnTo>
                    <a:pt x="151" y="305"/>
                  </a:lnTo>
                  <a:close/>
                  <a:moveTo>
                    <a:pt x="122" y="290"/>
                  </a:moveTo>
                  <a:lnTo>
                    <a:pt x="122" y="290"/>
                  </a:lnTo>
                  <a:lnTo>
                    <a:pt x="122" y="290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8" y="290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18" y="290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22" y="290"/>
                  </a:lnTo>
                  <a:close/>
                  <a:moveTo>
                    <a:pt x="157" y="229"/>
                  </a:moveTo>
                  <a:lnTo>
                    <a:pt x="159" y="229"/>
                  </a:lnTo>
                  <a:lnTo>
                    <a:pt x="159" y="227"/>
                  </a:lnTo>
                  <a:lnTo>
                    <a:pt x="162" y="225"/>
                  </a:lnTo>
                  <a:lnTo>
                    <a:pt x="162" y="223"/>
                  </a:lnTo>
                  <a:lnTo>
                    <a:pt x="162" y="221"/>
                  </a:lnTo>
                  <a:lnTo>
                    <a:pt x="164" y="216"/>
                  </a:lnTo>
                  <a:lnTo>
                    <a:pt x="168" y="204"/>
                  </a:lnTo>
                  <a:lnTo>
                    <a:pt x="168" y="197"/>
                  </a:lnTo>
                  <a:lnTo>
                    <a:pt x="168" y="197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6" y="195"/>
                  </a:lnTo>
                  <a:lnTo>
                    <a:pt x="168" y="193"/>
                  </a:lnTo>
                  <a:lnTo>
                    <a:pt x="168" y="193"/>
                  </a:lnTo>
                  <a:lnTo>
                    <a:pt x="166" y="189"/>
                  </a:lnTo>
                  <a:lnTo>
                    <a:pt x="164" y="189"/>
                  </a:lnTo>
                  <a:lnTo>
                    <a:pt x="164" y="187"/>
                  </a:lnTo>
                  <a:lnTo>
                    <a:pt x="164" y="187"/>
                  </a:lnTo>
                  <a:lnTo>
                    <a:pt x="164" y="187"/>
                  </a:lnTo>
                  <a:lnTo>
                    <a:pt x="159" y="187"/>
                  </a:lnTo>
                  <a:lnTo>
                    <a:pt x="157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3" y="187"/>
                  </a:lnTo>
                  <a:lnTo>
                    <a:pt x="153" y="185"/>
                  </a:lnTo>
                  <a:lnTo>
                    <a:pt x="151" y="185"/>
                  </a:lnTo>
                  <a:lnTo>
                    <a:pt x="149" y="185"/>
                  </a:lnTo>
                  <a:lnTo>
                    <a:pt x="145" y="187"/>
                  </a:lnTo>
                  <a:lnTo>
                    <a:pt x="141" y="189"/>
                  </a:lnTo>
                  <a:lnTo>
                    <a:pt x="130" y="191"/>
                  </a:lnTo>
                  <a:lnTo>
                    <a:pt x="128" y="193"/>
                  </a:lnTo>
                  <a:lnTo>
                    <a:pt x="128" y="195"/>
                  </a:lnTo>
                  <a:lnTo>
                    <a:pt x="130" y="197"/>
                  </a:lnTo>
                  <a:lnTo>
                    <a:pt x="132" y="200"/>
                  </a:lnTo>
                  <a:lnTo>
                    <a:pt x="132" y="202"/>
                  </a:lnTo>
                  <a:lnTo>
                    <a:pt x="132" y="204"/>
                  </a:lnTo>
                  <a:lnTo>
                    <a:pt x="130" y="206"/>
                  </a:lnTo>
                  <a:lnTo>
                    <a:pt x="132" y="206"/>
                  </a:lnTo>
                  <a:lnTo>
                    <a:pt x="132" y="208"/>
                  </a:lnTo>
                  <a:lnTo>
                    <a:pt x="132" y="208"/>
                  </a:lnTo>
                  <a:lnTo>
                    <a:pt x="134" y="208"/>
                  </a:lnTo>
                  <a:lnTo>
                    <a:pt x="134" y="210"/>
                  </a:lnTo>
                  <a:lnTo>
                    <a:pt x="134" y="210"/>
                  </a:lnTo>
                  <a:lnTo>
                    <a:pt x="134" y="212"/>
                  </a:lnTo>
                  <a:lnTo>
                    <a:pt x="136" y="212"/>
                  </a:lnTo>
                  <a:lnTo>
                    <a:pt x="136" y="212"/>
                  </a:lnTo>
                  <a:lnTo>
                    <a:pt x="136" y="212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6" y="214"/>
                  </a:lnTo>
                  <a:lnTo>
                    <a:pt x="136" y="216"/>
                  </a:lnTo>
                  <a:lnTo>
                    <a:pt x="136" y="216"/>
                  </a:lnTo>
                  <a:lnTo>
                    <a:pt x="138" y="218"/>
                  </a:lnTo>
                  <a:lnTo>
                    <a:pt x="138" y="218"/>
                  </a:lnTo>
                  <a:lnTo>
                    <a:pt x="141" y="221"/>
                  </a:lnTo>
                  <a:lnTo>
                    <a:pt x="143" y="223"/>
                  </a:lnTo>
                  <a:lnTo>
                    <a:pt x="145" y="223"/>
                  </a:lnTo>
                  <a:lnTo>
                    <a:pt x="147" y="227"/>
                  </a:lnTo>
                  <a:lnTo>
                    <a:pt x="147" y="227"/>
                  </a:lnTo>
                  <a:lnTo>
                    <a:pt x="149" y="227"/>
                  </a:lnTo>
                  <a:lnTo>
                    <a:pt x="151" y="227"/>
                  </a:lnTo>
                  <a:lnTo>
                    <a:pt x="151" y="225"/>
                  </a:lnTo>
                  <a:lnTo>
                    <a:pt x="153" y="225"/>
                  </a:lnTo>
                  <a:lnTo>
                    <a:pt x="153" y="227"/>
                  </a:lnTo>
                  <a:lnTo>
                    <a:pt x="155" y="229"/>
                  </a:lnTo>
                  <a:lnTo>
                    <a:pt x="157" y="229"/>
                  </a:lnTo>
                  <a:close/>
                  <a:moveTo>
                    <a:pt x="122" y="313"/>
                  </a:moveTo>
                  <a:lnTo>
                    <a:pt x="120" y="313"/>
                  </a:lnTo>
                  <a:lnTo>
                    <a:pt x="120" y="313"/>
                  </a:lnTo>
                  <a:lnTo>
                    <a:pt x="120" y="313"/>
                  </a:lnTo>
                  <a:lnTo>
                    <a:pt x="120" y="313"/>
                  </a:lnTo>
                  <a:lnTo>
                    <a:pt x="122" y="313"/>
                  </a:lnTo>
                  <a:lnTo>
                    <a:pt x="122" y="313"/>
                  </a:lnTo>
                  <a:lnTo>
                    <a:pt x="124" y="313"/>
                  </a:lnTo>
                  <a:lnTo>
                    <a:pt x="124" y="313"/>
                  </a:lnTo>
                  <a:lnTo>
                    <a:pt x="122" y="313"/>
                  </a:lnTo>
                  <a:close/>
                  <a:moveTo>
                    <a:pt x="436" y="462"/>
                  </a:moveTo>
                  <a:lnTo>
                    <a:pt x="434" y="458"/>
                  </a:lnTo>
                  <a:lnTo>
                    <a:pt x="434" y="454"/>
                  </a:lnTo>
                  <a:lnTo>
                    <a:pt x="432" y="452"/>
                  </a:lnTo>
                  <a:lnTo>
                    <a:pt x="432" y="452"/>
                  </a:lnTo>
                  <a:lnTo>
                    <a:pt x="432" y="452"/>
                  </a:lnTo>
                  <a:lnTo>
                    <a:pt x="430" y="452"/>
                  </a:lnTo>
                  <a:lnTo>
                    <a:pt x="430" y="452"/>
                  </a:lnTo>
                  <a:lnTo>
                    <a:pt x="432" y="456"/>
                  </a:lnTo>
                  <a:lnTo>
                    <a:pt x="432" y="458"/>
                  </a:lnTo>
                  <a:lnTo>
                    <a:pt x="432" y="460"/>
                  </a:lnTo>
                  <a:lnTo>
                    <a:pt x="434" y="462"/>
                  </a:lnTo>
                  <a:lnTo>
                    <a:pt x="434" y="464"/>
                  </a:lnTo>
                  <a:lnTo>
                    <a:pt x="436" y="464"/>
                  </a:lnTo>
                  <a:lnTo>
                    <a:pt x="436" y="466"/>
                  </a:lnTo>
                  <a:lnTo>
                    <a:pt x="436" y="466"/>
                  </a:lnTo>
                  <a:lnTo>
                    <a:pt x="436" y="466"/>
                  </a:lnTo>
                  <a:lnTo>
                    <a:pt x="438" y="466"/>
                  </a:lnTo>
                  <a:lnTo>
                    <a:pt x="438" y="464"/>
                  </a:lnTo>
                  <a:lnTo>
                    <a:pt x="436" y="462"/>
                  </a:lnTo>
                  <a:lnTo>
                    <a:pt x="436" y="462"/>
                  </a:lnTo>
                  <a:close/>
                  <a:moveTo>
                    <a:pt x="402" y="500"/>
                  </a:moveTo>
                  <a:lnTo>
                    <a:pt x="400" y="498"/>
                  </a:lnTo>
                  <a:lnTo>
                    <a:pt x="398" y="498"/>
                  </a:lnTo>
                  <a:lnTo>
                    <a:pt x="396" y="498"/>
                  </a:lnTo>
                  <a:lnTo>
                    <a:pt x="392" y="498"/>
                  </a:lnTo>
                  <a:lnTo>
                    <a:pt x="392" y="496"/>
                  </a:lnTo>
                  <a:lnTo>
                    <a:pt x="392" y="496"/>
                  </a:lnTo>
                  <a:lnTo>
                    <a:pt x="390" y="496"/>
                  </a:lnTo>
                  <a:lnTo>
                    <a:pt x="390" y="494"/>
                  </a:lnTo>
                  <a:lnTo>
                    <a:pt x="388" y="494"/>
                  </a:lnTo>
                  <a:lnTo>
                    <a:pt x="388" y="494"/>
                  </a:lnTo>
                  <a:lnTo>
                    <a:pt x="388" y="494"/>
                  </a:lnTo>
                  <a:lnTo>
                    <a:pt x="388" y="494"/>
                  </a:lnTo>
                  <a:lnTo>
                    <a:pt x="381" y="487"/>
                  </a:lnTo>
                  <a:lnTo>
                    <a:pt x="379" y="487"/>
                  </a:lnTo>
                  <a:lnTo>
                    <a:pt x="379" y="490"/>
                  </a:lnTo>
                  <a:lnTo>
                    <a:pt x="379" y="492"/>
                  </a:lnTo>
                  <a:lnTo>
                    <a:pt x="379" y="492"/>
                  </a:lnTo>
                  <a:lnTo>
                    <a:pt x="379" y="494"/>
                  </a:lnTo>
                  <a:lnTo>
                    <a:pt x="381" y="494"/>
                  </a:lnTo>
                  <a:lnTo>
                    <a:pt x="384" y="494"/>
                  </a:lnTo>
                  <a:lnTo>
                    <a:pt x="384" y="496"/>
                  </a:lnTo>
                  <a:lnTo>
                    <a:pt x="384" y="496"/>
                  </a:lnTo>
                  <a:lnTo>
                    <a:pt x="386" y="498"/>
                  </a:lnTo>
                  <a:lnTo>
                    <a:pt x="386" y="498"/>
                  </a:lnTo>
                  <a:lnTo>
                    <a:pt x="390" y="498"/>
                  </a:lnTo>
                  <a:lnTo>
                    <a:pt x="390" y="498"/>
                  </a:lnTo>
                  <a:lnTo>
                    <a:pt x="392" y="500"/>
                  </a:lnTo>
                  <a:lnTo>
                    <a:pt x="392" y="500"/>
                  </a:lnTo>
                  <a:lnTo>
                    <a:pt x="394" y="500"/>
                  </a:lnTo>
                  <a:lnTo>
                    <a:pt x="394" y="500"/>
                  </a:lnTo>
                  <a:lnTo>
                    <a:pt x="396" y="500"/>
                  </a:lnTo>
                  <a:lnTo>
                    <a:pt x="398" y="500"/>
                  </a:lnTo>
                  <a:lnTo>
                    <a:pt x="400" y="500"/>
                  </a:lnTo>
                  <a:lnTo>
                    <a:pt x="400" y="502"/>
                  </a:lnTo>
                  <a:lnTo>
                    <a:pt x="405" y="504"/>
                  </a:lnTo>
                  <a:lnTo>
                    <a:pt x="407" y="506"/>
                  </a:lnTo>
                  <a:lnTo>
                    <a:pt x="409" y="506"/>
                  </a:lnTo>
                  <a:lnTo>
                    <a:pt x="407" y="504"/>
                  </a:lnTo>
                  <a:lnTo>
                    <a:pt x="402" y="500"/>
                  </a:lnTo>
                  <a:close/>
                  <a:moveTo>
                    <a:pt x="321" y="426"/>
                  </a:moveTo>
                  <a:lnTo>
                    <a:pt x="319" y="424"/>
                  </a:lnTo>
                  <a:lnTo>
                    <a:pt x="317" y="422"/>
                  </a:lnTo>
                  <a:lnTo>
                    <a:pt x="317" y="422"/>
                  </a:lnTo>
                  <a:lnTo>
                    <a:pt x="314" y="422"/>
                  </a:lnTo>
                  <a:lnTo>
                    <a:pt x="314" y="422"/>
                  </a:lnTo>
                  <a:lnTo>
                    <a:pt x="312" y="424"/>
                  </a:lnTo>
                  <a:lnTo>
                    <a:pt x="314" y="426"/>
                  </a:lnTo>
                  <a:lnTo>
                    <a:pt x="314" y="426"/>
                  </a:lnTo>
                  <a:lnTo>
                    <a:pt x="317" y="426"/>
                  </a:lnTo>
                  <a:lnTo>
                    <a:pt x="317" y="426"/>
                  </a:lnTo>
                  <a:lnTo>
                    <a:pt x="319" y="429"/>
                  </a:lnTo>
                  <a:lnTo>
                    <a:pt x="319" y="431"/>
                  </a:lnTo>
                  <a:lnTo>
                    <a:pt x="321" y="431"/>
                  </a:lnTo>
                  <a:lnTo>
                    <a:pt x="321" y="433"/>
                  </a:lnTo>
                  <a:lnTo>
                    <a:pt x="323" y="431"/>
                  </a:lnTo>
                  <a:lnTo>
                    <a:pt x="323" y="429"/>
                  </a:lnTo>
                  <a:lnTo>
                    <a:pt x="321" y="429"/>
                  </a:lnTo>
                  <a:lnTo>
                    <a:pt x="321" y="426"/>
                  </a:lnTo>
                  <a:close/>
                  <a:moveTo>
                    <a:pt x="220" y="349"/>
                  </a:moveTo>
                  <a:lnTo>
                    <a:pt x="216" y="349"/>
                  </a:lnTo>
                  <a:lnTo>
                    <a:pt x="216" y="351"/>
                  </a:lnTo>
                  <a:lnTo>
                    <a:pt x="214" y="351"/>
                  </a:lnTo>
                  <a:lnTo>
                    <a:pt x="216" y="351"/>
                  </a:lnTo>
                  <a:lnTo>
                    <a:pt x="216" y="351"/>
                  </a:lnTo>
                  <a:lnTo>
                    <a:pt x="218" y="351"/>
                  </a:lnTo>
                  <a:lnTo>
                    <a:pt x="220" y="349"/>
                  </a:lnTo>
                  <a:lnTo>
                    <a:pt x="222" y="347"/>
                  </a:lnTo>
                  <a:lnTo>
                    <a:pt x="220" y="347"/>
                  </a:lnTo>
                  <a:lnTo>
                    <a:pt x="220" y="349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2" name="Freeform 104">
              <a:extLst>
                <a:ext uri="{FF2B5EF4-FFF2-40B4-BE49-F238E27FC236}">
                  <a16:creationId xmlns:a16="http://schemas.microsoft.com/office/drawing/2014/main" id="{1A705DFD-CE94-4B10-B965-BB29287C05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03728" y="1139840"/>
              <a:ext cx="758429" cy="952500"/>
            </a:xfrm>
            <a:custGeom>
              <a:avLst/>
              <a:gdLst>
                <a:gd name="T0" fmla="*/ 151 w 637"/>
                <a:gd name="T1" fmla="*/ 48 h 800"/>
                <a:gd name="T2" fmla="*/ 201 w 637"/>
                <a:gd name="T3" fmla="*/ 44 h 800"/>
                <a:gd name="T4" fmla="*/ 174 w 637"/>
                <a:gd name="T5" fmla="*/ 23 h 800"/>
                <a:gd name="T6" fmla="*/ 128 w 637"/>
                <a:gd name="T7" fmla="*/ 6 h 800"/>
                <a:gd name="T8" fmla="*/ 147 w 637"/>
                <a:gd name="T9" fmla="*/ 218 h 800"/>
                <a:gd name="T10" fmla="*/ 143 w 637"/>
                <a:gd name="T11" fmla="*/ 220 h 800"/>
                <a:gd name="T12" fmla="*/ 149 w 637"/>
                <a:gd name="T13" fmla="*/ 111 h 800"/>
                <a:gd name="T14" fmla="*/ 258 w 637"/>
                <a:gd name="T15" fmla="*/ 115 h 800"/>
                <a:gd name="T16" fmla="*/ 115 w 637"/>
                <a:gd name="T17" fmla="*/ 92 h 800"/>
                <a:gd name="T18" fmla="*/ 134 w 637"/>
                <a:gd name="T19" fmla="*/ 101 h 800"/>
                <a:gd name="T20" fmla="*/ 172 w 637"/>
                <a:gd name="T21" fmla="*/ 113 h 800"/>
                <a:gd name="T22" fmla="*/ 197 w 637"/>
                <a:gd name="T23" fmla="*/ 117 h 800"/>
                <a:gd name="T24" fmla="*/ 231 w 637"/>
                <a:gd name="T25" fmla="*/ 117 h 800"/>
                <a:gd name="T26" fmla="*/ 224 w 637"/>
                <a:gd name="T27" fmla="*/ 105 h 800"/>
                <a:gd name="T28" fmla="*/ 201 w 637"/>
                <a:gd name="T29" fmla="*/ 124 h 800"/>
                <a:gd name="T30" fmla="*/ 637 w 637"/>
                <a:gd name="T31" fmla="*/ 695 h 800"/>
                <a:gd name="T32" fmla="*/ 624 w 637"/>
                <a:gd name="T33" fmla="*/ 571 h 800"/>
                <a:gd name="T34" fmla="*/ 633 w 637"/>
                <a:gd name="T35" fmla="*/ 550 h 800"/>
                <a:gd name="T36" fmla="*/ 637 w 637"/>
                <a:gd name="T37" fmla="*/ 411 h 800"/>
                <a:gd name="T38" fmla="*/ 614 w 637"/>
                <a:gd name="T39" fmla="*/ 187 h 800"/>
                <a:gd name="T40" fmla="*/ 581 w 637"/>
                <a:gd name="T41" fmla="*/ 170 h 800"/>
                <a:gd name="T42" fmla="*/ 549 w 637"/>
                <a:gd name="T43" fmla="*/ 164 h 800"/>
                <a:gd name="T44" fmla="*/ 390 w 637"/>
                <a:gd name="T45" fmla="*/ 103 h 800"/>
                <a:gd name="T46" fmla="*/ 306 w 637"/>
                <a:gd name="T47" fmla="*/ 96 h 800"/>
                <a:gd name="T48" fmla="*/ 279 w 637"/>
                <a:gd name="T49" fmla="*/ 140 h 800"/>
                <a:gd name="T50" fmla="*/ 226 w 637"/>
                <a:gd name="T51" fmla="*/ 153 h 800"/>
                <a:gd name="T52" fmla="*/ 199 w 637"/>
                <a:gd name="T53" fmla="*/ 159 h 800"/>
                <a:gd name="T54" fmla="*/ 168 w 637"/>
                <a:gd name="T55" fmla="*/ 199 h 800"/>
                <a:gd name="T56" fmla="*/ 145 w 637"/>
                <a:gd name="T57" fmla="*/ 229 h 800"/>
                <a:gd name="T58" fmla="*/ 107 w 637"/>
                <a:gd name="T59" fmla="*/ 260 h 800"/>
                <a:gd name="T60" fmla="*/ 61 w 637"/>
                <a:gd name="T61" fmla="*/ 245 h 800"/>
                <a:gd name="T62" fmla="*/ 51 w 637"/>
                <a:gd name="T63" fmla="*/ 222 h 800"/>
                <a:gd name="T64" fmla="*/ 61 w 637"/>
                <a:gd name="T65" fmla="*/ 342 h 800"/>
                <a:gd name="T66" fmla="*/ 141 w 637"/>
                <a:gd name="T67" fmla="*/ 365 h 800"/>
                <a:gd name="T68" fmla="*/ 206 w 637"/>
                <a:gd name="T69" fmla="*/ 384 h 800"/>
                <a:gd name="T70" fmla="*/ 258 w 637"/>
                <a:gd name="T71" fmla="*/ 399 h 800"/>
                <a:gd name="T72" fmla="*/ 283 w 637"/>
                <a:gd name="T73" fmla="*/ 409 h 800"/>
                <a:gd name="T74" fmla="*/ 306 w 637"/>
                <a:gd name="T75" fmla="*/ 422 h 800"/>
                <a:gd name="T76" fmla="*/ 327 w 637"/>
                <a:gd name="T77" fmla="*/ 432 h 800"/>
                <a:gd name="T78" fmla="*/ 358 w 637"/>
                <a:gd name="T79" fmla="*/ 458 h 800"/>
                <a:gd name="T80" fmla="*/ 361 w 637"/>
                <a:gd name="T81" fmla="*/ 466 h 800"/>
                <a:gd name="T82" fmla="*/ 379 w 637"/>
                <a:gd name="T83" fmla="*/ 481 h 800"/>
                <a:gd name="T84" fmla="*/ 392 w 637"/>
                <a:gd name="T85" fmla="*/ 523 h 800"/>
                <a:gd name="T86" fmla="*/ 428 w 637"/>
                <a:gd name="T87" fmla="*/ 577 h 800"/>
                <a:gd name="T88" fmla="*/ 453 w 637"/>
                <a:gd name="T89" fmla="*/ 592 h 800"/>
                <a:gd name="T90" fmla="*/ 425 w 637"/>
                <a:gd name="T91" fmla="*/ 611 h 800"/>
                <a:gd name="T92" fmla="*/ 469 w 637"/>
                <a:gd name="T93" fmla="*/ 619 h 800"/>
                <a:gd name="T94" fmla="*/ 438 w 637"/>
                <a:gd name="T95" fmla="*/ 632 h 800"/>
                <a:gd name="T96" fmla="*/ 442 w 637"/>
                <a:gd name="T97" fmla="*/ 685 h 800"/>
                <a:gd name="T98" fmla="*/ 446 w 637"/>
                <a:gd name="T99" fmla="*/ 722 h 800"/>
                <a:gd name="T100" fmla="*/ 474 w 637"/>
                <a:gd name="T101" fmla="*/ 693 h 800"/>
                <a:gd name="T102" fmla="*/ 522 w 637"/>
                <a:gd name="T103" fmla="*/ 706 h 800"/>
                <a:gd name="T104" fmla="*/ 549 w 637"/>
                <a:gd name="T105" fmla="*/ 703 h 800"/>
                <a:gd name="T106" fmla="*/ 631 w 637"/>
                <a:gd name="T107" fmla="*/ 798 h 800"/>
                <a:gd name="T108" fmla="*/ 440 w 637"/>
                <a:gd name="T109" fmla="*/ 697 h 800"/>
                <a:gd name="T110" fmla="*/ 432 w 637"/>
                <a:gd name="T111" fmla="*/ 636 h 800"/>
                <a:gd name="T112" fmla="*/ 331 w 637"/>
                <a:gd name="T113" fmla="*/ 703 h 800"/>
                <a:gd name="T114" fmla="*/ 415 w 637"/>
                <a:gd name="T115" fmla="*/ 718 h 800"/>
                <a:gd name="T116" fmla="*/ 417 w 637"/>
                <a:gd name="T117" fmla="*/ 731 h 800"/>
                <a:gd name="T118" fmla="*/ 425 w 637"/>
                <a:gd name="T119" fmla="*/ 580 h 800"/>
                <a:gd name="T120" fmla="*/ 71 w 637"/>
                <a:gd name="T121" fmla="*/ 40 h 800"/>
                <a:gd name="T122" fmla="*/ 55 w 637"/>
                <a:gd name="T123" fmla="*/ 33 h 800"/>
                <a:gd name="T124" fmla="*/ 82 w 637"/>
                <a:gd name="T125" fmla="*/ 84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37" h="800">
                  <a:moveTo>
                    <a:pt x="113" y="12"/>
                  </a:moveTo>
                  <a:lnTo>
                    <a:pt x="115" y="16"/>
                  </a:lnTo>
                  <a:lnTo>
                    <a:pt x="120" y="16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8" y="12"/>
                  </a:lnTo>
                  <a:lnTo>
                    <a:pt x="132" y="25"/>
                  </a:lnTo>
                  <a:lnTo>
                    <a:pt x="134" y="25"/>
                  </a:lnTo>
                  <a:lnTo>
                    <a:pt x="136" y="23"/>
                  </a:lnTo>
                  <a:lnTo>
                    <a:pt x="139" y="21"/>
                  </a:lnTo>
                  <a:lnTo>
                    <a:pt x="141" y="19"/>
                  </a:lnTo>
                  <a:lnTo>
                    <a:pt x="143" y="19"/>
                  </a:lnTo>
                  <a:lnTo>
                    <a:pt x="145" y="21"/>
                  </a:lnTo>
                  <a:lnTo>
                    <a:pt x="147" y="23"/>
                  </a:lnTo>
                  <a:lnTo>
                    <a:pt x="149" y="33"/>
                  </a:lnTo>
                  <a:lnTo>
                    <a:pt x="149" y="35"/>
                  </a:lnTo>
                  <a:lnTo>
                    <a:pt x="149" y="37"/>
                  </a:lnTo>
                  <a:lnTo>
                    <a:pt x="149" y="37"/>
                  </a:lnTo>
                  <a:lnTo>
                    <a:pt x="151" y="40"/>
                  </a:lnTo>
                  <a:lnTo>
                    <a:pt x="151" y="40"/>
                  </a:lnTo>
                  <a:lnTo>
                    <a:pt x="151" y="46"/>
                  </a:lnTo>
                  <a:lnTo>
                    <a:pt x="151" y="48"/>
                  </a:lnTo>
                  <a:lnTo>
                    <a:pt x="153" y="50"/>
                  </a:lnTo>
                  <a:lnTo>
                    <a:pt x="153" y="52"/>
                  </a:lnTo>
                  <a:lnTo>
                    <a:pt x="155" y="52"/>
                  </a:lnTo>
                  <a:lnTo>
                    <a:pt x="157" y="54"/>
                  </a:lnTo>
                  <a:lnTo>
                    <a:pt x="159" y="52"/>
                  </a:lnTo>
                  <a:lnTo>
                    <a:pt x="164" y="52"/>
                  </a:lnTo>
                  <a:lnTo>
                    <a:pt x="166" y="52"/>
                  </a:lnTo>
                  <a:lnTo>
                    <a:pt x="170" y="52"/>
                  </a:lnTo>
                  <a:lnTo>
                    <a:pt x="176" y="56"/>
                  </a:lnTo>
                  <a:lnTo>
                    <a:pt x="180" y="56"/>
                  </a:lnTo>
                  <a:lnTo>
                    <a:pt x="183" y="56"/>
                  </a:lnTo>
                  <a:lnTo>
                    <a:pt x="185" y="56"/>
                  </a:lnTo>
                  <a:lnTo>
                    <a:pt x="187" y="54"/>
                  </a:lnTo>
                  <a:lnTo>
                    <a:pt x="187" y="54"/>
                  </a:lnTo>
                  <a:lnTo>
                    <a:pt x="189" y="54"/>
                  </a:lnTo>
                  <a:lnTo>
                    <a:pt x="195" y="52"/>
                  </a:lnTo>
                  <a:lnTo>
                    <a:pt x="199" y="50"/>
                  </a:lnTo>
                  <a:lnTo>
                    <a:pt x="199" y="48"/>
                  </a:lnTo>
                  <a:lnTo>
                    <a:pt x="201" y="48"/>
                  </a:lnTo>
                  <a:lnTo>
                    <a:pt x="203" y="48"/>
                  </a:lnTo>
                  <a:lnTo>
                    <a:pt x="203" y="46"/>
                  </a:lnTo>
                  <a:lnTo>
                    <a:pt x="201" y="44"/>
                  </a:lnTo>
                  <a:lnTo>
                    <a:pt x="197" y="44"/>
                  </a:lnTo>
                  <a:lnTo>
                    <a:pt x="195" y="42"/>
                  </a:lnTo>
                  <a:lnTo>
                    <a:pt x="195" y="40"/>
                  </a:lnTo>
                  <a:lnTo>
                    <a:pt x="193" y="40"/>
                  </a:lnTo>
                  <a:lnTo>
                    <a:pt x="191" y="40"/>
                  </a:lnTo>
                  <a:lnTo>
                    <a:pt x="189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5" y="42"/>
                  </a:lnTo>
                  <a:lnTo>
                    <a:pt x="185" y="40"/>
                  </a:lnTo>
                  <a:lnTo>
                    <a:pt x="183" y="37"/>
                  </a:lnTo>
                  <a:lnTo>
                    <a:pt x="183" y="35"/>
                  </a:lnTo>
                  <a:lnTo>
                    <a:pt x="180" y="35"/>
                  </a:lnTo>
                  <a:lnTo>
                    <a:pt x="178" y="33"/>
                  </a:lnTo>
                  <a:lnTo>
                    <a:pt x="178" y="31"/>
                  </a:lnTo>
                  <a:lnTo>
                    <a:pt x="178" y="31"/>
                  </a:lnTo>
                  <a:lnTo>
                    <a:pt x="176" y="29"/>
                  </a:lnTo>
                  <a:lnTo>
                    <a:pt x="176" y="29"/>
                  </a:lnTo>
                  <a:lnTo>
                    <a:pt x="176" y="27"/>
                  </a:lnTo>
                  <a:lnTo>
                    <a:pt x="174" y="27"/>
                  </a:lnTo>
                  <a:lnTo>
                    <a:pt x="174" y="27"/>
                  </a:lnTo>
                  <a:lnTo>
                    <a:pt x="174" y="23"/>
                  </a:lnTo>
                  <a:lnTo>
                    <a:pt x="172" y="21"/>
                  </a:lnTo>
                  <a:lnTo>
                    <a:pt x="164" y="16"/>
                  </a:lnTo>
                  <a:lnTo>
                    <a:pt x="157" y="10"/>
                  </a:lnTo>
                  <a:lnTo>
                    <a:pt x="155" y="8"/>
                  </a:lnTo>
                  <a:lnTo>
                    <a:pt x="153" y="6"/>
                  </a:lnTo>
                  <a:lnTo>
                    <a:pt x="151" y="8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7" y="10"/>
                  </a:lnTo>
                  <a:lnTo>
                    <a:pt x="147" y="12"/>
                  </a:lnTo>
                  <a:lnTo>
                    <a:pt x="145" y="10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39" y="10"/>
                  </a:lnTo>
                  <a:lnTo>
                    <a:pt x="139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0" y="6"/>
                  </a:lnTo>
                  <a:lnTo>
                    <a:pt x="128" y="6"/>
                  </a:lnTo>
                  <a:lnTo>
                    <a:pt x="128" y="4"/>
                  </a:lnTo>
                  <a:lnTo>
                    <a:pt x="126" y="6"/>
                  </a:lnTo>
                  <a:lnTo>
                    <a:pt x="124" y="6"/>
                  </a:lnTo>
                  <a:lnTo>
                    <a:pt x="120" y="4"/>
                  </a:lnTo>
                  <a:lnTo>
                    <a:pt x="118" y="4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5" y="2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1" y="2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07" y="2"/>
                  </a:lnTo>
                  <a:lnTo>
                    <a:pt x="107" y="4"/>
                  </a:lnTo>
                  <a:lnTo>
                    <a:pt x="109" y="10"/>
                  </a:lnTo>
                  <a:lnTo>
                    <a:pt x="113" y="12"/>
                  </a:lnTo>
                  <a:close/>
                  <a:moveTo>
                    <a:pt x="145" y="220"/>
                  </a:moveTo>
                  <a:lnTo>
                    <a:pt x="147" y="218"/>
                  </a:lnTo>
                  <a:lnTo>
                    <a:pt x="147" y="218"/>
                  </a:lnTo>
                  <a:lnTo>
                    <a:pt x="147" y="218"/>
                  </a:lnTo>
                  <a:lnTo>
                    <a:pt x="147" y="218"/>
                  </a:lnTo>
                  <a:lnTo>
                    <a:pt x="147" y="218"/>
                  </a:lnTo>
                  <a:lnTo>
                    <a:pt x="149" y="218"/>
                  </a:lnTo>
                  <a:lnTo>
                    <a:pt x="147" y="218"/>
                  </a:lnTo>
                  <a:lnTo>
                    <a:pt x="147" y="218"/>
                  </a:lnTo>
                  <a:lnTo>
                    <a:pt x="145" y="218"/>
                  </a:lnTo>
                  <a:lnTo>
                    <a:pt x="145" y="218"/>
                  </a:lnTo>
                  <a:lnTo>
                    <a:pt x="143" y="218"/>
                  </a:lnTo>
                  <a:lnTo>
                    <a:pt x="143" y="218"/>
                  </a:lnTo>
                  <a:lnTo>
                    <a:pt x="141" y="218"/>
                  </a:lnTo>
                  <a:lnTo>
                    <a:pt x="141" y="218"/>
                  </a:lnTo>
                  <a:lnTo>
                    <a:pt x="141" y="218"/>
                  </a:lnTo>
                  <a:lnTo>
                    <a:pt x="139" y="220"/>
                  </a:lnTo>
                  <a:lnTo>
                    <a:pt x="139" y="220"/>
                  </a:lnTo>
                  <a:lnTo>
                    <a:pt x="141" y="222"/>
                  </a:lnTo>
                  <a:lnTo>
                    <a:pt x="141" y="222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3" y="220"/>
                  </a:lnTo>
                  <a:lnTo>
                    <a:pt x="145" y="220"/>
                  </a:lnTo>
                  <a:close/>
                  <a:moveTo>
                    <a:pt x="185" y="61"/>
                  </a:move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7" y="61"/>
                  </a:lnTo>
                  <a:lnTo>
                    <a:pt x="189" y="58"/>
                  </a:lnTo>
                  <a:lnTo>
                    <a:pt x="189" y="58"/>
                  </a:lnTo>
                  <a:lnTo>
                    <a:pt x="187" y="58"/>
                  </a:lnTo>
                  <a:lnTo>
                    <a:pt x="187" y="58"/>
                  </a:lnTo>
                  <a:lnTo>
                    <a:pt x="185" y="58"/>
                  </a:lnTo>
                  <a:lnTo>
                    <a:pt x="185" y="61"/>
                  </a:lnTo>
                  <a:lnTo>
                    <a:pt x="185" y="61"/>
                  </a:lnTo>
                  <a:lnTo>
                    <a:pt x="185" y="61"/>
                  </a:lnTo>
                  <a:close/>
                  <a:moveTo>
                    <a:pt x="149" y="111"/>
                  </a:moveTo>
                  <a:lnTo>
                    <a:pt x="149" y="111"/>
                  </a:lnTo>
                  <a:lnTo>
                    <a:pt x="149" y="111"/>
                  </a:lnTo>
                  <a:lnTo>
                    <a:pt x="149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9" y="111"/>
                  </a:lnTo>
                  <a:lnTo>
                    <a:pt x="149" y="109"/>
                  </a:lnTo>
                  <a:lnTo>
                    <a:pt x="149" y="109"/>
                  </a:lnTo>
                  <a:lnTo>
                    <a:pt x="147" y="109"/>
                  </a:lnTo>
                  <a:lnTo>
                    <a:pt x="147" y="111"/>
                  </a:lnTo>
                  <a:lnTo>
                    <a:pt x="147" y="111"/>
                  </a:lnTo>
                  <a:lnTo>
                    <a:pt x="147" y="111"/>
                  </a:lnTo>
                  <a:lnTo>
                    <a:pt x="149" y="113"/>
                  </a:lnTo>
                  <a:lnTo>
                    <a:pt x="149" y="111"/>
                  </a:lnTo>
                  <a:close/>
                  <a:moveTo>
                    <a:pt x="258" y="115"/>
                  </a:moveTo>
                  <a:lnTo>
                    <a:pt x="262" y="115"/>
                  </a:lnTo>
                  <a:lnTo>
                    <a:pt x="262" y="115"/>
                  </a:lnTo>
                  <a:lnTo>
                    <a:pt x="266" y="117"/>
                  </a:lnTo>
                  <a:lnTo>
                    <a:pt x="266" y="117"/>
                  </a:lnTo>
                  <a:lnTo>
                    <a:pt x="266" y="115"/>
                  </a:lnTo>
                  <a:lnTo>
                    <a:pt x="266" y="115"/>
                  </a:lnTo>
                  <a:lnTo>
                    <a:pt x="266" y="115"/>
                  </a:lnTo>
                  <a:lnTo>
                    <a:pt x="264" y="113"/>
                  </a:lnTo>
                  <a:lnTo>
                    <a:pt x="262" y="113"/>
                  </a:lnTo>
                  <a:lnTo>
                    <a:pt x="262" y="113"/>
                  </a:lnTo>
                  <a:lnTo>
                    <a:pt x="258" y="113"/>
                  </a:lnTo>
                  <a:lnTo>
                    <a:pt x="258" y="113"/>
                  </a:lnTo>
                  <a:lnTo>
                    <a:pt x="258" y="115"/>
                  </a:lnTo>
                  <a:lnTo>
                    <a:pt x="258" y="115"/>
                  </a:lnTo>
                  <a:close/>
                  <a:moveTo>
                    <a:pt x="199" y="103"/>
                  </a:moveTo>
                  <a:lnTo>
                    <a:pt x="197" y="101"/>
                  </a:lnTo>
                  <a:lnTo>
                    <a:pt x="195" y="101"/>
                  </a:lnTo>
                  <a:lnTo>
                    <a:pt x="195" y="101"/>
                  </a:lnTo>
                  <a:lnTo>
                    <a:pt x="191" y="101"/>
                  </a:lnTo>
                  <a:lnTo>
                    <a:pt x="191" y="101"/>
                  </a:lnTo>
                  <a:lnTo>
                    <a:pt x="191" y="98"/>
                  </a:lnTo>
                  <a:lnTo>
                    <a:pt x="189" y="98"/>
                  </a:lnTo>
                  <a:lnTo>
                    <a:pt x="189" y="98"/>
                  </a:lnTo>
                  <a:lnTo>
                    <a:pt x="185" y="96"/>
                  </a:lnTo>
                  <a:lnTo>
                    <a:pt x="176" y="96"/>
                  </a:lnTo>
                  <a:lnTo>
                    <a:pt x="172" y="96"/>
                  </a:lnTo>
                  <a:lnTo>
                    <a:pt x="170" y="96"/>
                  </a:lnTo>
                  <a:lnTo>
                    <a:pt x="164" y="94"/>
                  </a:lnTo>
                  <a:lnTo>
                    <a:pt x="157" y="96"/>
                  </a:lnTo>
                  <a:lnTo>
                    <a:pt x="153" y="96"/>
                  </a:lnTo>
                  <a:lnTo>
                    <a:pt x="147" y="94"/>
                  </a:lnTo>
                  <a:lnTo>
                    <a:pt x="128" y="94"/>
                  </a:lnTo>
                  <a:lnTo>
                    <a:pt x="118" y="90"/>
                  </a:lnTo>
                  <a:lnTo>
                    <a:pt x="115" y="90"/>
                  </a:lnTo>
                  <a:lnTo>
                    <a:pt x="115" y="92"/>
                  </a:lnTo>
                  <a:lnTo>
                    <a:pt x="115" y="92"/>
                  </a:lnTo>
                  <a:lnTo>
                    <a:pt x="113" y="92"/>
                  </a:lnTo>
                  <a:lnTo>
                    <a:pt x="113" y="92"/>
                  </a:lnTo>
                  <a:lnTo>
                    <a:pt x="113" y="94"/>
                  </a:lnTo>
                  <a:lnTo>
                    <a:pt x="113" y="94"/>
                  </a:lnTo>
                  <a:lnTo>
                    <a:pt x="113" y="94"/>
                  </a:lnTo>
                  <a:lnTo>
                    <a:pt x="113" y="94"/>
                  </a:lnTo>
                  <a:lnTo>
                    <a:pt x="113" y="96"/>
                  </a:lnTo>
                  <a:lnTo>
                    <a:pt x="115" y="96"/>
                  </a:lnTo>
                  <a:lnTo>
                    <a:pt x="118" y="96"/>
                  </a:lnTo>
                  <a:lnTo>
                    <a:pt x="118" y="96"/>
                  </a:lnTo>
                  <a:lnTo>
                    <a:pt x="118" y="96"/>
                  </a:lnTo>
                  <a:lnTo>
                    <a:pt x="118" y="98"/>
                  </a:lnTo>
                  <a:lnTo>
                    <a:pt x="118" y="98"/>
                  </a:lnTo>
                  <a:lnTo>
                    <a:pt x="120" y="101"/>
                  </a:lnTo>
                  <a:lnTo>
                    <a:pt x="122" y="101"/>
                  </a:lnTo>
                  <a:lnTo>
                    <a:pt x="124" y="101"/>
                  </a:lnTo>
                  <a:lnTo>
                    <a:pt x="128" y="101"/>
                  </a:lnTo>
                  <a:lnTo>
                    <a:pt x="130" y="101"/>
                  </a:lnTo>
                  <a:lnTo>
                    <a:pt x="130" y="103"/>
                  </a:lnTo>
                  <a:lnTo>
                    <a:pt x="132" y="101"/>
                  </a:lnTo>
                  <a:lnTo>
                    <a:pt x="134" y="101"/>
                  </a:lnTo>
                  <a:lnTo>
                    <a:pt x="134" y="101"/>
                  </a:lnTo>
                  <a:lnTo>
                    <a:pt x="136" y="101"/>
                  </a:lnTo>
                  <a:lnTo>
                    <a:pt x="136" y="103"/>
                  </a:lnTo>
                  <a:lnTo>
                    <a:pt x="139" y="103"/>
                  </a:lnTo>
                  <a:lnTo>
                    <a:pt x="139" y="103"/>
                  </a:lnTo>
                  <a:lnTo>
                    <a:pt x="141" y="103"/>
                  </a:lnTo>
                  <a:lnTo>
                    <a:pt x="141" y="103"/>
                  </a:lnTo>
                  <a:lnTo>
                    <a:pt x="143" y="103"/>
                  </a:lnTo>
                  <a:lnTo>
                    <a:pt x="143" y="103"/>
                  </a:lnTo>
                  <a:lnTo>
                    <a:pt x="147" y="105"/>
                  </a:lnTo>
                  <a:lnTo>
                    <a:pt x="149" y="105"/>
                  </a:lnTo>
                  <a:lnTo>
                    <a:pt x="151" y="107"/>
                  </a:lnTo>
                  <a:lnTo>
                    <a:pt x="155" y="107"/>
                  </a:lnTo>
                  <a:lnTo>
                    <a:pt x="157" y="107"/>
                  </a:lnTo>
                  <a:lnTo>
                    <a:pt x="157" y="107"/>
                  </a:lnTo>
                  <a:lnTo>
                    <a:pt x="159" y="109"/>
                  </a:lnTo>
                  <a:lnTo>
                    <a:pt x="164" y="109"/>
                  </a:lnTo>
                  <a:lnTo>
                    <a:pt x="166" y="111"/>
                  </a:lnTo>
                  <a:lnTo>
                    <a:pt x="166" y="111"/>
                  </a:lnTo>
                  <a:lnTo>
                    <a:pt x="168" y="113"/>
                  </a:lnTo>
                  <a:lnTo>
                    <a:pt x="170" y="113"/>
                  </a:lnTo>
                  <a:lnTo>
                    <a:pt x="172" y="113"/>
                  </a:lnTo>
                  <a:lnTo>
                    <a:pt x="172" y="113"/>
                  </a:lnTo>
                  <a:lnTo>
                    <a:pt x="174" y="115"/>
                  </a:lnTo>
                  <a:lnTo>
                    <a:pt x="174" y="115"/>
                  </a:lnTo>
                  <a:lnTo>
                    <a:pt x="176" y="115"/>
                  </a:lnTo>
                  <a:lnTo>
                    <a:pt x="176" y="115"/>
                  </a:lnTo>
                  <a:lnTo>
                    <a:pt x="185" y="115"/>
                  </a:lnTo>
                  <a:lnTo>
                    <a:pt x="187" y="117"/>
                  </a:lnTo>
                  <a:lnTo>
                    <a:pt x="189" y="119"/>
                  </a:lnTo>
                  <a:lnTo>
                    <a:pt x="189" y="119"/>
                  </a:lnTo>
                  <a:lnTo>
                    <a:pt x="191" y="119"/>
                  </a:lnTo>
                  <a:lnTo>
                    <a:pt x="191" y="119"/>
                  </a:lnTo>
                  <a:lnTo>
                    <a:pt x="193" y="122"/>
                  </a:lnTo>
                  <a:lnTo>
                    <a:pt x="193" y="122"/>
                  </a:lnTo>
                  <a:lnTo>
                    <a:pt x="193" y="119"/>
                  </a:lnTo>
                  <a:lnTo>
                    <a:pt x="193" y="119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5" y="117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197" y="117"/>
                  </a:lnTo>
                  <a:lnTo>
                    <a:pt x="199" y="117"/>
                  </a:lnTo>
                  <a:lnTo>
                    <a:pt x="199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6" y="117"/>
                  </a:lnTo>
                  <a:lnTo>
                    <a:pt x="210" y="119"/>
                  </a:lnTo>
                  <a:lnTo>
                    <a:pt x="210" y="119"/>
                  </a:lnTo>
                  <a:lnTo>
                    <a:pt x="212" y="119"/>
                  </a:lnTo>
                  <a:lnTo>
                    <a:pt x="212" y="119"/>
                  </a:lnTo>
                  <a:lnTo>
                    <a:pt x="214" y="119"/>
                  </a:lnTo>
                  <a:lnTo>
                    <a:pt x="214" y="119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8" y="119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18" y="117"/>
                  </a:lnTo>
                  <a:lnTo>
                    <a:pt x="229" y="117"/>
                  </a:lnTo>
                  <a:lnTo>
                    <a:pt x="229" y="117"/>
                  </a:lnTo>
                  <a:lnTo>
                    <a:pt x="231" y="117"/>
                  </a:lnTo>
                  <a:lnTo>
                    <a:pt x="231" y="117"/>
                  </a:lnTo>
                  <a:lnTo>
                    <a:pt x="231" y="115"/>
                  </a:lnTo>
                  <a:lnTo>
                    <a:pt x="233" y="115"/>
                  </a:lnTo>
                  <a:lnTo>
                    <a:pt x="235" y="115"/>
                  </a:lnTo>
                  <a:lnTo>
                    <a:pt x="235" y="115"/>
                  </a:lnTo>
                  <a:lnTo>
                    <a:pt x="235" y="113"/>
                  </a:lnTo>
                  <a:lnTo>
                    <a:pt x="235" y="113"/>
                  </a:lnTo>
                  <a:lnTo>
                    <a:pt x="239" y="113"/>
                  </a:lnTo>
                  <a:lnTo>
                    <a:pt x="241" y="113"/>
                  </a:lnTo>
                  <a:lnTo>
                    <a:pt x="250" y="113"/>
                  </a:lnTo>
                  <a:lnTo>
                    <a:pt x="250" y="113"/>
                  </a:lnTo>
                  <a:lnTo>
                    <a:pt x="252" y="111"/>
                  </a:lnTo>
                  <a:lnTo>
                    <a:pt x="252" y="111"/>
                  </a:lnTo>
                  <a:lnTo>
                    <a:pt x="252" y="111"/>
                  </a:lnTo>
                  <a:lnTo>
                    <a:pt x="247" y="107"/>
                  </a:lnTo>
                  <a:lnTo>
                    <a:pt x="245" y="107"/>
                  </a:lnTo>
                  <a:lnTo>
                    <a:pt x="243" y="107"/>
                  </a:lnTo>
                  <a:lnTo>
                    <a:pt x="241" y="107"/>
                  </a:lnTo>
                  <a:lnTo>
                    <a:pt x="239" y="107"/>
                  </a:lnTo>
                  <a:lnTo>
                    <a:pt x="235" y="105"/>
                  </a:lnTo>
                  <a:lnTo>
                    <a:pt x="233" y="105"/>
                  </a:lnTo>
                  <a:lnTo>
                    <a:pt x="224" y="105"/>
                  </a:lnTo>
                  <a:lnTo>
                    <a:pt x="210" y="103"/>
                  </a:lnTo>
                  <a:lnTo>
                    <a:pt x="203" y="105"/>
                  </a:lnTo>
                  <a:lnTo>
                    <a:pt x="201" y="103"/>
                  </a:lnTo>
                  <a:lnTo>
                    <a:pt x="199" y="103"/>
                  </a:lnTo>
                  <a:close/>
                  <a:moveTo>
                    <a:pt x="222" y="58"/>
                  </a:moveTo>
                  <a:lnTo>
                    <a:pt x="222" y="58"/>
                  </a:lnTo>
                  <a:lnTo>
                    <a:pt x="224" y="58"/>
                  </a:lnTo>
                  <a:lnTo>
                    <a:pt x="224" y="58"/>
                  </a:lnTo>
                  <a:lnTo>
                    <a:pt x="224" y="58"/>
                  </a:lnTo>
                  <a:lnTo>
                    <a:pt x="224" y="56"/>
                  </a:lnTo>
                  <a:lnTo>
                    <a:pt x="224" y="56"/>
                  </a:lnTo>
                  <a:lnTo>
                    <a:pt x="224" y="54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0" y="54"/>
                  </a:lnTo>
                  <a:lnTo>
                    <a:pt x="220" y="54"/>
                  </a:lnTo>
                  <a:lnTo>
                    <a:pt x="220" y="56"/>
                  </a:lnTo>
                  <a:lnTo>
                    <a:pt x="222" y="58"/>
                  </a:lnTo>
                  <a:close/>
                  <a:moveTo>
                    <a:pt x="201" y="124"/>
                  </a:moveTo>
                  <a:lnTo>
                    <a:pt x="201" y="124"/>
                  </a:lnTo>
                  <a:lnTo>
                    <a:pt x="201" y="124"/>
                  </a:lnTo>
                  <a:lnTo>
                    <a:pt x="201" y="124"/>
                  </a:lnTo>
                  <a:lnTo>
                    <a:pt x="201" y="122"/>
                  </a:lnTo>
                  <a:lnTo>
                    <a:pt x="201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9" y="124"/>
                  </a:lnTo>
                  <a:lnTo>
                    <a:pt x="199" y="124"/>
                  </a:lnTo>
                  <a:lnTo>
                    <a:pt x="197" y="124"/>
                  </a:lnTo>
                  <a:lnTo>
                    <a:pt x="199" y="124"/>
                  </a:lnTo>
                  <a:lnTo>
                    <a:pt x="199" y="126"/>
                  </a:lnTo>
                  <a:lnTo>
                    <a:pt x="201" y="126"/>
                  </a:lnTo>
                  <a:lnTo>
                    <a:pt x="201" y="126"/>
                  </a:lnTo>
                  <a:lnTo>
                    <a:pt x="201" y="126"/>
                  </a:lnTo>
                  <a:lnTo>
                    <a:pt x="201" y="124"/>
                  </a:lnTo>
                  <a:lnTo>
                    <a:pt x="201" y="124"/>
                  </a:lnTo>
                  <a:close/>
                  <a:moveTo>
                    <a:pt x="637" y="737"/>
                  </a:moveTo>
                  <a:lnTo>
                    <a:pt x="637" y="712"/>
                  </a:lnTo>
                  <a:lnTo>
                    <a:pt x="637" y="695"/>
                  </a:lnTo>
                  <a:lnTo>
                    <a:pt x="637" y="628"/>
                  </a:lnTo>
                  <a:lnTo>
                    <a:pt x="637" y="615"/>
                  </a:lnTo>
                  <a:lnTo>
                    <a:pt x="637" y="601"/>
                  </a:lnTo>
                  <a:lnTo>
                    <a:pt x="637" y="592"/>
                  </a:lnTo>
                  <a:lnTo>
                    <a:pt x="635" y="592"/>
                  </a:lnTo>
                  <a:lnTo>
                    <a:pt x="633" y="590"/>
                  </a:lnTo>
                  <a:lnTo>
                    <a:pt x="633" y="588"/>
                  </a:lnTo>
                  <a:lnTo>
                    <a:pt x="631" y="588"/>
                  </a:lnTo>
                  <a:lnTo>
                    <a:pt x="631" y="586"/>
                  </a:lnTo>
                  <a:lnTo>
                    <a:pt x="629" y="584"/>
                  </a:lnTo>
                  <a:lnTo>
                    <a:pt x="629" y="584"/>
                  </a:lnTo>
                  <a:lnTo>
                    <a:pt x="627" y="582"/>
                  </a:lnTo>
                  <a:lnTo>
                    <a:pt x="627" y="582"/>
                  </a:lnTo>
                  <a:lnTo>
                    <a:pt x="627" y="580"/>
                  </a:lnTo>
                  <a:lnTo>
                    <a:pt x="627" y="580"/>
                  </a:lnTo>
                  <a:lnTo>
                    <a:pt x="627" y="577"/>
                  </a:lnTo>
                  <a:lnTo>
                    <a:pt x="627" y="577"/>
                  </a:lnTo>
                  <a:lnTo>
                    <a:pt x="627" y="577"/>
                  </a:lnTo>
                  <a:lnTo>
                    <a:pt x="624" y="575"/>
                  </a:lnTo>
                  <a:lnTo>
                    <a:pt x="624" y="573"/>
                  </a:lnTo>
                  <a:lnTo>
                    <a:pt x="624" y="573"/>
                  </a:lnTo>
                  <a:lnTo>
                    <a:pt x="624" y="571"/>
                  </a:lnTo>
                  <a:lnTo>
                    <a:pt x="624" y="571"/>
                  </a:lnTo>
                  <a:lnTo>
                    <a:pt x="627" y="567"/>
                  </a:lnTo>
                  <a:lnTo>
                    <a:pt x="627" y="567"/>
                  </a:lnTo>
                  <a:lnTo>
                    <a:pt x="624" y="565"/>
                  </a:lnTo>
                  <a:lnTo>
                    <a:pt x="624" y="565"/>
                  </a:lnTo>
                  <a:lnTo>
                    <a:pt x="627" y="563"/>
                  </a:lnTo>
                  <a:lnTo>
                    <a:pt x="629" y="563"/>
                  </a:lnTo>
                  <a:lnTo>
                    <a:pt x="629" y="563"/>
                  </a:lnTo>
                  <a:lnTo>
                    <a:pt x="629" y="561"/>
                  </a:lnTo>
                  <a:lnTo>
                    <a:pt x="629" y="561"/>
                  </a:lnTo>
                  <a:lnTo>
                    <a:pt x="629" y="561"/>
                  </a:lnTo>
                  <a:lnTo>
                    <a:pt x="629" y="559"/>
                  </a:lnTo>
                  <a:lnTo>
                    <a:pt x="631" y="559"/>
                  </a:lnTo>
                  <a:lnTo>
                    <a:pt x="631" y="559"/>
                  </a:lnTo>
                  <a:lnTo>
                    <a:pt x="631" y="559"/>
                  </a:lnTo>
                  <a:lnTo>
                    <a:pt x="631" y="556"/>
                  </a:lnTo>
                  <a:lnTo>
                    <a:pt x="631" y="554"/>
                  </a:lnTo>
                  <a:lnTo>
                    <a:pt x="631" y="554"/>
                  </a:lnTo>
                  <a:lnTo>
                    <a:pt x="633" y="554"/>
                  </a:lnTo>
                  <a:lnTo>
                    <a:pt x="633" y="554"/>
                  </a:lnTo>
                  <a:lnTo>
                    <a:pt x="635" y="552"/>
                  </a:lnTo>
                  <a:lnTo>
                    <a:pt x="633" y="550"/>
                  </a:lnTo>
                  <a:lnTo>
                    <a:pt x="633" y="550"/>
                  </a:lnTo>
                  <a:lnTo>
                    <a:pt x="633" y="550"/>
                  </a:lnTo>
                  <a:lnTo>
                    <a:pt x="633" y="548"/>
                  </a:lnTo>
                  <a:lnTo>
                    <a:pt x="631" y="548"/>
                  </a:lnTo>
                  <a:lnTo>
                    <a:pt x="631" y="548"/>
                  </a:lnTo>
                  <a:lnTo>
                    <a:pt x="631" y="548"/>
                  </a:lnTo>
                  <a:lnTo>
                    <a:pt x="633" y="548"/>
                  </a:lnTo>
                  <a:lnTo>
                    <a:pt x="633" y="548"/>
                  </a:lnTo>
                  <a:lnTo>
                    <a:pt x="635" y="548"/>
                  </a:lnTo>
                  <a:lnTo>
                    <a:pt x="633" y="546"/>
                  </a:lnTo>
                  <a:lnTo>
                    <a:pt x="635" y="546"/>
                  </a:lnTo>
                  <a:lnTo>
                    <a:pt x="635" y="544"/>
                  </a:lnTo>
                  <a:lnTo>
                    <a:pt x="635" y="544"/>
                  </a:lnTo>
                  <a:lnTo>
                    <a:pt x="635" y="544"/>
                  </a:lnTo>
                  <a:lnTo>
                    <a:pt x="635" y="542"/>
                  </a:lnTo>
                  <a:lnTo>
                    <a:pt x="635" y="542"/>
                  </a:lnTo>
                  <a:lnTo>
                    <a:pt x="635" y="542"/>
                  </a:lnTo>
                  <a:lnTo>
                    <a:pt x="635" y="542"/>
                  </a:lnTo>
                  <a:lnTo>
                    <a:pt x="635" y="540"/>
                  </a:lnTo>
                  <a:lnTo>
                    <a:pt x="635" y="537"/>
                  </a:lnTo>
                  <a:lnTo>
                    <a:pt x="637" y="537"/>
                  </a:lnTo>
                  <a:lnTo>
                    <a:pt x="637" y="411"/>
                  </a:lnTo>
                  <a:lnTo>
                    <a:pt x="637" y="411"/>
                  </a:lnTo>
                  <a:lnTo>
                    <a:pt x="637" y="390"/>
                  </a:lnTo>
                  <a:lnTo>
                    <a:pt x="637" y="374"/>
                  </a:lnTo>
                  <a:lnTo>
                    <a:pt x="637" y="334"/>
                  </a:lnTo>
                  <a:lnTo>
                    <a:pt x="637" y="317"/>
                  </a:lnTo>
                  <a:lnTo>
                    <a:pt x="635" y="298"/>
                  </a:lnTo>
                  <a:lnTo>
                    <a:pt x="635" y="279"/>
                  </a:lnTo>
                  <a:lnTo>
                    <a:pt x="635" y="248"/>
                  </a:lnTo>
                  <a:lnTo>
                    <a:pt x="635" y="224"/>
                  </a:lnTo>
                  <a:lnTo>
                    <a:pt x="635" y="206"/>
                  </a:lnTo>
                  <a:lnTo>
                    <a:pt x="637" y="189"/>
                  </a:lnTo>
                  <a:lnTo>
                    <a:pt x="637" y="187"/>
                  </a:lnTo>
                  <a:lnTo>
                    <a:pt x="637" y="187"/>
                  </a:lnTo>
                  <a:lnTo>
                    <a:pt x="635" y="187"/>
                  </a:lnTo>
                  <a:lnTo>
                    <a:pt x="631" y="187"/>
                  </a:lnTo>
                  <a:lnTo>
                    <a:pt x="622" y="187"/>
                  </a:lnTo>
                  <a:lnTo>
                    <a:pt x="620" y="187"/>
                  </a:lnTo>
                  <a:lnTo>
                    <a:pt x="618" y="189"/>
                  </a:lnTo>
                  <a:lnTo>
                    <a:pt x="618" y="189"/>
                  </a:lnTo>
                  <a:lnTo>
                    <a:pt x="618" y="187"/>
                  </a:lnTo>
                  <a:lnTo>
                    <a:pt x="616" y="187"/>
                  </a:lnTo>
                  <a:lnTo>
                    <a:pt x="614" y="187"/>
                  </a:lnTo>
                  <a:lnTo>
                    <a:pt x="614" y="187"/>
                  </a:lnTo>
                  <a:lnTo>
                    <a:pt x="614" y="187"/>
                  </a:lnTo>
                  <a:lnTo>
                    <a:pt x="614" y="189"/>
                  </a:lnTo>
                  <a:lnTo>
                    <a:pt x="614" y="189"/>
                  </a:lnTo>
                  <a:lnTo>
                    <a:pt x="612" y="189"/>
                  </a:lnTo>
                  <a:lnTo>
                    <a:pt x="612" y="189"/>
                  </a:lnTo>
                  <a:lnTo>
                    <a:pt x="610" y="187"/>
                  </a:lnTo>
                  <a:lnTo>
                    <a:pt x="610" y="187"/>
                  </a:lnTo>
                  <a:lnTo>
                    <a:pt x="614" y="182"/>
                  </a:lnTo>
                  <a:lnTo>
                    <a:pt x="614" y="180"/>
                  </a:lnTo>
                  <a:lnTo>
                    <a:pt x="614" y="178"/>
                  </a:lnTo>
                  <a:lnTo>
                    <a:pt x="614" y="176"/>
                  </a:lnTo>
                  <a:lnTo>
                    <a:pt x="614" y="176"/>
                  </a:lnTo>
                  <a:lnTo>
                    <a:pt x="601" y="170"/>
                  </a:lnTo>
                  <a:lnTo>
                    <a:pt x="591" y="170"/>
                  </a:lnTo>
                  <a:lnTo>
                    <a:pt x="589" y="170"/>
                  </a:lnTo>
                  <a:lnTo>
                    <a:pt x="581" y="168"/>
                  </a:lnTo>
                  <a:lnTo>
                    <a:pt x="581" y="166"/>
                  </a:lnTo>
                  <a:lnTo>
                    <a:pt x="578" y="168"/>
                  </a:lnTo>
                  <a:lnTo>
                    <a:pt x="578" y="168"/>
                  </a:lnTo>
                  <a:lnTo>
                    <a:pt x="581" y="170"/>
                  </a:lnTo>
                  <a:lnTo>
                    <a:pt x="581" y="170"/>
                  </a:lnTo>
                  <a:lnTo>
                    <a:pt x="581" y="172"/>
                  </a:lnTo>
                  <a:lnTo>
                    <a:pt x="578" y="172"/>
                  </a:lnTo>
                  <a:lnTo>
                    <a:pt x="578" y="172"/>
                  </a:lnTo>
                  <a:lnTo>
                    <a:pt x="576" y="172"/>
                  </a:lnTo>
                  <a:lnTo>
                    <a:pt x="576" y="172"/>
                  </a:lnTo>
                  <a:lnTo>
                    <a:pt x="574" y="172"/>
                  </a:lnTo>
                  <a:lnTo>
                    <a:pt x="572" y="170"/>
                  </a:lnTo>
                  <a:lnTo>
                    <a:pt x="566" y="168"/>
                  </a:lnTo>
                  <a:lnTo>
                    <a:pt x="564" y="168"/>
                  </a:lnTo>
                  <a:lnTo>
                    <a:pt x="560" y="161"/>
                  </a:lnTo>
                  <a:lnTo>
                    <a:pt x="560" y="161"/>
                  </a:lnTo>
                  <a:lnTo>
                    <a:pt x="560" y="161"/>
                  </a:lnTo>
                  <a:lnTo>
                    <a:pt x="560" y="159"/>
                  </a:lnTo>
                  <a:lnTo>
                    <a:pt x="560" y="159"/>
                  </a:lnTo>
                  <a:lnTo>
                    <a:pt x="560" y="159"/>
                  </a:lnTo>
                  <a:lnTo>
                    <a:pt x="557" y="161"/>
                  </a:lnTo>
                  <a:lnTo>
                    <a:pt x="557" y="161"/>
                  </a:lnTo>
                  <a:lnTo>
                    <a:pt x="555" y="159"/>
                  </a:lnTo>
                  <a:lnTo>
                    <a:pt x="553" y="159"/>
                  </a:lnTo>
                  <a:lnTo>
                    <a:pt x="553" y="159"/>
                  </a:lnTo>
                  <a:lnTo>
                    <a:pt x="553" y="161"/>
                  </a:lnTo>
                  <a:lnTo>
                    <a:pt x="549" y="164"/>
                  </a:lnTo>
                  <a:lnTo>
                    <a:pt x="532" y="164"/>
                  </a:lnTo>
                  <a:lnTo>
                    <a:pt x="528" y="164"/>
                  </a:lnTo>
                  <a:lnTo>
                    <a:pt x="524" y="164"/>
                  </a:lnTo>
                  <a:lnTo>
                    <a:pt x="513" y="157"/>
                  </a:lnTo>
                  <a:lnTo>
                    <a:pt x="499" y="151"/>
                  </a:lnTo>
                  <a:lnTo>
                    <a:pt x="495" y="149"/>
                  </a:lnTo>
                  <a:lnTo>
                    <a:pt x="493" y="147"/>
                  </a:lnTo>
                  <a:lnTo>
                    <a:pt x="490" y="147"/>
                  </a:lnTo>
                  <a:lnTo>
                    <a:pt x="486" y="145"/>
                  </a:lnTo>
                  <a:lnTo>
                    <a:pt x="476" y="140"/>
                  </a:lnTo>
                  <a:lnTo>
                    <a:pt x="459" y="130"/>
                  </a:lnTo>
                  <a:lnTo>
                    <a:pt x="444" y="126"/>
                  </a:lnTo>
                  <a:lnTo>
                    <a:pt x="442" y="126"/>
                  </a:lnTo>
                  <a:lnTo>
                    <a:pt x="436" y="126"/>
                  </a:lnTo>
                  <a:lnTo>
                    <a:pt x="436" y="126"/>
                  </a:lnTo>
                  <a:lnTo>
                    <a:pt x="432" y="122"/>
                  </a:lnTo>
                  <a:lnTo>
                    <a:pt x="425" y="115"/>
                  </a:lnTo>
                  <a:lnTo>
                    <a:pt x="419" y="109"/>
                  </a:lnTo>
                  <a:lnTo>
                    <a:pt x="413" y="109"/>
                  </a:lnTo>
                  <a:lnTo>
                    <a:pt x="413" y="107"/>
                  </a:lnTo>
                  <a:lnTo>
                    <a:pt x="405" y="107"/>
                  </a:lnTo>
                  <a:lnTo>
                    <a:pt x="390" y="103"/>
                  </a:lnTo>
                  <a:lnTo>
                    <a:pt x="377" y="96"/>
                  </a:lnTo>
                  <a:lnTo>
                    <a:pt x="367" y="94"/>
                  </a:lnTo>
                  <a:lnTo>
                    <a:pt x="363" y="92"/>
                  </a:lnTo>
                  <a:lnTo>
                    <a:pt x="361" y="92"/>
                  </a:lnTo>
                  <a:lnTo>
                    <a:pt x="356" y="88"/>
                  </a:lnTo>
                  <a:lnTo>
                    <a:pt x="356" y="88"/>
                  </a:lnTo>
                  <a:lnTo>
                    <a:pt x="354" y="86"/>
                  </a:lnTo>
                  <a:lnTo>
                    <a:pt x="354" y="86"/>
                  </a:lnTo>
                  <a:lnTo>
                    <a:pt x="352" y="84"/>
                  </a:lnTo>
                  <a:lnTo>
                    <a:pt x="352" y="84"/>
                  </a:lnTo>
                  <a:lnTo>
                    <a:pt x="350" y="82"/>
                  </a:lnTo>
                  <a:lnTo>
                    <a:pt x="348" y="82"/>
                  </a:lnTo>
                  <a:lnTo>
                    <a:pt x="344" y="79"/>
                  </a:lnTo>
                  <a:lnTo>
                    <a:pt x="340" y="79"/>
                  </a:lnTo>
                  <a:lnTo>
                    <a:pt x="335" y="82"/>
                  </a:lnTo>
                  <a:lnTo>
                    <a:pt x="312" y="92"/>
                  </a:lnTo>
                  <a:lnTo>
                    <a:pt x="310" y="92"/>
                  </a:lnTo>
                  <a:lnTo>
                    <a:pt x="310" y="92"/>
                  </a:lnTo>
                  <a:lnTo>
                    <a:pt x="308" y="94"/>
                  </a:lnTo>
                  <a:lnTo>
                    <a:pt x="308" y="94"/>
                  </a:lnTo>
                  <a:lnTo>
                    <a:pt x="306" y="94"/>
                  </a:lnTo>
                  <a:lnTo>
                    <a:pt x="306" y="96"/>
                  </a:lnTo>
                  <a:lnTo>
                    <a:pt x="294" y="103"/>
                  </a:lnTo>
                  <a:lnTo>
                    <a:pt x="275" y="109"/>
                  </a:lnTo>
                  <a:lnTo>
                    <a:pt x="273" y="111"/>
                  </a:lnTo>
                  <a:lnTo>
                    <a:pt x="273" y="111"/>
                  </a:lnTo>
                  <a:lnTo>
                    <a:pt x="273" y="115"/>
                  </a:lnTo>
                  <a:lnTo>
                    <a:pt x="273" y="117"/>
                  </a:lnTo>
                  <a:lnTo>
                    <a:pt x="270" y="119"/>
                  </a:lnTo>
                  <a:lnTo>
                    <a:pt x="277" y="124"/>
                  </a:lnTo>
                  <a:lnTo>
                    <a:pt x="277" y="124"/>
                  </a:lnTo>
                  <a:lnTo>
                    <a:pt x="279" y="124"/>
                  </a:lnTo>
                  <a:lnTo>
                    <a:pt x="281" y="126"/>
                  </a:lnTo>
                  <a:lnTo>
                    <a:pt x="281" y="126"/>
                  </a:lnTo>
                  <a:lnTo>
                    <a:pt x="281" y="128"/>
                  </a:lnTo>
                  <a:lnTo>
                    <a:pt x="281" y="128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81" y="132"/>
                  </a:lnTo>
                  <a:lnTo>
                    <a:pt x="283" y="134"/>
                  </a:lnTo>
                  <a:lnTo>
                    <a:pt x="283" y="136"/>
                  </a:lnTo>
                  <a:lnTo>
                    <a:pt x="283" y="136"/>
                  </a:lnTo>
                  <a:lnTo>
                    <a:pt x="279" y="138"/>
                  </a:lnTo>
                  <a:lnTo>
                    <a:pt x="279" y="140"/>
                  </a:lnTo>
                  <a:lnTo>
                    <a:pt x="277" y="140"/>
                  </a:lnTo>
                  <a:lnTo>
                    <a:pt x="264" y="140"/>
                  </a:lnTo>
                  <a:lnTo>
                    <a:pt x="260" y="140"/>
                  </a:lnTo>
                  <a:lnTo>
                    <a:pt x="256" y="143"/>
                  </a:lnTo>
                  <a:lnTo>
                    <a:pt x="256" y="145"/>
                  </a:lnTo>
                  <a:lnTo>
                    <a:pt x="256" y="145"/>
                  </a:lnTo>
                  <a:lnTo>
                    <a:pt x="256" y="147"/>
                  </a:lnTo>
                  <a:lnTo>
                    <a:pt x="254" y="147"/>
                  </a:lnTo>
                  <a:lnTo>
                    <a:pt x="250" y="147"/>
                  </a:lnTo>
                  <a:lnTo>
                    <a:pt x="243" y="151"/>
                  </a:lnTo>
                  <a:lnTo>
                    <a:pt x="243" y="151"/>
                  </a:lnTo>
                  <a:lnTo>
                    <a:pt x="241" y="151"/>
                  </a:lnTo>
                  <a:lnTo>
                    <a:pt x="239" y="151"/>
                  </a:lnTo>
                  <a:lnTo>
                    <a:pt x="239" y="153"/>
                  </a:lnTo>
                  <a:lnTo>
                    <a:pt x="239" y="153"/>
                  </a:lnTo>
                  <a:lnTo>
                    <a:pt x="237" y="153"/>
                  </a:lnTo>
                  <a:lnTo>
                    <a:pt x="237" y="153"/>
                  </a:lnTo>
                  <a:lnTo>
                    <a:pt x="235" y="151"/>
                  </a:lnTo>
                  <a:lnTo>
                    <a:pt x="233" y="151"/>
                  </a:lnTo>
                  <a:lnTo>
                    <a:pt x="231" y="153"/>
                  </a:lnTo>
                  <a:lnTo>
                    <a:pt x="229" y="153"/>
                  </a:lnTo>
                  <a:lnTo>
                    <a:pt x="226" y="153"/>
                  </a:lnTo>
                  <a:lnTo>
                    <a:pt x="226" y="153"/>
                  </a:lnTo>
                  <a:lnTo>
                    <a:pt x="224" y="153"/>
                  </a:lnTo>
                  <a:lnTo>
                    <a:pt x="224" y="153"/>
                  </a:lnTo>
                  <a:lnTo>
                    <a:pt x="224" y="153"/>
                  </a:lnTo>
                  <a:lnTo>
                    <a:pt x="222" y="151"/>
                  </a:lnTo>
                  <a:lnTo>
                    <a:pt x="220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8" y="149"/>
                  </a:lnTo>
                  <a:lnTo>
                    <a:pt x="218" y="149"/>
                  </a:lnTo>
                  <a:lnTo>
                    <a:pt x="218" y="147"/>
                  </a:lnTo>
                  <a:lnTo>
                    <a:pt x="216" y="147"/>
                  </a:lnTo>
                  <a:lnTo>
                    <a:pt x="214" y="149"/>
                  </a:lnTo>
                  <a:lnTo>
                    <a:pt x="212" y="149"/>
                  </a:lnTo>
                  <a:lnTo>
                    <a:pt x="208" y="149"/>
                  </a:lnTo>
                  <a:lnTo>
                    <a:pt x="206" y="151"/>
                  </a:lnTo>
                  <a:lnTo>
                    <a:pt x="203" y="151"/>
                  </a:lnTo>
                  <a:lnTo>
                    <a:pt x="201" y="153"/>
                  </a:lnTo>
                  <a:lnTo>
                    <a:pt x="199" y="155"/>
                  </a:lnTo>
                  <a:lnTo>
                    <a:pt x="199" y="155"/>
                  </a:lnTo>
                  <a:lnTo>
                    <a:pt x="199" y="157"/>
                  </a:lnTo>
                  <a:lnTo>
                    <a:pt x="199" y="159"/>
                  </a:lnTo>
                  <a:lnTo>
                    <a:pt x="199" y="161"/>
                  </a:lnTo>
                  <a:lnTo>
                    <a:pt x="199" y="164"/>
                  </a:lnTo>
                  <a:lnTo>
                    <a:pt x="199" y="164"/>
                  </a:lnTo>
                  <a:lnTo>
                    <a:pt x="199" y="166"/>
                  </a:lnTo>
                  <a:lnTo>
                    <a:pt x="195" y="170"/>
                  </a:lnTo>
                  <a:lnTo>
                    <a:pt x="195" y="170"/>
                  </a:lnTo>
                  <a:lnTo>
                    <a:pt x="195" y="172"/>
                  </a:lnTo>
                  <a:lnTo>
                    <a:pt x="193" y="178"/>
                  </a:lnTo>
                  <a:lnTo>
                    <a:pt x="193" y="180"/>
                  </a:lnTo>
                  <a:lnTo>
                    <a:pt x="193" y="182"/>
                  </a:lnTo>
                  <a:lnTo>
                    <a:pt x="189" y="185"/>
                  </a:lnTo>
                  <a:lnTo>
                    <a:pt x="185" y="189"/>
                  </a:lnTo>
                  <a:lnTo>
                    <a:pt x="176" y="191"/>
                  </a:lnTo>
                  <a:lnTo>
                    <a:pt x="174" y="193"/>
                  </a:lnTo>
                  <a:lnTo>
                    <a:pt x="174" y="193"/>
                  </a:lnTo>
                  <a:lnTo>
                    <a:pt x="174" y="193"/>
                  </a:lnTo>
                  <a:lnTo>
                    <a:pt x="172" y="195"/>
                  </a:lnTo>
                  <a:lnTo>
                    <a:pt x="172" y="195"/>
                  </a:lnTo>
                  <a:lnTo>
                    <a:pt x="172" y="195"/>
                  </a:lnTo>
                  <a:lnTo>
                    <a:pt x="170" y="195"/>
                  </a:lnTo>
                  <a:lnTo>
                    <a:pt x="170" y="195"/>
                  </a:lnTo>
                  <a:lnTo>
                    <a:pt x="168" y="199"/>
                  </a:lnTo>
                  <a:lnTo>
                    <a:pt x="168" y="199"/>
                  </a:lnTo>
                  <a:lnTo>
                    <a:pt x="166" y="199"/>
                  </a:lnTo>
                  <a:lnTo>
                    <a:pt x="164" y="201"/>
                  </a:lnTo>
                  <a:lnTo>
                    <a:pt x="164" y="203"/>
                  </a:lnTo>
                  <a:lnTo>
                    <a:pt x="164" y="208"/>
                  </a:lnTo>
                  <a:lnTo>
                    <a:pt x="164" y="208"/>
                  </a:lnTo>
                  <a:lnTo>
                    <a:pt x="162" y="210"/>
                  </a:lnTo>
                  <a:lnTo>
                    <a:pt x="159" y="212"/>
                  </a:lnTo>
                  <a:lnTo>
                    <a:pt x="159" y="214"/>
                  </a:lnTo>
                  <a:lnTo>
                    <a:pt x="162" y="216"/>
                  </a:lnTo>
                  <a:lnTo>
                    <a:pt x="162" y="218"/>
                  </a:lnTo>
                  <a:lnTo>
                    <a:pt x="159" y="220"/>
                  </a:lnTo>
                  <a:lnTo>
                    <a:pt x="159" y="222"/>
                  </a:lnTo>
                  <a:lnTo>
                    <a:pt x="157" y="224"/>
                  </a:lnTo>
                  <a:lnTo>
                    <a:pt x="151" y="224"/>
                  </a:lnTo>
                  <a:lnTo>
                    <a:pt x="149" y="227"/>
                  </a:lnTo>
                  <a:lnTo>
                    <a:pt x="149" y="229"/>
                  </a:lnTo>
                  <a:lnTo>
                    <a:pt x="145" y="229"/>
                  </a:lnTo>
                  <a:lnTo>
                    <a:pt x="145" y="229"/>
                  </a:lnTo>
                  <a:lnTo>
                    <a:pt x="145" y="229"/>
                  </a:lnTo>
                  <a:lnTo>
                    <a:pt x="145" y="229"/>
                  </a:lnTo>
                  <a:lnTo>
                    <a:pt x="145" y="229"/>
                  </a:lnTo>
                  <a:lnTo>
                    <a:pt x="143" y="229"/>
                  </a:lnTo>
                  <a:lnTo>
                    <a:pt x="143" y="231"/>
                  </a:lnTo>
                  <a:lnTo>
                    <a:pt x="143" y="231"/>
                  </a:lnTo>
                  <a:lnTo>
                    <a:pt x="143" y="233"/>
                  </a:lnTo>
                  <a:lnTo>
                    <a:pt x="145" y="233"/>
                  </a:lnTo>
                  <a:lnTo>
                    <a:pt x="145" y="233"/>
                  </a:lnTo>
                  <a:lnTo>
                    <a:pt x="143" y="235"/>
                  </a:lnTo>
                  <a:lnTo>
                    <a:pt x="141" y="237"/>
                  </a:lnTo>
                  <a:lnTo>
                    <a:pt x="132" y="241"/>
                  </a:lnTo>
                  <a:lnTo>
                    <a:pt x="130" y="243"/>
                  </a:lnTo>
                  <a:lnTo>
                    <a:pt x="126" y="245"/>
                  </a:lnTo>
                  <a:lnTo>
                    <a:pt x="126" y="248"/>
                  </a:lnTo>
                  <a:lnTo>
                    <a:pt x="126" y="248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2"/>
                  </a:lnTo>
                  <a:lnTo>
                    <a:pt x="122" y="256"/>
                  </a:lnTo>
                  <a:lnTo>
                    <a:pt x="120" y="256"/>
                  </a:lnTo>
                  <a:lnTo>
                    <a:pt x="120" y="258"/>
                  </a:lnTo>
                  <a:lnTo>
                    <a:pt x="118" y="258"/>
                  </a:lnTo>
                  <a:lnTo>
                    <a:pt x="111" y="258"/>
                  </a:lnTo>
                  <a:lnTo>
                    <a:pt x="107" y="260"/>
                  </a:lnTo>
                  <a:lnTo>
                    <a:pt x="105" y="260"/>
                  </a:lnTo>
                  <a:lnTo>
                    <a:pt x="103" y="260"/>
                  </a:lnTo>
                  <a:lnTo>
                    <a:pt x="101" y="258"/>
                  </a:lnTo>
                  <a:lnTo>
                    <a:pt x="99" y="258"/>
                  </a:lnTo>
                  <a:lnTo>
                    <a:pt x="84" y="258"/>
                  </a:lnTo>
                  <a:lnTo>
                    <a:pt x="82" y="258"/>
                  </a:lnTo>
                  <a:lnTo>
                    <a:pt x="80" y="256"/>
                  </a:lnTo>
                  <a:lnTo>
                    <a:pt x="78" y="256"/>
                  </a:lnTo>
                  <a:lnTo>
                    <a:pt x="74" y="256"/>
                  </a:lnTo>
                  <a:lnTo>
                    <a:pt x="71" y="254"/>
                  </a:lnTo>
                  <a:lnTo>
                    <a:pt x="69" y="252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48"/>
                  </a:lnTo>
                  <a:lnTo>
                    <a:pt x="69" y="245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59" y="239"/>
                  </a:lnTo>
                  <a:lnTo>
                    <a:pt x="59" y="237"/>
                  </a:lnTo>
                  <a:lnTo>
                    <a:pt x="55" y="237"/>
                  </a:lnTo>
                  <a:lnTo>
                    <a:pt x="55" y="235"/>
                  </a:lnTo>
                  <a:lnTo>
                    <a:pt x="57" y="231"/>
                  </a:lnTo>
                  <a:lnTo>
                    <a:pt x="57" y="229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18"/>
                  </a:lnTo>
                  <a:lnTo>
                    <a:pt x="59" y="214"/>
                  </a:lnTo>
                  <a:lnTo>
                    <a:pt x="57" y="216"/>
                  </a:lnTo>
                  <a:lnTo>
                    <a:pt x="51" y="222"/>
                  </a:lnTo>
                  <a:lnTo>
                    <a:pt x="46" y="222"/>
                  </a:lnTo>
                  <a:lnTo>
                    <a:pt x="44" y="220"/>
                  </a:lnTo>
                  <a:lnTo>
                    <a:pt x="42" y="208"/>
                  </a:lnTo>
                  <a:lnTo>
                    <a:pt x="40" y="208"/>
                  </a:lnTo>
                  <a:lnTo>
                    <a:pt x="23" y="222"/>
                  </a:lnTo>
                  <a:lnTo>
                    <a:pt x="23" y="222"/>
                  </a:lnTo>
                  <a:lnTo>
                    <a:pt x="21" y="224"/>
                  </a:lnTo>
                  <a:lnTo>
                    <a:pt x="21" y="224"/>
                  </a:lnTo>
                  <a:lnTo>
                    <a:pt x="21" y="227"/>
                  </a:lnTo>
                  <a:lnTo>
                    <a:pt x="21" y="229"/>
                  </a:lnTo>
                  <a:lnTo>
                    <a:pt x="21" y="231"/>
                  </a:lnTo>
                  <a:lnTo>
                    <a:pt x="19" y="235"/>
                  </a:lnTo>
                  <a:lnTo>
                    <a:pt x="9" y="241"/>
                  </a:lnTo>
                  <a:lnTo>
                    <a:pt x="7" y="243"/>
                  </a:lnTo>
                  <a:lnTo>
                    <a:pt x="4" y="248"/>
                  </a:lnTo>
                  <a:lnTo>
                    <a:pt x="2" y="252"/>
                  </a:lnTo>
                  <a:lnTo>
                    <a:pt x="0" y="256"/>
                  </a:lnTo>
                  <a:lnTo>
                    <a:pt x="0" y="260"/>
                  </a:lnTo>
                  <a:lnTo>
                    <a:pt x="2" y="260"/>
                  </a:lnTo>
                  <a:lnTo>
                    <a:pt x="97" y="296"/>
                  </a:lnTo>
                  <a:lnTo>
                    <a:pt x="61" y="342"/>
                  </a:lnTo>
                  <a:lnTo>
                    <a:pt x="61" y="342"/>
                  </a:lnTo>
                  <a:lnTo>
                    <a:pt x="61" y="342"/>
                  </a:lnTo>
                  <a:lnTo>
                    <a:pt x="63" y="342"/>
                  </a:lnTo>
                  <a:lnTo>
                    <a:pt x="65" y="344"/>
                  </a:lnTo>
                  <a:lnTo>
                    <a:pt x="67" y="344"/>
                  </a:lnTo>
                  <a:lnTo>
                    <a:pt x="67" y="346"/>
                  </a:lnTo>
                  <a:lnTo>
                    <a:pt x="69" y="348"/>
                  </a:lnTo>
                  <a:lnTo>
                    <a:pt x="90" y="359"/>
                  </a:lnTo>
                  <a:lnTo>
                    <a:pt x="95" y="361"/>
                  </a:lnTo>
                  <a:lnTo>
                    <a:pt x="99" y="361"/>
                  </a:lnTo>
                  <a:lnTo>
                    <a:pt x="103" y="359"/>
                  </a:lnTo>
                  <a:lnTo>
                    <a:pt x="107" y="359"/>
                  </a:lnTo>
                  <a:lnTo>
                    <a:pt x="111" y="359"/>
                  </a:lnTo>
                  <a:lnTo>
                    <a:pt x="113" y="359"/>
                  </a:lnTo>
                  <a:lnTo>
                    <a:pt x="115" y="359"/>
                  </a:lnTo>
                  <a:lnTo>
                    <a:pt x="118" y="359"/>
                  </a:lnTo>
                  <a:lnTo>
                    <a:pt x="128" y="361"/>
                  </a:lnTo>
                  <a:lnTo>
                    <a:pt x="130" y="361"/>
                  </a:lnTo>
                  <a:lnTo>
                    <a:pt x="130" y="363"/>
                  </a:lnTo>
                  <a:lnTo>
                    <a:pt x="134" y="363"/>
                  </a:lnTo>
                  <a:lnTo>
                    <a:pt x="139" y="363"/>
                  </a:lnTo>
                  <a:lnTo>
                    <a:pt x="139" y="363"/>
                  </a:lnTo>
                  <a:lnTo>
                    <a:pt x="141" y="365"/>
                  </a:lnTo>
                  <a:lnTo>
                    <a:pt x="143" y="365"/>
                  </a:lnTo>
                  <a:lnTo>
                    <a:pt x="145" y="365"/>
                  </a:lnTo>
                  <a:lnTo>
                    <a:pt x="147" y="363"/>
                  </a:lnTo>
                  <a:lnTo>
                    <a:pt x="151" y="365"/>
                  </a:lnTo>
                  <a:lnTo>
                    <a:pt x="159" y="365"/>
                  </a:lnTo>
                  <a:lnTo>
                    <a:pt x="162" y="365"/>
                  </a:lnTo>
                  <a:lnTo>
                    <a:pt x="164" y="367"/>
                  </a:lnTo>
                  <a:lnTo>
                    <a:pt x="168" y="372"/>
                  </a:lnTo>
                  <a:lnTo>
                    <a:pt x="170" y="374"/>
                  </a:lnTo>
                  <a:lnTo>
                    <a:pt x="172" y="374"/>
                  </a:lnTo>
                  <a:lnTo>
                    <a:pt x="172" y="374"/>
                  </a:lnTo>
                  <a:lnTo>
                    <a:pt x="174" y="374"/>
                  </a:lnTo>
                  <a:lnTo>
                    <a:pt x="176" y="374"/>
                  </a:lnTo>
                  <a:lnTo>
                    <a:pt x="176" y="376"/>
                  </a:lnTo>
                  <a:lnTo>
                    <a:pt x="178" y="376"/>
                  </a:lnTo>
                  <a:lnTo>
                    <a:pt x="180" y="376"/>
                  </a:lnTo>
                  <a:lnTo>
                    <a:pt x="180" y="376"/>
                  </a:lnTo>
                  <a:lnTo>
                    <a:pt x="185" y="378"/>
                  </a:lnTo>
                  <a:lnTo>
                    <a:pt x="193" y="382"/>
                  </a:lnTo>
                  <a:lnTo>
                    <a:pt x="201" y="382"/>
                  </a:lnTo>
                  <a:lnTo>
                    <a:pt x="201" y="382"/>
                  </a:lnTo>
                  <a:lnTo>
                    <a:pt x="206" y="384"/>
                  </a:lnTo>
                  <a:lnTo>
                    <a:pt x="206" y="384"/>
                  </a:lnTo>
                  <a:lnTo>
                    <a:pt x="208" y="384"/>
                  </a:lnTo>
                  <a:lnTo>
                    <a:pt x="208" y="384"/>
                  </a:lnTo>
                  <a:lnTo>
                    <a:pt x="210" y="386"/>
                  </a:lnTo>
                  <a:lnTo>
                    <a:pt x="218" y="390"/>
                  </a:lnTo>
                  <a:lnTo>
                    <a:pt x="226" y="395"/>
                  </a:lnTo>
                  <a:lnTo>
                    <a:pt x="233" y="397"/>
                  </a:lnTo>
                  <a:lnTo>
                    <a:pt x="237" y="401"/>
                  </a:lnTo>
                  <a:lnTo>
                    <a:pt x="237" y="401"/>
                  </a:lnTo>
                  <a:lnTo>
                    <a:pt x="239" y="401"/>
                  </a:lnTo>
                  <a:lnTo>
                    <a:pt x="241" y="401"/>
                  </a:lnTo>
                  <a:lnTo>
                    <a:pt x="243" y="401"/>
                  </a:lnTo>
                  <a:lnTo>
                    <a:pt x="243" y="401"/>
                  </a:lnTo>
                  <a:lnTo>
                    <a:pt x="243" y="403"/>
                  </a:lnTo>
                  <a:lnTo>
                    <a:pt x="243" y="403"/>
                  </a:lnTo>
                  <a:lnTo>
                    <a:pt x="243" y="405"/>
                  </a:lnTo>
                  <a:lnTo>
                    <a:pt x="245" y="405"/>
                  </a:lnTo>
                  <a:lnTo>
                    <a:pt x="245" y="405"/>
                  </a:lnTo>
                  <a:lnTo>
                    <a:pt x="247" y="405"/>
                  </a:lnTo>
                  <a:lnTo>
                    <a:pt x="250" y="405"/>
                  </a:lnTo>
                  <a:lnTo>
                    <a:pt x="256" y="401"/>
                  </a:lnTo>
                  <a:lnTo>
                    <a:pt x="258" y="399"/>
                  </a:lnTo>
                  <a:lnTo>
                    <a:pt x="260" y="401"/>
                  </a:lnTo>
                  <a:lnTo>
                    <a:pt x="258" y="401"/>
                  </a:lnTo>
                  <a:lnTo>
                    <a:pt x="258" y="401"/>
                  </a:lnTo>
                  <a:lnTo>
                    <a:pt x="256" y="403"/>
                  </a:lnTo>
                  <a:lnTo>
                    <a:pt x="256" y="403"/>
                  </a:lnTo>
                  <a:lnTo>
                    <a:pt x="256" y="405"/>
                  </a:lnTo>
                  <a:lnTo>
                    <a:pt x="258" y="405"/>
                  </a:lnTo>
                  <a:lnTo>
                    <a:pt x="262" y="407"/>
                  </a:lnTo>
                  <a:lnTo>
                    <a:pt x="264" y="407"/>
                  </a:lnTo>
                  <a:lnTo>
                    <a:pt x="268" y="405"/>
                  </a:lnTo>
                  <a:lnTo>
                    <a:pt x="270" y="401"/>
                  </a:lnTo>
                  <a:lnTo>
                    <a:pt x="270" y="401"/>
                  </a:lnTo>
                  <a:lnTo>
                    <a:pt x="270" y="405"/>
                  </a:lnTo>
                  <a:lnTo>
                    <a:pt x="270" y="407"/>
                  </a:lnTo>
                  <a:lnTo>
                    <a:pt x="270" y="407"/>
                  </a:lnTo>
                  <a:lnTo>
                    <a:pt x="273" y="409"/>
                  </a:lnTo>
                  <a:lnTo>
                    <a:pt x="275" y="407"/>
                  </a:lnTo>
                  <a:lnTo>
                    <a:pt x="275" y="409"/>
                  </a:lnTo>
                  <a:lnTo>
                    <a:pt x="277" y="411"/>
                  </a:lnTo>
                  <a:lnTo>
                    <a:pt x="281" y="414"/>
                  </a:lnTo>
                  <a:lnTo>
                    <a:pt x="283" y="411"/>
                  </a:lnTo>
                  <a:lnTo>
                    <a:pt x="283" y="409"/>
                  </a:lnTo>
                  <a:lnTo>
                    <a:pt x="283" y="409"/>
                  </a:lnTo>
                  <a:lnTo>
                    <a:pt x="287" y="405"/>
                  </a:lnTo>
                  <a:lnTo>
                    <a:pt x="287" y="407"/>
                  </a:lnTo>
                  <a:lnTo>
                    <a:pt x="287" y="411"/>
                  </a:lnTo>
                  <a:lnTo>
                    <a:pt x="287" y="414"/>
                  </a:lnTo>
                  <a:lnTo>
                    <a:pt x="287" y="414"/>
                  </a:lnTo>
                  <a:lnTo>
                    <a:pt x="289" y="414"/>
                  </a:lnTo>
                  <a:lnTo>
                    <a:pt x="291" y="414"/>
                  </a:lnTo>
                  <a:lnTo>
                    <a:pt x="289" y="411"/>
                  </a:lnTo>
                  <a:lnTo>
                    <a:pt x="294" y="416"/>
                  </a:lnTo>
                  <a:lnTo>
                    <a:pt x="294" y="416"/>
                  </a:lnTo>
                  <a:lnTo>
                    <a:pt x="296" y="414"/>
                  </a:lnTo>
                  <a:lnTo>
                    <a:pt x="296" y="414"/>
                  </a:lnTo>
                  <a:lnTo>
                    <a:pt x="296" y="416"/>
                  </a:lnTo>
                  <a:lnTo>
                    <a:pt x="296" y="416"/>
                  </a:lnTo>
                  <a:lnTo>
                    <a:pt x="296" y="418"/>
                  </a:lnTo>
                  <a:lnTo>
                    <a:pt x="296" y="418"/>
                  </a:lnTo>
                  <a:lnTo>
                    <a:pt x="298" y="420"/>
                  </a:lnTo>
                  <a:lnTo>
                    <a:pt x="300" y="422"/>
                  </a:lnTo>
                  <a:lnTo>
                    <a:pt x="302" y="422"/>
                  </a:lnTo>
                  <a:lnTo>
                    <a:pt x="306" y="422"/>
                  </a:lnTo>
                  <a:lnTo>
                    <a:pt x="306" y="422"/>
                  </a:lnTo>
                  <a:lnTo>
                    <a:pt x="306" y="422"/>
                  </a:lnTo>
                  <a:lnTo>
                    <a:pt x="306" y="422"/>
                  </a:lnTo>
                  <a:lnTo>
                    <a:pt x="308" y="424"/>
                  </a:lnTo>
                  <a:lnTo>
                    <a:pt x="310" y="426"/>
                  </a:lnTo>
                  <a:lnTo>
                    <a:pt x="310" y="426"/>
                  </a:lnTo>
                  <a:lnTo>
                    <a:pt x="312" y="426"/>
                  </a:lnTo>
                  <a:lnTo>
                    <a:pt x="312" y="426"/>
                  </a:lnTo>
                  <a:lnTo>
                    <a:pt x="314" y="424"/>
                  </a:lnTo>
                  <a:lnTo>
                    <a:pt x="314" y="422"/>
                  </a:lnTo>
                  <a:lnTo>
                    <a:pt x="314" y="424"/>
                  </a:lnTo>
                  <a:lnTo>
                    <a:pt x="317" y="426"/>
                  </a:lnTo>
                  <a:lnTo>
                    <a:pt x="317" y="426"/>
                  </a:lnTo>
                  <a:lnTo>
                    <a:pt x="317" y="426"/>
                  </a:lnTo>
                  <a:lnTo>
                    <a:pt x="314" y="428"/>
                  </a:lnTo>
                  <a:lnTo>
                    <a:pt x="317" y="428"/>
                  </a:lnTo>
                  <a:lnTo>
                    <a:pt x="319" y="430"/>
                  </a:lnTo>
                  <a:lnTo>
                    <a:pt x="319" y="430"/>
                  </a:lnTo>
                  <a:lnTo>
                    <a:pt x="323" y="432"/>
                  </a:lnTo>
                  <a:lnTo>
                    <a:pt x="323" y="432"/>
                  </a:lnTo>
                  <a:lnTo>
                    <a:pt x="325" y="432"/>
                  </a:lnTo>
                  <a:lnTo>
                    <a:pt x="325" y="432"/>
                  </a:lnTo>
                  <a:lnTo>
                    <a:pt x="327" y="432"/>
                  </a:lnTo>
                  <a:lnTo>
                    <a:pt x="327" y="432"/>
                  </a:lnTo>
                  <a:lnTo>
                    <a:pt x="329" y="437"/>
                  </a:lnTo>
                  <a:lnTo>
                    <a:pt x="331" y="437"/>
                  </a:lnTo>
                  <a:lnTo>
                    <a:pt x="331" y="439"/>
                  </a:lnTo>
                  <a:lnTo>
                    <a:pt x="333" y="437"/>
                  </a:lnTo>
                  <a:lnTo>
                    <a:pt x="338" y="437"/>
                  </a:lnTo>
                  <a:lnTo>
                    <a:pt x="338" y="437"/>
                  </a:lnTo>
                  <a:lnTo>
                    <a:pt x="335" y="441"/>
                  </a:lnTo>
                  <a:lnTo>
                    <a:pt x="335" y="441"/>
                  </a:lnTo>
                  <a:lnTo>
                    <a:pt x="335" y="441"/>
                  </a:lnTo>
                  <a:lnTo>
                    <a:pt x="338" y="445"/>
                  </a:lnTo>
                  <a:lnTo>
                    <a:pt x="338" y="445"/>
                  </a:lnTo>
                  <a:lnTo>
                    <a:pt x="340" y="447"/>
                  </a:lnTo>
                  <a:lnTo>
                    <a:pt x="342" y="445"/>
                  </a:lnTo>
                  <a:lnTo>
                    <a:pt x="346" y="443"/>
                  </a:lnTo>
                  <a:lnTo>
                    <a:pt x="348" y="443"/>
                  </a:lnTo>
                  <a:lnTo>
                    <a:pt x="346" y="447"/>
                  </a:lnTo>
                  <a:lnTo>
                    <a:pt x="348" y="449"/>
                  </a:lnTo>
                  <a:lnTo>
                    <a:pt x="352" y="453"/>
                  </a:lnTo>
                  <a:lnTo>
                    <a:pt x="354" y="456"/>
                  </a:lnTo>
                  <a:lnTo>
                    <a:pt x="356" y="458"/>
                  </a:lnTo>
                  <a:lnTo>
                    <a:pt x="358" y="458"/>
                  </a:lnTo>
                  <a:lnTo>
                    <a:pt x="358" y="458"/>
                  </a:lnTo>
                  <a:lnTo>
                    <a:pt x="358" y="456"/>
                  </a:lnTo>
                  <a:lnTo>
                    <a:pt x="358" y="453"/>
                  </a:lnTo>
                  <a:lnTo>
                    <a:pt x="358" y="453"/>
                  </a:lnTo>
                  <a:lnTo>
                    <a:pt x="361" y="453"/>
                  </a:lnTo>
                  <a:lnTo>
                    <a:pt x="361" y="451"/>
                  </a:lnTo>
                  <a:lnTo>
                    <a:pt x="361" y="449"/>
                  </a:lnTo>
                  <a:lnTo>
                    <a:pt x="363" y="451"/>
                  </a:lnTo>
                  <a:lnTo>
                    <a:pt x="363" y="451"/>
                  </a:lnTo>
                  <a:lnTo>
                    <a:pt x="363" y="453"/>
                  </a:lnTo>
                  <a:lnTo>
                    <a:pt x="361" y="458"/>
                  </a:lnTo>
                  <a:lnTo>
                    <a:pt x="361" y="460"/>
                  </a:lnTo>
                  <a:lnTo>
                    <a:pt x="363" y="462"/>
                  </a:lnTo>
                  <a:lnTo>
                    <a:pt x="363" y="462"/>
                  </a:lnTo>
                  <a:lnTo>
                    <a:pt x="365" y="462"/>
                  </a:lnTo>
                  <a:lnTo>
                    <a:pt x="367" y="462"/>
                  </a:lnTo>
                  <a:lnTo>
                    <a:pt x="365" y="464"/>
                  </a:lnTo>
                  <a:lnTo>
                    <a:pt x="365" y="464"/>
                  </a:lnTo>
                  <a:lnTo>
                    <a:pt x="365" y="464"/>
                  </a:lnTo>
                  <a:lnTo>
                    <a:pt x="363" y="464"/>
                  </a:lnTo>
                  <a:lnTo>
                    <a:pt x="363" y="466"/>
                  </a:lnTo>
                  <a:lnTo>
                    <a:pt x="361" y="466"/>
                  </a:lnTo>
                  <a:lnTo>
                    <a:pt x="361" y="468"/>
                  </a:lnTo>
                  <a:lnTo>
                    <a:pt x="361" y="470"/>
                  </a:lnTo>
                  <a:lnTo>
                    <a:pt x="361" y="474"/>
                  </a:lnTo>
                  <a:lnTo>
                    <a:pt x="363" y="479"/>
                  </a:lnTo>
                  <a:lnTo>
                    <a:pt x="363" y="479"/>
                  </a:lnTo>
                  <a:lnTo>
                    <a:pt x="363" y="481"/>
                  </a:lnTo>
                  <a:lnTo>
                    <a:pt x="363" y="481"/>
                  </a:lnTo>
                  <a:lnTo>
                    <a:pt x="363" y="481"/>
                  </a:lnTo>
                  <a:lnTo>
                    <a:pt x="363" y="481"/>
                  </a:lnTo>
                  <a:lnTo>
                    <a:pt x="363" y="481"/>
                  </a:lnTo>
                  <a:lnTo>
                    <a:pt x="365" y="481"/>
                  </a:lnTo>
                  <a:lnTo>
                    <a:pt x="369" y="481"/>
                  </a:lnTo>
                  <a:lnTo>
                    <a:pt x="371" y="479"/>
                  </a:lnTo>
                  <a:lnTo>
                    <a:pt x="375" y="477"/>
                  </a:lnTo>
                  <a:lnTo>
                    <a:pt x="377" y="477"/>
                  </a:lnTo>
                  <a:lnTo>
                    <a:pt x="379" y="477"/>
                  </a:lnTo>
                  <a:lnTo>
                    <a:pt x="382" y="477"/>
                  </a:lnTo>
                  <a:lnTo>
                    <a:pt x="386" y="474"/>
                  </a:lnTo>
                  <a:lnTo>
                    <a:pt x="388" y="474"/>
                  </a:lnTo>
                  <a:lnTo>
                    <a:pt x="390" y="477"/>
                  </a:lnTo>
                  <a:lnTo>
                    <a:pt x="384" y="477"/>
                  </a:lnTo>
                  <a:lnTo>
                    <a:pt x="379" y="481"/>
                  </a:lnTo>
                  <a:lnTo>
                    <a:pt x="371" y="485"/>
                  </a:lnTo>
                  <a:lnTo>
                    <a:pt x="371" y="487"/>
                  </a:lnTo>
                  <a:lnTo>
                    <a:pt x="373" y="487"/>
                  </a:lnTo>
                  <a:lnTo>
                    <a:pt x="373" y="487"/>
                  </a:lnTo>
                  <a:lnTo>
                    <a:pt x="373" y="489"/>
                  </a:lnTo>
                  <a:lnTo>
                    <a:pt x="375" y="489"/>
                  </a:lnTo>
                  <a:lnTo>
                    <a:pt x="386" y="491"/>
                  </a:lnTo>
                  <a:lnTo>
                    <a:pt x="388" y="491"/>
                  </a:lnTo>
                  <a:lnTo>
                    <a:pt x="392" y="491"/>
                  </a:lnTo>
                  <a:lnTo>
                    <a:pt x="394" y="491"/>
                  </a:lnTo>
                  <a:lnTo>
                    <a:pt x="392" y="493"/>
                  </a:lnTo>
                  <a:lnTo>
                    <a:pt x="384" y="493"/>
                  </a:lnTo>
                  <a:lnTo>
                    <a:pt x="382" y="495"/>
                  </a:lnTo>
                  <a:lnTo>
                    <a:pt x="379" y="498"/>
                  </a:lnTo>
                  <a:lnTo>
                    <a:pt x="382" y="502"/>
                  </a:lnTo>
                  <a:lnTo>
                    <a:pt x="388" y="510"/>
                  </a:lnTo>
                  <a:lnTo>
                    <a:pt x="388" y="512"/>
                  </a:lnTo>
                  <a:lnTo>
                    <a:pt x="388" y="512"/>
                  </a:lnTo>
                  <a:lnTo>
                    <a:pt x="390" y="514"/>
                  </a:lnTo>
                  <a:lnTo>
                    <a:pt x="390" y="516"/>
                  </a:lnTo>
                  <a:lnTo>
                    <a:pt x="390" y="519"/>
                  </a:lnTo>
                  <a:lnTo>
                    <a:pt x="392" y="523"/>
                  </a:lnTo>
                  <a:lnTo>
                    <a:pt x="392" y="525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4" y="533"/>
                  </a:lnTo>
                  <a:lnTo>
                    <a:pt x="396" y="535"/>
                  </a:lnTo>
                  <a:lnTo>
                    <a:pt x="400" y="544"/>
                  </a:lnTo>
                  <a:lnTo>
                    <a:pt x="413" y="556"/>
                  </a:lnTo>
                  <a:lnTo>
                    <a:pt x="413" y="556"/>
                  </a:lnTo>
                  <a:lnTo>
                    <a:pt x="415" y="559"/>
                  </a:lnTo>
                  <a:lnTo>
                    <a:pt x="419" y="563"/>
                  </a:lnTo>
                  <a:lnTo>
                    <a:pt x="423" y="565"/>
                  </a:lnTo>
                  <a:lnTo>
                    <a:pt x="434" y="573"/>
                  </a:lnTo>
                  <a:lnTo>
                    <a:pt x="428" y="569"/>
                  </a:lnTo>
                  <a:lnTo>
                    <a:pt x="425" y="569"/>
                  </a:lnTo>
                  <a:lnTo>
                    <a:pt x="421" y="567"/>
                  </a:lnTo>
                  <a:lnTo>
                    <a:pt x="419" y="567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73"/>
                  </a:lnTo>
                  <a:lnTo>
                    <a:pt x="421" y="575"/>
                  </a:lnTo>
                  <a:lnTo>
                    <a:pt x="425" y="575"/>
                  </a:lnTo>
                  <a:lnTo>
                    <a:pt x="428" y="577"/>
                  </a:lnTo>
                  <a:lnTo>
                    <a:pt x="434" y="582"/>
                  </a:lnTo>
                  <a:lnTo>
                    <a:pt x="434" y="584"/>
                  </a:lnTo>
                  <a:lnTo>
                    <a:pt x="436" y="584"/>
                  </a:lnTo>
                  <a:lnTo>
                    <a:pt x="442" y="584"/>
                  </a:lnTo>
                  <a:lnTo>
                    <a:pt x="446" y="586"/>
                  </a:lnTo>
                  <a:lnTo>
                    <a:pt x="451" y="588"/>
                  </a:lnTo>
                  <a:lnTo>
                    <a:pt x="457" y="592"/>
                  </a:lnTo>
                  <a:lnTo>
                    <a:pt x="461" y="596"/>
                  </a:lnTo>
                  <a:lnTo>
                    <a:pt x="461" y="596"/>
                  </a:lnTo>
                  <a:lnTo>
                    <a:pt x="463" y="596"/>
                  </a:lnTo>
                  <a:lnTo>
                    <a:pt x="465" y="596"/>
                  </a:lnTo>
                  <a:lnTo>
                    <a:pt x="467" y="596"/>
                  </a:lnTo>
                  <a:lnTo>
                    <a:pt x="467" y="598"/>
                  </a:lnTo>
                  <a:lnTo>
                    <a:pt x="467" y="598"/>
                  </a:lnTo>
                  <a:lnTo>
                    <a:pt x="463" y="598"/>
                  </a:lnTo>
                  <a:lnTo>
                    <a:pt x="461" y="598"/>
                  </a:lnTo>
                  <a:lnTo>
                    <a:pt x="461" y="598"/>
                  </a:lnTo>
                  <a:lnTo>
                    <a:pt x="459" y="596"/>
                  </a:lnTo>
                  <a:lnTo>
                    <a:pt x="457" y="596"/>
                  </a:lnTo>
                  <a:lnTo>
                    <a:pt x="457" y="596"/>
                  </a:lnTo>
                  <a:lnTo>
                    <a:pt x="457" y="596"/>
                  </a:lnTo>
                  <a:lnTo>
                    <a:pt x="453" y="592"/>
                  </a:lnTo>
                  <a:lnTo>
                    <a:pt x="451" y="592"/>
                  </a:lnTo>
                  <a:lnTo>
                    <a:pt x="449" y="588"/>
                  </a:lnTo>
                  <a:lnTo>
                    <a:pt x="446" y="588"/>
                  </a:lnTo>
                  <a:lnTo>
                    <a:pt x="446" y="588"/>
                  </a:lnTo>
                  <a:lnTo>
                    <a:pt x="444" y="586"/>
                  </a:lnTo>
                  <a:lnTo>
                    <a:pt x="444" y="586"/>
                  </a:lnTo>
                  <a:lnTo>
                    <a:pt x="442" y="586"/>
                  </a:lnTo>
                  <a:lnTo>
                    <a:pt x="438" y="586"/>
                  </a:lnTo>
                  <a:lnTo>
                    <a:pt x="432" y="588"/>
                  </a:lnTo>
                  <a:lnTo>
                    <a:pt x="430" y="588"/>
                  </a:lnTo>
                  <a:lnTo>
                    <a:pt x="428" y="590"/>
                  </a:lnTo>
                  <a:lnTo>
                    <a:pt x="425" y="592"/>
                  </a:lnTo>
                  <a:lnTo>
                    <a:pt x="423" y="592"/>
                  </a:lnTo>
                  <a:lnTo>
                    <a:pt x="419" y="590"/>
                  </a:lnTo>
                  <a:lnTo>
                    <a:pt x="417" y="590"/>
                  </a:lnTo>
                  <a:lnTo>
                    <a:pt x="413" y="590"/>
                  </a:lnTo>
                  <a:lnTo>
                    <a:pt x="411" y="590"/>
                  </a:lnTo>
                  <a:lnTo>
                    <a:pt x="411" y="590"/>
                  </a:lnTo>
                  <a:lnTo>
                    <a:pt x="409" y="592"/>
                  </a:lnTo>
                  <a:lnTo>
                    <a:pt x="409" y="596"/>
                  </a:lnTo>
                  <a:lnTo>
                    <a:pt x="417" y="601"/>
                  </a:lnTo>
                  <a:lnTo>
                    <a:pt x="425" y="611"/>
                  </a:lnTo>
                  <a:lnTo>
                    <a:pt x="428" y="611"/>
                  </a:lnTo>
                  <a:lnTo>
                    <a:pt x="428" y="611"/>
                  </a:lnTo>
                  <a:lnTo>
                    <a:pt x="432" y="613"/>
                  </a:lnTo>
                  <a:lnTo>
                    <a:pt x="436" y="615"/>
                  </a:lnTo>
                  <a:lnTo>
                    <a:pt x="436" y="615"/>
                  </a:lnTo>
                  <a:lnTo>
                    <a:pt x="442" y="615"/>
                  </a:lnTo>
                  <a:lnTo>
                    <a:pt x="444" y="615"/>
                  </a:lnTo>
                  <a:lnTo>
                    <a:pt x="446" y="617"/>
                  </a:lnTo>
                  <a:lnTo>
                    <a:pt x="451" y="619"/>
                  </a:lnTo>
                  <a:lnTo>
                    <a:pt x="453" y="622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63" y="619"/>
                  </a:lnTo>
                  <a:lnTo>
                    <a:pt x="465" y="619"/>
                  </a:lnTo>
                  <a:lnTo>
                    <a:pt x="465" y="619"/>
                  </a:lnTo>
                  <a:lnTo>
                    <a:pt x="467" y="617"/>
                  </a:lnTo>
                  <a:lnTo>
                    <a:pt x="469" y="615"/>
                  </a:lnTo>
                  <a:lnTo>
                    <a:pt x="472" y="615"/>
                  </a:lnTo>
                  <a:lnTo>
                    <a:pt x="472" y="615"/>
                  </a:lnTo>
                  <a:lnTo>
                    <a:pt x="472" y="615"/>
                  </a:lnTo>
                  <a:lnTo>
                    <a:pt x="469" y="617"/>
                  </a:lnTo>
                  <a:lnTo>
                    <a:pt x="469" y="619"/>
                  </a:lnTo>
                  <a:lnTo>
                    <a:pt x="467" y="622"/>
                  </a:lnTo>
                  <a:lnTo>
                    <a:pt x="465" y="624"/>
                  </a:lnTo>
                  <a:lnTo>
                    <a:pt x="465" y="624"/>
                  </a:lnTo>
                  <a:lnTo>
                    <a:pt x="451" y="624"/>
                  </a:lnTo>
                  <a:lnTo>
                    <a:pt x="449" y="624"/>
                  </a:lnTo>
                  <a:lnTo>
                    <a:pt x="446" y="622"/>
                  </a:lnTo>
                  <a:lnTo>
                    <a:pt x="444" y="619"/>
                  </a:lnTo>
                  <a:lnTo>
                    <a:pt x="440" y="619"/>
                  </a:lnTo>
                  <a:lnTo>
                    <a:pt x="421" y="619"/>
                  </a:lnTo>
                  <a:lnTo>
                    <a:pt x="419" y="619"/>
                  </a:lnTo>
                  <a:lnTo>
                    <a:pt x="419" y="622"/>
                  </a:lnTo>
                  <a:lnTo>
                    <a:pt x="419" y="622"/>
                  </a:lnTo>
                  <a:lnTo>
                    <a:pt x="421" y="624"/>
                  </a:lnTo>
                  <a:lnTo>
                    <a:pt x="421" y="624"/>
                  </a:lnTo>
                  <a:lnTo>
                    <a:pt x="421" y="624"/>
                  </a:lnTo>
                  <a:lnTo>
                    <a:pt x="423" y="624"/>
                  </a:lnTo>
                  <a:lnTo>
                    <a:pt x="425" y="624"/>
                  </a:lnTo>
                  <a:lnTo>
                    <a:pt x="425" y="624"/>
                  </a:lnTo>
                  <a:lnTo>
                    <a:pt x="425" y="626"/>
                  </a:lnTo>
                  <a:lnTo>
                    <a:pt x="428" y="626"/>
                  </a:lnTo>
                  <a:lnTo>
                    <a:pt x="434" y="630"/>
                  </a:lnTo>
                  <a:lnTo>
                    <a:pt x="438" y="632"/>
                  </a:lnTo>
                  <a:lnTo>
                    <a:pt x="438" y="634"/>
                  </a:lnTo>
                  <a:lnTo>
                    <a:pt x="442" y="640"/>
                  </a:lnTo>
                  <a:lnTo>
                    <a:pt x="444" y="643"/>
                  </a:lnTo>
                  <a:lnTo>
                    <a:pt x="444" y="649"/>
                  </a:lnTo>
                  <a:lnTo>
                    <a:pt x="446" y="649"/>
                  </a:lnTo>
                  <a:lnTo>
                    <a:pt x="451" y="649"/>
                  </a:lnTo>
                  <a:lnTo>
                    <a:pt x="453" y="649"/>
                  </a:lnTo>
                  <a:lnTo>
                    <a:pt x="457" y="651"/>
                  </a:lnTo>
                  <a:lnTo>
                    <a:pt x="459" y="653"/>
                  </a:lnTo>
                  <a:lnTo>
                    <a:pt x="459" y="657"/>
                  </a:lnTo>
                  <a:lnTo>
                    <a:pt x="457" y="657"/>
                  </a:lnTo>
                  <a:lnTo>
                    <a:pt x="457" y="659"/>
                  </a:lnTo>
                  <a:lnTo>
                    <a:pt x="455" y="659"/>
                  </a:lnTo>
                  <a:lnTo>
                    <a:pt x="455" y="661"/>
                  </a:lnTo>
                  <a:lnTo>
                    <a:pt x="455" y="664"/>
                  </a:lnTo>
                  <a:lnTo>
                    <a:pt x="455" y="666"/>
                  </a:lnTo>
                  <a:lnTo>
                    <a:pt x="453" y="666"/>
                  </a:lnTo>
                  <a:lnTo>
                    <a:pt x="451" y="672"/>
                  </a:lnTo>
                  <a:lnTo>
                    <a:pt x="451" y="680"/>
                  </a:lnTo>
                  <a:lnTo>
                    <a:pt x="449" y="682"/>
                  </a:lnTo>
                  <a:lnTo>
                    <a:pt x="446" y="685"/>
                  </a:lnTo>
                  <a:lnTo>
                    <a:pt x="442" y="685"/>
                  </a:lnTo>
                  <a:lnTo>
                    <a:pt x="442" y="687"/>
                  </a:lnTo>
                  <a:lnTo>
                    <a:pt x="442" y="689"/>
                  </a:lnTo>
                  <a:lnTo>
                    <a:pt x="442" y="697"/>
                  </a:lnTo>
                  <a:lnTo>
                    <a:pt x="440" y="699"/>
                  </a:lnTo>
                  <a:lnTo>
                    <a:pt x="440" y="699"/>
                  </a:lnTo>
                  <a:lnTo>
                    <a:pt x="442" y="701"/>
                  </a:lnTo>
                  <a:lnTo>
                    <a:pt x="442" y="701"/>
                  </a:lnTo>
                  <a:lnTo>
                    <a:pt x="442" y="701"/>
                  </a:lnTo>
                  <a:lnTo>
                    <a:pt x="442" y="703"/>
                  </a:lnTo>
                  <a:lnTo>
                    <a:pt x="440" y="703"/>
                  </a:lnTo>
                  <a:lnTo>
                    <a:pt x="436" y="706"/>
                  </a:lnTo>
                  <a:lnTo>
                    <a:pt x="436" y="708"/>
                  </a:lnTo>
                  <a:lnTo>
                    <a:pt x="434" y="710"/>
                  </a:lnTo>
                  <a:lnTo>
                    <a:pt x="436" y="712"/>
                  </a:lnTo>
                  <a:lnTo>
                    <a:pt x="436" y="714"/>
                  </a:lnTo>
                  <a:lnTo>
                    <a:pt x="438" y="716"/>
                  </a:lnTo>
                  <a:lnTo>
                    <a:pt x="442" y="722"/>
                  </a:lnTo>
                  <a:lnTo>
                    <a:pt x="442" y="724"/>
                  </a:lnTo>
                  <a:lnTo>
                    <a:pt x="444" y="724"/>
                  </a:lnTo>
                  <a:lnTo>
                    <a:pt x="444" y="722"/>
                  </a:lnTo>
                  <a:lnTo>
                    <a:pt x="444" y="722"/>
                  </a:lnTo>
                  <a:lnTo>
                    <a:pt x="446" y="722"/>
                  </a:lnTo>
                  <a:lnTo>
                    <a:pt x="446" y="720"/>
                  </a:lnTo>
                  <a:lnTo>
                    <a:pt x="446" y="718"/>
                  </a:lnTo>
                  <a:lnTo>
                    <a:pt x="446" y="718"/>
                  </a:lnTo>
                  <a:lnTo>
                    <a:pt x="459" y="708"/>
                  </a:lnTo>
                  <a:lnTo>
                    <a:pt x="461" y="708"/>
                  </a:lnTo>
                  <a:lnTo>
                    <a:pt x="469" y="706"/>
                  </a:lnTo>
                  <a:lnTo>
                    <a:pt x="472" y="703"/>
                  </a:lnTo>
                  <a:lnTo>
                    <a:pt x="472" y="699"/>
                  </a:lnTo>
                  <a:lnTo>
                    <a:pt x="472" y="697"/>
                  </a:lnTo>
                  <a:lnTo>
                    <a:pt x="472" y="697"/>
                  </a:lnTo>
                  <a:lnTo>
                    <a:pt x="472" y="697"/>
                  </a:lnTo>
                  <a:lnTo>
                    <a:pt x="472" y="697"/>
                  </a:lnTo>
                  <a:lnTo>
                    <a:pt x="469" y="697"/>
                  </a:lnTo>
                  <a:lnTo>
                    <a:pt x="469" y="695"/>
                  </a:lnTo>
                  <a:lnTo>
                    <a:pt x="469" y="695"/>
                  </a:lnTo>
                  <a:lnTo>
                    <a:pt x="469" y="693"/>
                  </a:lnTo>
                  <a:lnTo>
                    <a:pt x="469" y="693"/>
                  </a:lnTo>
                  <a:lnTo>
                    <a:pt x="469" y="691"/>
                  </a:lnTo>
                  <a:lnTo>
                    <a:pt x="474" y="691"/>
                  </a:lnTo>
                  <a:lnTo>
                    <a:pt x="478" y="693"/>
                  </a:lnTo>
                  <a:lnTo>
                    <a:pt x="476" y="695"/>
                  </a:lnTo>
                  <a:lnTo>
                    <a:pt x="474" y="693"/>
                  </a:lnTo>
                  <a:lnTo>
                    <a:pt x="472" y="693"/>
                  </a:lnTo>
                  <a:lnTo>
                    <a:pt x="469" y="693"/>
                  </a:lnTo>
                  <a:lnTo>
                    <a:pt x="472" y="695"/>
                  </a:lnTo>
                  <a:lnTo>
                    <a:pt x="474" y="697"/>
                  </a:lnTo>
                  <a:lnTo>
                    <a:pt x="474" y="699"/>
                  </a:lnTo>
                  <a:lnTo>
                    <a:pt x="474" y="701"/>
                  </a:lnTo>
                  <a:lnTo>
                    <a:pt x="474" y="703"/>
                  </a:lnTo>
                  <a:lnTo>
                    <a:pt x="474" y="703"/>
                  </a:lnTo>
                  <a:lnTo>
                    <a:pt x="474" y="703"/>
                  </a:lnTo>
                  <a:lnTo>
                    <a:pt x="472" y="706"/>
                  </a:lnTo>
                  <a:lnTo>
                    <a:pt x="472" y="706"/>
                  </a:lnTo>
                  <a:lnTo>
                    <a:pt x="474" y="710"/>
                  </a:lnTo>
                  <a:lnTo>
                    <a:pt x="476" y="712"/>
                  </a:lnTo>
                  <a:lnTo>
                    <a:pt x="480" y="714"/>
                  </a:lnTo>
                  <a:lnTo>
                    <a:pt x="484" y="714"/>
                  </a:lnTo>
                  <a:lnTo>
                    <a:pt x="486" y="714"/>
                  </a:lnTo>
                  <a:lnTo>
                    <a:pt x="490" y="714"/>
                  </a:lnTo>
                  <a:lnTo>
                    <a:pt x="499" y="712"/>
                  </a:lnTo>
                  <a:lnTo>
                    <a:pt x="501" y="712"/>
                  </a:lnTo>
                  <a:lnTo>
                    <a:pt x="507" y="708"/>
                  </a:lnTo>
                  <a:lnTo>
                    <a:pt x="509" y="708"/>
                  </a:lnTo>
                  <a:lnTo>
                    <a:pt x="522" y="706"/>
                  </a:lnTo>
                  <a:lnTo>
                    <a:pt x="539" y="706"/>
                  </a:lnTo>
                  <a:lnTo>
                    <a:pt x="541" y="706"/>
                  </a:lnTo>
                  <a:lnTo>
                    <a:pt x="545" y="703"/>
                  </a:lnTo>
                  <a:lnTo>
                    <a:pt x="547" y="701"/>
                  </a:lnTo>
                  <a:lnTo>
                    <a:pt x="549" y="699"/>
                  </a:lnTo>
                  <a:lnTo>
                    <a:pt x="549" y="693"/>
                  </a:lnTo>
                  <a:lnTo>
                    <a:pt x="549" y="689"/>
                  </a:lnTo>
                  <a:lnTo>
                    <a:pt x="549" y="689"/>
                  </a:lnTo>
                  <a:lnTo>
                    <a:pt x="551" y="689"/>
                  </a:lnTo>
                  <a:lnTo>
                    <a:pt x="553" y="689"/>
                  </a:lnTo>
                  <a:lnTo>
                    <a:pt x="555" y="687"/>
                  </a:lnTo>
                  <a:lnTo>
                    <a:pt x="557" y="685"/>
                  </a:lnTo>
                  <a:lnTo>
                    <a:pt x="557" y="685"/>
                  </a:lnTo>
                  <a:lnTo>
                    <a:pt x="555" y="689"/>
                  </a:lnTo>
                  <a:lnTo>
                    <a:pt x="555" y="691"/>
                  </a:lnTo>
                  <a:lnTo>
                    <a:pt x="551" y="689"/>
                  </a:lnTo>
                  <a:lnTo>
                    <a:pt x="549" y="691"/>
                  </a:lnTo>
                  <a:lnTo>
                    <a:pt x="549" y="693"/>
                  </a:lnTo>
                  <a:lnTo>
                    <a:pt x="549" y="695"/>
                  </a:lnTo>
                  <a:lnTo>
                    <a:pt x="551" y="699"/>
                  </a:lnTo>
                  <a:lnTo>
                    <a:pt x="549" y="701"/>
                  </a:lnTo>
                  <a:lnTo>
                    <a:pt x="549" y="703"/>
                  </a:lnTo>
                  <a:lnTo>
                    <a:pt x="549" y="703"/>
                  </a:lnTo>
                  <a:lnTo>
                    <a:pt x="547" y="703"/>
                  </a:lnTo>
                  <a:lnTo>
                    <a:pt x="547" y="703"/>
                  </a:lnTo>
                  <a:lnTo>
                    <a:pt x="545" y="706"/>
                  </a:lnTo>
                  <a:lnTo>
                    <a:pt x="543" y="708"/>
                  </a:lnTo>
                  <a:lnTo>
                    <a:pt x="541" y="710"/>
                  </a:lnTo>
                  <a:lnTo>
                    <a:pt x="541" y="712"/>
                  </a:lnTo>
                  <a:lnTo>
                    <a:pt x="543" y="714"/>
                  </a:lnTo>
                  <a:lnTo>
                    <a:pt x="547" y="718"/>
                  </a:lnTo>
                  <a:lnTo>
                    <a:pt x="568" y="735"/>
                  </a:lnTo>
                  <a:lnTo>
                    <a:pt x="570" y="737"/>
                  </a:lnTo>
                  <a:lnTo>
                    <a:pt x="572" y="739"/>
                  </a:lnTo>
                  <a:lnTo>
                    <a:pt x="578" y="741"/>
                  </a:lnTo>
                  <a:lnTo>
                    <a:pt x="578" y="741"/>
                  </a:lnTo>
                  <a:lnTo>
                    <a:pt x="578" y="743"/>
                  </a:lnTo>
                  <a:lnTo>
                    <a:pt x="581" y="745"/>
                  </a:lnTo>
                  <a:lnTo>
                    <a:pt x="587" y="750"/>
                  </a:lnTo>
                  <a:lnTo>
                    <a:pt x="587" y="752"/>
                  </a:lnTo>
                  <a:lnTo>
                    <a:pt x="591" y="756"/>
                  </a:lnTo>
                  <a:lnTo>
                    <a:pt x="604" y="773"/>
                  </a:lnTo>
                  <a:lnTo>
                    <a:pt x="624" y="796"/>
                  </a:lnTo>
                  <a:lnTo>
                    <a:pt x="631" y="798"/>
                  </a:lnTo>
                  <a:lnTo>
                    <a:pt x="633" y="798"/>
                  </a:lnTo>
                  <a:lnTo>
                    <a:pt x="637" y="800"/>
                  </a:lnTo>
                  <a:lnTo>
                    <a:pt x="637" y="800"/>
                  </a:lnTo>
                  <a:lnTo>
                    <a:pt x="637" y="800"/>
                  </a:lnTo>
                  <a:lnTo>
                    <a:pt x="637" y="790"/>
                  </a:lnTo>
                  <a:lnTo>
                    <a:pt x="637" y="771"/>
                  </a:lnTo>
                  <a:lnTo>
                    <a:pt x="637" y="754"/>
                  </a:lnTo>
                  <a:lnTo>
                    <a:pt x="637" y="737"/>
                  </a:lnTo>
                  <a:close/>
                  <a:moveTo>
                    <a:pt x="415" y="718"/>
                  </a:moveTo>
                  <a:lnTo>
                    <a:pt x="417" y="714"/>
                  </a:lnTo>
                  <a:lnTo>
                    <a:pt x="417" y="712"/>
                  </a:lnTo>
                  <a:lnTo>
                    <a:pt x="419" y="710"/>
                  </a:lnTo>
                  <a:lnTo>
                    <a:pt x="421" y="710"/>
                  </a:lnTo>
                  <a:lnTo>
                    <a:pt x="425" y="710"/>
                  </a:lnTo>
                  <a:lnTo>
                    <a:pt x="428" y="710"/>
                  </a:lnTo>
                  <a:lnTo>
                    <a:pt x="430" y="708"/>
                  </a:lnTo>
                  <a:lnTo>
                    <a:pt x="432" y="703"/>
                  </a:lnTo>
                  <a:lnTo>
                    <a:pt x="434" y="703"/>
                  </a:lnTo>
                  <a:lnTo>
                    <a:pt x="436" y="703"/>
                  </a:lnTo>
                  <a:lnTo>
                    <a:pt x="440" y="703"/>
                  </a:lnTo>
                  <a:lnTo>
                    <a:pt x="440" y="699"/>
                  </a:lnTo>
                  <a:lnTo>
                    <a:pt x="440" y="697"/>
                  </a:lnTo>
                  <a:lnTo>
                    <a:pt x="438" y="689"/>
                  </a:lnTo>
                  <a:lnTo>
                    <a:pt x="440" y="687"/>
                  </a:lnTo>
                  <a:lnTo>
                    <a:pt x="442" y="685"/>
                  </a:lnTo>
                  <a:lnTo>
                    <a:pt x="446" y="682"/>
                  </a:lnTo>
                  <a:lnTo>
                    <a:pt x="449" y="680"/>
                  </a:lnTo>
                  <a:lnTo>
                    <a:pt x="449" y="680"/>
                  </a:lnTo>
                  <a:lnTo>
                    <a:pt x="449" y="670"/>
                  </a:lnTo>
                  <a:lnTo>
                    <a:pt x="449" y="670"/>
                  </a:lnTo>
                  <a:lnTo>
                    <a:pt x="453" y="664"/>
                  </a:lnTo>
                  <a:lnTo>
                    <a:pt x="453" y="661"/>
                  </a:lnTo>
                  <a:lnTo>
                    <a:pt x="455" y="659"/>
                  </a:lnTo>
                  <a:lnTo>
                    <a:pt x="455" y="657"/>
                  </a:lnTo>
                  <a:lnTo>
                    <a:pt x="457" y="655"/>
                  </a:lnTo>
                  <a:lnTo>
                    <a:pt x="455" y="655"/>
                  </a:lnTo>
                  <a:lnTo>
                    <a:pt x="446" y="653"/>
                  </a:lnTo>
                  <a:lnTo>
                    <a:pt x="444" y="653"/>
                  </a:lnTo>
                  <a:lnTo>
                    <a:pt x="442" y="651"/>
                  </a:lnTo>
                  <a:lnTo>
                    <a:pt x="442" y="651"/>
                  </a:lnTo>
                  <a:lnTo>
                    <a:pt x="440" y="649"/>
                  </a:lnTo>
                  <a:lnTo>
                    <a:pt x="436" y="643"/>
                  </a:lnTo>
                  <a:lnTo>
                    <a:pt x="436" y="640"/>
                  </a:lnTo>
                  <a:lnTo>
                    <a:pt x="432" y="636"/>
                  </a:lnTo>
                  <a:lnTo>
                    <a:pt x="423" y="634"/>
                  </a:lnTo>
                  <a:lnTo>
                    <a:pt x="415" y="636"/>
                  </a:lnTo>
                  <a:lnTo>
                    <a:pt x="409" y="636"/>
                  </a:lnTo>
                  <a:lnTo>
                    <a:pt x="405" y="638"/>
                  </a:lnTo>
                  <a:lnTo>
                    <a:pt x="392" y="638"/>
                  </a:lnTo>
                  <a:lnTo>
                    <a:pt x="379" y="645"/>
                  </a:lnTo>
                  <a:lnTo>
                    <a:pt x="365" y="653"/>
                  </a:lnTo>
                  <a:lnTo>
                    <a:pt x="358" y="659"/>
                  </a:lnTo>
                  <a:lnTo>
                    <a:pt x="356" y="661"/>
                  </a:lnTo>
                  <a:lnTo>
                    <a:pt x="354" y="666"/>
                  </a:lnTo>
                  <a:lnTo>
                    <a:pt x="354" y="668"/>
                  </a:lnTo>
                  <a:lnTo>
                    <a:pt x="352" y="670"/>
                  </a:lnTo>
                  <a:lnTo>
                    <a:pt x="352" y="672"/>
                  </a:lnTo>
                  <a:lnTo>
                    <a:pt x="348" y="674"/>
                  </a:lnTo>
                  <a:lnTo>
                    <a:pt x="346" y="678"/>
                  </a:lnTo>
                  <a:lnTo>
                    <a:pt x="340" y="693"/>
                  </a:lnTo>
                  <a:lnTo>
                    <a:pt x="338" y="693"/>
                  </a:lnTo>
                  <a:lnTo>
                    <a:pt x="338" y="695"/>
                  </a:lnTo>
                  <a:lnTo>
                    <a:pt x="338" y="699"/>
                  </a:lnTo>
                  <a:lnTo>
                    <a:pt x="335" y="701"/>
                  </a:lnTo>
                  <a:lnTo>
                    <a:pt x="333" y="703"/>
                  </a:lnTo>
                  <a:lnTo>
                    <a:pt x="331" y="703"/>
                  </a:lnTo>
                  <a:lnTo>
                    <a:pt x="331" y="706"/>
                  </a:lnTo>
                  <a:lnTo>
                    <a:pt x="329" y="710"/>
                  </a:lnTo>
                  <a:lnTo>
                    <a:pt x="321" y="733"/>
                  </a:lnTo>
                  <a:lnTo>
                    <a:pt x="321" y="737"/>
                  </a:lnTo>
                  <a:lnTo>
                    <a:pt x="325" y="737"/>
                  </a:lnTo>
                  <a:lnTo>
                    <a:pt x="333" y="733"/>
                  </a:lnTo>
                  <a:lnTo>
                    <a:pt x="338" y="733"/>
                  </a:lnTo>
                  <a:lnTo>
                    <a:pt x="342" y="731"/>
                  </a:lnTo>
                  <a:lnTo>
                    <a:pt x="358" y="733"/>
                  </a:lnTo>
                  <a:lnTo>
                    <a:pt x="373" y="733"/>
                  </a:lnTo>
                  <a:lnTo>
                    <a:pt x="377" y="733"/>
                  </a:lnTo>
                  <a:lnTo>
                    <a:pt x="384" y="735"/>
                  </a:lnTo>
                  <a:lnTo>
                    <a:pt x="388" y="735"/>
                  </a:lnTo>
                  <a:lnTo>
                    <a:pt x="392" y="735"/>
                  </a:lnTo>
                  <a:lnTo>
                    <a:pt x="394" y="733"/>
                  </a:lnTo>
                  <a:lnTo>
                    <a:pt x="398" y="731"/>
                  </a:lnTo>
                  <a:lnTo>
                    <a:pt x="400" y="729"/>
                  </a:lnTo>
                  <a:lnTo>
                    <a:pt x="402" y="727"/>
                  </a:lnTo>
                  <a:lnTo>
                    <a:pt x="405" y="724"/>
                  </a:lnTo>
                  <a:lnTo>
                    <a:pt x="407" y="724"/>
                  </a:lnTo>
                  <a:lnTo>
                    <a:pt x="413" y="720"/>
                  </a:lnTo>
                  <a:lnTo>
                    <a:pt x="415" y="718"/>
                  </a:lnTo>
                  <a:close/>
                  <a:moveTo>
                    <a:pt x="440" y="729"/>
                  </a:moveTo>
                  <a:lnTo>
                    <a:pt x="436" y="724"/>
                  </a:lnTo>
                  <a:lnTo>
                    <a:pt x="436" y="722"/>
                  </a:lnTo>
                  <a:lnTo>
                    <a:pt x="434" y="720"/>
                  </a:lnTo>
                  <a:lnTo>
                    <a:pt x="434" y="716"/>
                  </a:lnTo>
                  <a:lnTo>
                    <a:pt x="434" y="714"/>
                  </a:lnTo>
                  <a:lnTo>
                    <a:pt x="432" y="712"/>
                  </a:lnTo>
                  <a:lnTo>
                    <a:pt x="430" y="710"/>
                  </a:lnTo>
                  <a:lnTo>
                    <a:pt x="423" y="712"/>
                  </a:lnTo>
                  <a:lnTo>
                    <a:pt x="421" y="712"/>
                  </a:lnTo>
                  <a:lnTo>
                    <a:pt x="419" y="714"/>
                  </a:lnTo>
                  <a:lnTo>
                    <a:pt x="419" y="714"/>
                  </a:lnTo>
                  <a:lnTo>
                    <a:pt x="419" y="716"/>
                  </a:lnTo>
                  <a:lnTo>
                    <a:pt x="417" y="718"/>
                  </a:lnTo>
                  <a:lnTo>
                    <a:pt x="415" y="720"/>
                  </a:lnTo>
                  <a:lnTo>
                    <a:pt x="409" y="724"/>
                  </a:lnTo>
                  <a:lnTo>
                    <a:pt x="407" y="727"/>
                  </a:lnTo>
                  <a:lnTo>
                    <a:pt x="407" y="729"/>
                  </a:lnTo>
                  <a:lnTo>
                    <a:pt x="409" y="731"/>
                  </a:lnTo>
                  <a:lnTo>
                    <a:pt x="411" y="731"/>
                  </a:lnTo>
                  <a:lnTo>
                    <a:pt x="415" y="731"/>
                  </a:lnTo>
                  <a:lnTo>
                    <a:pt x="417" y="731"/>
                  </a:lnTo>
                  <a:lnTo>
                    <a:pt x="421" y="733"/>
                  </a:lnTo>
                  <a:lnTo>
                    <a:pt x="440" y="735"/>
                  </a:lnTo>
                  <a:lnTo>
                    <a:pt x="442" y="733"/>
                  </a:lnTo>
                  <a:lnTo>
                    <a:pt x="442" y="731"/>
                  </a:lnTo>
                  <a:lnTo>
                    <a:pt x="440" y="729"/>
                  </a:lnTo>
                  <a:lnTo>
                    <a:pt x="440" y="729"/>
                  </a:lnTo>
                  <a:close/>
                  <a:moveTo>
                    <a:pt x="417" y="582"/>
                  </a:moveTo>
                  <a:lnTo>
                    <a:pt x="417" y="582"/>
                  </a:lnTo>
                  <a:lnTo>
                    <a:pt x="419" y="584"/>
                  </a:lnTo>
                  <a:lnTo>
                    <a:pt x="419" y="586"/>
                  </a:lnTo>
                  <a:lnTo>
                    <a:pt x="421" y="588"/>
                  </a:lnTo>
                  <a:lnTo>
                    <a:pt x="421" y="588"/>
                  </a:lnTo>
                  <a:lnTo>
                    <a:pt x="423" y="588"/>
                  </a:lnTo>
                  <a:lnTo>
                    <a:pt x="423" y="588"/>
                  </a:lnTo>
                  <a:lnTo>
                    <a:pt x="425" y="588"/>
                  </a:lnTo>
                  <a:lnTo>
                    <a:pt x="428" y="586"/>
                  </a:lnTo>
                  <a:lnTo>
                    <a:pt x="430" y="586"/>
                  </a:lnTo>
                  <a:lnTo>
                    <a:pt x="430" y="584"/>
                  </a:lnTo>
                  <a:lnTo>
                    <a:pt x="430" y="584"/>
                  </a:lnTo>
                  <a:lnTo>
                    <a:pt x="428" y="582"/>
                  </a:lnTo>
                  <a:lnTo>
                    <a:pt x="428" y="580"/>
                  </a:lnTo>
                  <a:lnTo>
                    <a:pt x="425" y="580"/>
                  </a:lnTo>
                  <a:lnTo>
                    <a:pt x="425" y="577"/>
                  </a:lnTo>
                  <a:lnTo>
                    <a:pt x="421" y="577"/>
                  </a:lnTo>
                  <a:lnTo>
                    <a:pt x="419" y="577"/>
                  </a:lnTo>
                  <a:lnTo>
                    <a:pt x="419" y="577"/>
                  </a:lnTo>
                  <a:lnTo>
                    <a:pt x="415" y="575"/>
                  </a:lnTo>
                  <a:lnTo>
                    <a:pt x="415" y="575"/>
                  </a:lnTo>
                  <a:lnTo>
                    <a:pt x="413" y="575"/>
                  </a:lnTo>
                  <a:lnTo>
                    <a:pt x="413" y="577"/>
                  </a:lnTo>
                  <a:lnTo>
                    <a:pt x="415" y="580"/>
                  </a:lnTo>
                  <a:lnTo>
                    <a:pt x="415" y="582"/>
                  </a:lnTo>
                  <a:lnTo>
                    <a:pt x="417" y="582"/>
                  </a:lnTo>
                  <a:close/>
                  <a:moveTo>
                    <a:pt x="57" y="42"/>
                  </a:moveTo>
                  <a:lnTo>
                    <a:pt x="59" y="46"/>
                  </a:lnTo>
                  <a:lnTo>
                    <a:pt x="59" y="46"/>
                  </a:lnTo>
                  <a:lnTo>
                    <a:pt x="61" y="48"/>
                  </a:lnTo>
                  <a:lnTo>
                    <a:pt x="63" y="48"/>
                  </a:lnTo>
                  <a:lnTo>
                    <a:pt x="65" y="48"/>
                  </a:lnTo>
                  <a:lnTo>
                    <a:pt x="67" y="48"/>
                  </a:lnTo>
                  <a:lnTo>
                    <a:pt x="69" y="48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69" y="42"/>
                  </a:lnTo>
                  <a:lnTo>
                    <a:pt x="67" y="44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7" y="40"/>
                  </a:lnTo>
                  <a:lnTo>
                    <a:pt x="67" y="37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7" y="35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1"/>
                  </a:lnTo>
                  <a:lnTo>
                    <a:pt x="65" y="31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3"/>
                  </a:lnTo>
                  <a:lnTo>
                    <a:pt x="55" y="33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7"/>
                  </a:lnTo>
                  <a:lnTo>
                    <a:pt x="55" y="40"/>
                  </a:lnTo>
                  <a:lnTo>
                    <a:pt x="57" y="42"/>
                  </a:lnTo>
                  <a:close/>
                  <a:moveTo>
                    <a:pt x="90" y="86"/>
                  </a:moveTo>
                  <a:lnTo>
                    <a:pt x="99" y="84"/>
                  </a:lnTo>
                  <a:lnTo>
                    <a:pt x="103" y="84"/>
                  </a:lnTo>
                  <a:lnTo>
                    <a:pt x="105" y="82"/>
                  </a:lnTo>
                  <a:lnTo>
                    <a:pt x="103" y="82"/>
                  </a:lnTo>
                  <a:lnTo>
                    <a:pt x="101" y="82"/>
                  </a:lnTo>
                  <a:lnTo>
                    <a:pt x="101" y="82"/>
                  </a:lnTo>
                  <a:lnTo>
                    <a:pt x="99" y="79"/>
                  </a:lnTo>
                  <a:lnTo>
                    <a:pt x="95" y="82"/>
                  </a:lnTo>
                  <a:lnTo>
                    <a:pt x="95" y="82"/>
                  </a:lnTo>
                  <a:lnTo>
                    <a:pt x="92" y="79"/>
                  </a:lnTo>
                  <a:lnTo>
                    <a:pt x="86" y="82"/>
                  </a:lnTo>
                  <a:lnTo>
                    <a:pt x="84" y="79"/>
                  </a:lnTo>
                  <a:lnTo>
                    <a:pt x="82" y="79"/>
                  </a:lnTo>
                  <a:lnTo>
                    <a:pt x="82" y="82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90" y="86"/>
                  </a:lnTo>
                  <a:close/>
                  <a:moveTo>
                    <a:pt x="59" y="195"/>
                  </a:moveTo>
                  <a:lnTo>
                    <a:pt x="57" y="195"/>
                  </a:lnTo>
                  <a:lnTo>
                    <a:pt x="55" y="195"/>
                  </a:lnTo>
                  <a:lnTo>
                    <a:pt x="55" y="195"/>
                  </a:lnTo>
                  <a:lnTo>
                    <a:pt x="55" y="197"/>
                  </a:lnTo>
                  <a:lnTo>
                    <a:pt x="57" y="197"/>
                  </a:lnTo>
                  <a:lnTo>
                    <a:pt x="57" y="197"/>
                  </a:lnTo>
                  <a:lnTo>
                    <a:pt x="59" y="197"/>
                  </a:lnTo>
                  <a:lnTo>
                    <a:pt x="59" y="195"/>
                  </a:lnTo>
                  <a:lnTo>
                    <a:pt x="59" y="195"/>
                  </a:lnTo>
                  <a:lnTo>
                    <a:pt x="59" y="195"/>
                  </a:lnTo>
                  <a:close/>
                  <a:moveTo>
                    <a:pt x="46" y="134"/>
                  </a:moveTo>
                  <a:lnTo>
                    <a:pt x="48" y="134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46" y="132"/>
                  </a:lnTo>
                  <a:lnTo>
                    <a:pt x="46" y="134"/>
                  </a:lnTo>
                  <a:lnTo>
                    <a:pt x="46" y="134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3" name="Freeform 107">
              <a:extLst>
                <a:ext uri="{FF2B5EF4-FFF2-40B4-BE49-F238E27FC236}">
                  <a16:creationId xmlns:a16="http://schemas.microsoft.com/office/drawing/2014/main" id="{91BD5888-9670-464C-B264-396ADDF1BC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89303" y="726693"/>
              <a:ext cx="842963" cy="620315"/>
            </a:xfrm>
            <a:custGeom>
              <a:avLst/>
              <a:gdLst>
                <a:gd name="T0" fmla="*/ 134 w 708"/>
                <a:gd name="T1" fmla="*/ 458 h 521"/>
                <a:gd name="T2" fmla="*/ 100 w 708"/>
                <a:gd name="T3" fmla="*/ 456 h 521"/>
                <a:gd name="T4" fmla="*/ 121 w 708"/>
                <a:gd name="T5" fmla="*/ 469 h 521"/>
                <a:gd name="T6" fmla="*/ 191 w 708"/>
                <a:gd name="T7" fmla="*/ 462 h 521"/>
                <a:gd name="T8" fmla="*/ 314 w 708"/>
                <a:gd name="T9" fmla="*/ 408 h 521"/>
                <a:gd name="T10" fmla="*/ 151 w 708"/>
                <a:gd name="T11" fmla="*/ 475 h 521"/>
                <a:gd name="T12" fmla="*/ 283 w 708"/>
                <a:gd name="T13" fmla="*/ 214 h 521"/>
                <a:gd name="T14" fmla="*/ 94 w 708"/>
                <a:gd name="T15" fmla="*/ 452 h 521"/>
                <a:gd name="T16" fmla="*/ 75 w 708"/>
                <a:gd name="T17" fmla="*/ 454 h 521"/>
                <a:gd name="T18" fmla="*/ 42 w 708"/>
                <a:gd name="T19" fmla="*/ 445 h 521"/>
                <a:gd name="T20" fmla="*/ 8 w 708"/>
                <a:gd name="T21" fmla="*/ 475 h 521"/>
                <a:gd name="T22" fmla="*/ 71 w 708"/>
                <a:gd name="T23" fmla="*/ 466 h 521"/>
                <a:gd name="T24" fmla="*/ 0 w 708"/>
                <a:gd name="T25" fmla="*/ 477 h 521"/>
                <a:gd name="T26" fmla="*/ 329 w 708"/>
                <a:gd name="T27" fmla="*/ 82 h 521"/>
                <a:gd name="T28" fmla="*/ 360 w 708"/>
                <a:gd name="T29" fmla="*/ 67 h 521"/>
                <a:gd name="T30" fmla="*/ 408 w 708"/>
                <a:gd name="T31" fmla="*/ 76 h 521"/>
                <a:gd name="T32" fmla="*/ 385 w 708"/>
                <a:gd name="T33" fmla="*/ 53 h 521"/>
                <a:gd name="T34" fmla="*/ 295 w 708"/>
                <a:gd name="T35" fmla="*/ 290 h 521"/>
                <a:gd name="T36" fmla="*/ 312 w 708"/>
                <a:gd name="T37" fmla="*/ 324 h 521"/>
                <a:gd name="T38" fmla="*/ 295 w 708"/>
                <a:gd name="T39" fmla="*/ 326 h 521"/>
                <a:gd name="T40" fmla="*/ 287 w 708"/>
                <a:gd name="T41" fmla="*/ 340 h 521"/>
                <a:gd name="T42" fmla="*/ 304 w 708"/>
                <a:gd name="T43" fmla="*/ 363 h 521"/>
                <a:gd name="T44" fmla="*/ 327 w 708"/>
                <a:gd name="T45" fmla="*/ 372 h 521"/>
                <a:gd name="T46" fmla="*/ 320 w 708"/>
                <a:gd name="T47" fmla="*/ 355 h 521"/>
                <a:gd name="T48" fmla="*/ 295 w 708"/>
                <a:gd name="T49" fmla="*/ 227 h 521"/>
                <a:gd name="T50" fmla="*/ 383 w 708"/>
                <a:gd name="T51" fmla="*/ 393 h 521"/>
                <a:gd name="T52" fmla="*/ 501 w 708"/>
                <a:gd name="T53" fmla="*/ 294 h 521"/>
                <a:gd name="T54" fmla="*/ 471 w 708"/>
                <a:gd name="T55" fmla="*/ 284 h 521"/>
                <a:gd name="T56" fmla="*/ 429 w 708"/>
                <a:gd name="T57" fmla="*/ 261 h 521"/>
                <a:gd name="T58" fmla="*/ 402 w 708"/>
                <a:gd name="T59" fmla="*/ 235 h 521"/>
                <a:gd name="T60" fmla="*/ 373 w 708"/>
                <a:gd name="T61" fmla="*/ 210 h 521"/>
                <a:gd name="T62" fmla="*/ 415 w 708"/>
                <a:gd name="T63" fmla="*/ 187 h 521"/>
                <a:gd name="T64" fmla="*/ 415 w 708"/>
                <a:gd name="T65" fmla="*/ 145 h 521"/>
                <a:gd name="T66" fmla="*/ 381 w 708"/>
                <a:gd name="T67" fmla="*/ 147 h 521"/>
                <a:gd name="T68" fmla="*/ 362 w 708"/>
                <a:gd name="T69" fmla="*/ 183 h 521"/>
                <a:gd name="T70" fmla="*/ 323 w 708"/>
                <a:gd name="T71" fmla="*/ 208 h 521"/>
                <a:gd name="T72" fmla="*/ 346 w 708"/>
                <a:gd name="T73" fmla="*/ 168 h 521"/>
                <a:gd name="T74" fmla="*/ 348 w 708"/>
                <a:gd name="T75" fmla="*/ 134 h 521"/>
                <a:gd name="T76" fmla="*/ 348 w 708"/>
                <a:gd name="T77" fmla="*/ 95 h 521"/>
                <a:gd name="T78" fmla="*/ 316 w 708"/>
                <a:gd name="T79" fmla="*/ 113 h 521"/>
                <a:gd name="T80" fmla="*/ 299 w 708"/>
                <a:gd name="T81" fmla="*/ 160 h 521"/>
                <a:gd name="T82" fmla="*/ 299 w 708"/>
                <a:gd name="T83" fmla="*/ 189 h 521"/>
                <a:gd name="T84" fmla="*/ 310 w 708"/>
                <a:gd name="T85" fmla="*/ 216 h 521"/>
                <a:gd name="T86" fmla="*/ 318 w 708"/>
                <a:gd name="T87" fmla="*/ 256 h 521"/>
                <a:gd name="T88" fmla="*/ 325 w 708"/>
                <a:gd name="T89" fmla="*/ 317 h 521"/>
                <a:gd name="T90" fmla="*/ 383 w 708"/>
                <a:gd name="T91" fmla="*/ 372 h 521"/>
                <a:gd name="T92" fmla="*/ 346 w 708"/>
                <a:gd name="T93" fmla="*/ 311 h 521"/>
                <a:gd name="T94" fmla="*/ 346 w 708"/>
                <a:gd name="T95" fmla="*/ 244 h 521"/>
                <a:gd name="T96" fmla="*/ 410 w 708"/>
                <a:gd name="T97" fmla="*/ 261 h 521"/>
                <a:gd name="T98" fmla="*/ 528 w 708"/>
                <a:gd name="T99" fmla="*/ 258 h 521"/>
                <a:gd name="T100" fmla="*/ 708 w 708"/>
                <a:gd name="T101" fmla="*/ 8 h 521"/>
                <a:gd name="T102" fmla="*/ 377 w 708"/>
                <a:gd name="T103" fmla="*/ 378 h 521"/>
                <a:gd name="T104" fmla="*/ 283 w 708"/>
                <a:gd name="T105" fmla="*/ 418 h 521"/>
                <a:gd name="T106" fmla="*/ 276 w 708"/>
                <a:gd name="T107" fmla="*/ 347 h 521"/>
                <a:gd name="T108" fmla="*/ 276 w 708"/>
                <a:gd name="T109" fmla="*/ 334 h 521"/>
                <a:gd name="T110" fmla="*/ 283 w 708"/>
                <a:gd name="T111" fmla="*/ 315 h 521"/>
                <a:gd name="T112" fmla="*/ 264 w 708"/>
                <a:gd name="T113" fmla="*/ 326 h 521"/>
                <a:gd name="T114" fmla="*/ 381 w 708"/>
                <a:gd name="T115" fmla="*/ 441 h 521"/>
                <a:gd name="T116" fmla="*/ 331 w 708"/>
                <a:gd name="T117" fmla="*/ 422 h 521"/>
                <a:gd name="T118" fmla="*/ 291 w 708"/>
                <a:gd name="T119" fmla="*/ 433 h 521"/>
                <a:gd name="T120" fmla="*/ 362 w 708"/>
                <a:gd name="T121" fmla="*/ 439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08" h="521">
                  <a:moveTo>
                    <a:pt x="287" y="261"/>
                  </a:moveTo>
                  <a:lnTo>
                    <a:pt x="287" y="263"/>
                  </a:lnTo>
                  <a:lnTo>
                    <a:pt x="291" y="263"/>
                  </a:lnTo>
                  <a:lnTo>
                    <a:pt x="293" y="258"/>
                  </a:lnTo>
                  <a:lnTo>
                    <a:pt x="293" y="254"/>
                  </a:lnTo>
                  <a:lnTo>
                    <a:pt x="291" y="252"/>
                  </a:lnTo>
                  <a:lnTo>
                    <a:pt x="289" y="252"/>
                  </a:lnTo>
                  <a:lnTo>
                    <a:pt x="289" y="254"/>
                  </a:lnTo>
                  <a:lnTo>
                    <a:pt x="287" y="254"/>
                  </a:lnTo>
                  <a:lnTo>
                    <a:pt x="287" y="256"/>
                  </a:lnTo>
                  <a:lnTo>
                    <a:pt x="287" y="256"/>
                  </a:lnTo>
                  <a:lnTo>
                    <a:pt x="287" y="258"/>
                  </a:lnTo>
                  <a:lnTo>
                    <a:pt x="287" y="261"/>
                  </a:lnTo>
                  <a:close/>
                  <a:moveTo>
                    <a:pt x="191" y="460"/>
                  </a:moveTo>
                  <a:lnTo>
                    <a:pt x="186" y="458"/>
                  </a:lnTo>
                  <a:lnTo>
                    <a:pt x="172" y="458"/>
                  </a:lnTo>
                  <a:lnTo>
                    <a:pt x="159" y="456"/>
                  </a:lnTo>
                  <a:lnTo>
                    <a:pt x="155" y="456"/>
                  </a:lnTo>
                  <a:lnTo>
                    <a:pt x="144" y="458"/>
                  </a:lnTo>
                  <a:lnTo>
                    <a:pt x="140" y="458"/>
                  </a:lnTo>
                  <a:lnTo>
                    <a:pt x="138" y="458"/>
                  </a:lnTo>
                  <a:lnTo>
                    <a:pt x="136" y="458"/>
                  </a:lnTo>
                  <a:lnTo>
                    <a:pt x="134" y="458"/>
                  </a:lnTo>
                  <a:lnTo>
                    <a:pt x="134" y="458"/>
                  </a:lnTo>
                  <a:lnTo>
                    <a:pt x="132" y="460"/>
                  </a:lnTo>
                  <a:lnTo>
                    <a:pt x="132" y="460"/>
                  </a:lnTo>
                  <a:lnTo>
                    <a:pt x="124" y="458"/>
                  </a:lnTo>
                  <a:lnTo>
                    <a:pt x="124" y="458"/>
                  </a:lnTo>
                  <a:lnTo>
                    <a:pt x="121" y="458"/>
                  </a:lnTo>
                  <a:lnTo>
                    <a:pt x="117" y="458"/>
                  </a:lnTo>
                  <a:lnTo>
                    <a:pt x="113" y="458"/>
                  </a:lnTo>
                  <a:lnTo>
                    <a:pt x="111" y="458"/>
                  </a:lnTo>
                  <a:lnTo>
                    <a:pt x="111" y="458"/>
                  </a:lnTo>
                  <a:lnTo>
                    <a:pt x="111" y="456"/>
                  </a:lnTo>
                  <a:lnTo>
                    <a:pt x="111" y="456"/>
                  </a:lnTo>
                  <a:lnTo>
                    <a:pt x="111" y="456"/>
                  </a:lnTo>
                  <a:lnTo>
                    <a:pt x="111" y="456"/>
                  </a:lnTo>
                  <a:lnTo>
                    <a:pt x="109" y="458"/>
                  </a:lnTo>
                  <a:lnTo>
                    <a:pt x="107" y="458"/>
                  </a:lnTo>
                  <a:lnTo>
                    <a:pt x="107" y="458"/>
                  </a:lnTo>
                  <a:lnTo>
                    <a:pt x="105" y="458"/>
                  </a:lnTo>
                  <a:lnTo>
                    <a:pt x="105" y="456"/>
                  </a:lnTo>
                  <a:lnTo>
                    <a:pt x="103" y="456"/>
                  </a:lnTo>
                  <a:lnTo>
                    <a:pt x="103" y="456"/>
                  </a:lnTo>
                  <a:lnTo>
                    <a:pt x="103" y="456"/>
                  </a:lnTo>
                  <a:lnTo>
                    <a:pt x="100" y="456"/>
                  </a:lnTo>
                  <a:lnTo>
                    <a:pt x="100" y="458"/>
                  </a:lnTo>
                  <a:lnTo>
                    <a:pt x="100" y="458"/>
                  </a:lnTo>
                  <a:lnTo>
                    <a:pt x="98" y="458"/>
                  </a:lnTo>
                  <a:lnTo>
                    <a:pt x="98" y="460"/>
                  </a:lnTo>
                  <a:lnTo>
                    <a:pt x="96" y="462"/>
                  </a:lnTo>
                  <a:lnTo>
                    <a:pt x="96" y="462"/>
                  </a:lnTo>
                  <a:lnTo>
                    <a:pt x="98" y="464"/>
                  </a:lnTo>
                  <a:lnTo>
                    <a:pt x="98" y="464"/>
                  </a:lnTo>
                  <a:lnTo>
                    <a:pt x="98" y="464"/>
                  </a:lnTo>
                  <a:lnTo>
                    <a:pt x="100" y="464"/>
                  </a:lnTo>
                  <a:lnTo>
                    <a:pt x="100" y="462"/>
                  </a:lnTo>
                  <a:lnTo>
                    <a:pt x="100" y="462"/>
                  </a:lnTo>
                  <a:lnTo>
                    <a:pt x="105" y="464"/>
                  </a:lnTo>
                  <a:lnTo>
                    <a:pt x="107" y="464"/>
                  </a:lnTo>
                  <a:lnTo>
                    <a:pt x="107" y="466"/>
                  </a:lnTo>
                  <a:lnTo>
                    <a:pt x="107" y="469"/>
                  </a:lnTo>
                  <a:lnTo>
                    <a:pt x="107" y="471"/>
                  </a:lnTo>
                  <a:lnTo>
                    <a:pt x="107" y="473"/>
                  </a:lnTo>
                  <a:lnTo>
                    <a:pt x="109" y="471"/>
                  </a:lnTo>
                  <a:lnTo>
                    <a:pt x="111" y="471"/>
                  </a:lnTo>
                  <a:lnTo>
                    <a:pt x="115" y="471"/>
                  </a:lnTo>
                  <a:lnTo>
                    <a:pt x="117" y="471"/>
                  </a:lnTo>
                  <a:lnTo>
                    <a:pt x="121" y="469"/>
                  </a:lnTo>
                  <a:lnTo>
                    <a:pt x="124" y="469"/>
                  </a:lnTo>
                  <a:lnTo>
                    <a:pt x="140" y="469"/>
                  </a:lnTo>
                  <a:lnTo>
                    <a:pt x="147" y="466"/>
                  </a:lnTo>
                  <a:lnTo>
                    <a:pt x="149" y="466"/>
                  </a:lnTo>
                  <a:lnTo>
                    <a:pt x="149" y="469"/>
                  </a:lnTo>
                  <a:lnTo>
                    <a:pt x="151" y="469"/>
                  </a:lnTo>
                  <a:lnTo>
                    <a:pt x="153" y="471"/>
                  </a:lnTo>
                  <a:lnTo>
                    <a:pt x="155" y="469"/>
                  </a:lnTo>
                  <a:lnTo>
                    <a:pt x="157" y="466"/>
                  </a:lnTo>
                  <a:lnTo>
                    <a:pt x="159" y="466"/>
                  </a:lnTo>
                  <a:lnTo>
                    <a:pt x="161" y="466"/>
                  </a:lnTo>
                  <a:lnTo>
                    <a:pt x="165" y="466"/>
                  </a:lnTo>
                  <a:lnTo>
                    <a:pt x="165" y="466"/>
                  </a:lnTo>
                  <a:lnTo>
                    <a:pt x="174" y="464"/>
                  </a:lnTo>
                  <a:lnTo>
                    <a:pt x="176" y="466"/>
                  </a:lnTo>
                  <a:lnTo>
                    <a:pt x="176" y="466"/>
                  </a:lnTo>
                  <a:lnTo>
                    <a:pt x="178" y="464"/>
                  </a:lnTo>
                  <a:lnTo>
                    <a:pt x="178" y="464"/>
                  </a:lnTo>
                  <a:lnTo>
                    <a:pt x="178" y="464"/>
                  </a:lnTo>
                  <a:lnTo>
                    <a:pt x="180" y="464"/>
                  </a:lnTo>
                  <a:lnTo>
                    <a:pt x="184" y="464"/>
                  </a:lnTo>
                  <a:lnTo>
                    <a:pt x="186" y="464"/>
                  </a:lnTo>
                  <a:lnTo>
                    <a:pt x="191" y="462"/>
                  </a:lnTo>
                  <a:lnTo>
                    <a:pt x="193" y="460"/>
                  </a:lnTo>
                  <a:lnTo>
                    <a:pt x="193" y="460"/>
                  </a:lnTo>
                  <a:lnTo>
                    <a:pt x="193" y="460"/>
                  </a:lnTo>
                  <a:lnTo>
                    <a:pt x="193" y="460"/>
                  </a:lnTo>
                  <a:lnTo>
                    <a:pt x="191" y="460"/>
                  </a:lnTo>
                  <a:close/>
                  <a:moveTo>
                    <a:pt x="318" y="401"/>
                  </a:moveTo>
                  <a:lnTo>
                    <a:pt x="314" y="401"/>
                  </a:lnTo>
                  <a:lnTo>
                    <a:pt x="312" y="401"/>
                  </a:lnTo>
                  <a:lnTo>
                    <a:pt x="306" y="399"/>
                  </a:lnTo>
                  <a:lnTo>
                    <a:pt x="304" y="399"/>
                  </a:lnTo>
                  <a:lnTo>
                    <a:pt x="304" y="399"/>
                  </a:lnTo>
                  <a:lnTo>
                    <a:pt x="302" y="401"/>
                  </a:lnTo>
                  <a:lnTo>
                    <a:pt x="299" y="403"/>
                  </a:lnTo>
                  <a:lnTo>
                    <a:pt x="297" y="405"/>
                  </a:lnTo>
                  <a:lnTo>
                    <a:pt x="297" y="405"/>
                  </a:lnTo>
                  <a:lnTo>
                    <a:pt x="299" y="405"/>
                  </a:lnTo>
                  <a:lnTo>
                    <a:pt x="302" y="408"/>
                  </a:lnTo>
                  <a:lnTo>
                    <a:pt x="304" y="408"/>
                  </a:lnTo>
                  <a:lnTo>
                    <a:pt x="304" y="405"/>
                  </a:lnTo>
                  <a:lnTo>
                    <a:pt x="304" y="405"/>
                  </a:lnTo>
                  <a:lnTo>
                    <a:pt x="306" y="405"/>
                  </a:lnTo>
                  <a:lnTo>
                    <a:pt x="310" y="405"/>
                  </a:lnTo>
                  <a:lnTo>
                    <a:pt x="314" y="408"/>
                  </a:lnTo>
                  <a:lnTo>
                    <a:pt x="316" y="408"/>
                  </a:lnTo>
                  <a:lnTo>
                    <a:pt x="318" y="408"/>
                  </a:lnTo>
                  <a:lnTo>
                    <a:pt x="320" y="405"/>
                  </a:lnTo>
                  <a:lnTo>
                    <a:pt x="320" y="403"/>
                  </a:lnTo>
                  <a:lnTo>
                    <a:pt x="318" y="403"/>
                  </a:lnTo>
                  <a:lnTo>
                    <a:pt x="318" y="401"/>
                  </a:lnTo>
                  <a:close/>
                  <a:moveTo>
                    <a:pt x="167" y="515"/>
                  </a:moveTo>
                  <a:lnTo>
                    <a:pt x="165" y="513"/>
                  </a:lnTo>
                  <a:lnTo>
                    <a:pt x="165" y="511"/>
                  </a:lnTo>
                  <a:lnTo>
                    <a:pt x="157" y="494"/>
                  </a:lnTo>
                  <a:lnTo>
                    <a:pt x="157" y="490"/>
                  </a:lnTo>
                  <a:lnTo>
                    <a:pt x="157" y="487"/>
                  </a:lnTo>
                  <a:lnTo>
                    <a:pt x="159" y="481"/>
                  </a:lnTo>
                  <a:lnTo>
                    <a:pt x="159" y="479"/>
                  </a:lnTo>
                  <a:lnTo>
                    <a:pt x="159" y="477"/>
                  </a:lnTo>
                  <a:lnTo>
                    <a:pt x="159" y="477"/>
                  </a:lnTo>
                  <a:lnTo>
                    <a:pt x="159" y="477"/>
                  </a:lnTo>
                  <a:lnTo>
                    <a:pt x="155" y="473"/>
                  </a:lnTo>
                  <a:lnTo>
                    <a:pt x="155" y="473"/>
                  </a:lnTo>
                  <a:lnTo>
                    <a:pt x="153" y="473"/>
                  </a:lnTo>
                  <a:lnTo>
                    <a:pt x="153" y="473"/>
                  </a:lnTo>
                  <a:lnTo>
                    <a:pt x="153" y="475"/>
                  </a:lnTo>
                  <a:lnTo>
                    <a:pt x="151" y="475"/>
                  </a:lnTo>
                  <a:lnTo>
                    <a:pt x="149" y="479"/>
                  </a:lnTo>
                  <a:lnTo>
                    <a:pt x="147" y="479"/>
                  </a:lnTo>
                  <a:lnTo>
                    <a:pt x="147" y="481"/>
                  </a:lnTo>
                  <a:lnTo>
                    <a:pt x="147" y="485"/>
                  </a:lnTo>
                  <a:lnTo>
                    <a:pt x="149" y="487"/>
                  </a:lnTo>
                  <a:lnTo>
                    <a:pt x="149" y="490"/>
                  </a:lnTo>
                  <a:lnTo>
                    <a:pt x="151" y="492"/>
                  </a:lnTo>
                  <a:lnTo>
                    <a:pt x="151" y="498"/>
                  </a:lnTo>
                  <a:lnTo>
                    <a:pt x="151" y="498"/>
                  </a:lnTo>
                  <a:lnTo>
                    <a:pt x="151" y="500"/>
                  </a:lnTo>
                  <a:lnTo>
                    <a:pt x="155" y="500"/>
                  </a:lnTo>
                  <a:lnTo>
                    <a:pt x="155" y="502"/>
                  </a:lnTo>
                  <a:lnTo>
                    <a:pt x="155" y="504"/>
                  </a:lnTo>
                  <a:lnTo>
                    <a:pt x="155" y="511"/>
                  </a:lnTo>
                  <a:lnTo>
                    <a:pt x="157" y="515"/>
                  </a:lnTo>
                  <a:lnTo>
                    <a:pt x="159" y="517"/>
                  </a:lnTo>
                  <a:lnTo>
                    <a:pt x="161" y="519"/>
                  </a:lnTo>
                  <a:lnTo>
                    <a:pt x="163" y="521"/>
                  </a:lnTo>
                  <a:lnTo>
                    <a:pt x="167" y="521"/>
                  </a:lnTo>
                  <a:lnTo>
                    <a:pt x="167" y="519"/>
                  </a:lnTo>
                  <a:lnTo>
                    <a:pt x="167" y="517"/>
                  </a:lnTo>
                  <a:lnTo>
                    <a:pt x="167" y="515"/>
                  </a:lnTo>
                  <a:close/>
                  <a:moveTo>
                    <a:pt x="283" y="214"/>
                  </a:moveTo>
                  <a:lnTo>
                    <a:pt x="283" y="216"/>
                  </a:lnTo>
                  <a:lnTo>
                    <a:pt x="283" y="216"/>
                  </a:lnTo>
                  <a:lnTo>
                    <a:pt x="285" y="216"/>
                  </a:lnTo>
                  <a:lnTo>
                    <a:pt x="287" y="216"/>
                  </a:lnTo>
                  <a:lnTo>
                    <a:pt x="289" y="216"/>
                  </a:lnTo>
                  <a:lnTo>
                    <a:pt x="289" y="214"/>
                  </a:lnTo>
                  <a:lnTo>
                    <a:pt x="289" y="212"/>
                  </a:lnTo>
                  <a:lnTo>
                    <a:pt x="289" y="210"/>
                  </a:lnTo>
                  <a:lnTo>
                    <a:pt x="289" y="210"/>
                  </a:lnTo>
                  <a:lnTo>
                    <a:pt x="285" y="208"/>
                  </a:lnTo>
                  <a:lnTo>
                    <a:pt x="283" y="208"/>
                  </a:lnTo>
                  <a:lnTo>
                    <a:pt x="281" y="210"/>
                  </a:lnTo>
                  <a:lnTo>
                    <a:pt x="281" y="212"/>
                  </a:lnTo>
                  <a:lnTo>
                    <a:pt x="281" y="212"/>
                  </a:lnTo>
                  <a:lnTo>
                    <a:pt x="283" y="214"/>
                  </a:lnTo>
                  <a:close/>
                  <a:moveTo>
                    <a:pt x="94" y="456"/>
                  </a:moveTo>
                  <a:lnTo>
                    <a:pt x="94" y="456"/>
                  </a:lnTo>
                  <a:lnTo>
                    <a:pt x="92" y="456"/>
                  </a:lnTo>
                  <a:lnTo>
                    <a:pt x="92" y="456"/>
                  </a:lnTo>
                  <a:lnTo>
                    <a:pt x="92" y="456"/>
                  </a:lnTo>
                  <a:lnTo>
                    <a:pt x="94" y="454"/>
                  </a:lnTo>
                  <a:lnTo>
                    <a:pt x="94" y="454"/>
                  </a:lnTo>
                  <a:lnTo>
                    <a:pt x="94" y="452"/>
                  </a:lnTo>
                  <a:lnTo>
                    <a:pt x="92" y="452"/>
                  </a:lnTo>
                  <a:lnTo>
                    <a:pt x="90" y="452"/>
                  </a:lnTo>
                  <a:lnTo>
                    <a:pt x="90" y="452"/>
                  </a:lnTo>
                  <a:lnTo>
                    <a:pt x="88" y="452"/>
                  </a:lnTo>
                  <a:lnTo>
                    <a:pt x="88" y="454"/>
                  </a:lnTo>
                  <a:lnTo>
                    <a:pt x="88" y="456"/>
                  </a:lnTo>
                  <a:lnTo>
                    <a:pt x="86" y="456"/>
                  </a:lnTo>
                  <a:lnTo>
                    <a:pt x="86" y="456"/>
                  </a:lnTo>
                  <a:lnTo>
                    <a:pt x="86" y="456"/>
                  </a:lnTo>
                  <a:lnTo>
                    <a:pt x="84" y="456"/>
                  </a:lnTo>
                  <a:lnTo>
                    <a:pt x="84" y="456"/>
                  </a:lnTo>
                  <a:lnTo>
                    <a:pt x="84" y="452"/>
                  </a:lnTo>
                  <a:lnTo>
                    <a:pt x="84" y="450"/>
                  </a:lnTo>
                  <a:lnTo>
                    <a:pt x="84" y="450"/>
                  </a:lnTo>
                  <a:lnTo>
                    <a:pt x="80" y="448"/>
                  </a:lnTo>
                  <a:lnTo>
                    <a:pt x="80" y="448"/>
                  </a:lnTo>
                  <a:lnTo>
                    <a:pt x="77" y="448"/>
                  </a:lnTo>
                  <a:lnTo>
                    <a:pt x="77" y="448"/>
                  </a:lnTo>
                  <a:lnTo>
                    <a:pt x="77" y="448"/>
                  </a:lnTo>
                  <a:lnTo>
                    <a:pt x="75" y="448"/>
                  </a:lnTo>
                  <a:lnTo>
                    <a:pt x="75" y="452"/>
                  </a:lnTo>
                  <a:lnTo>
                    <a:pt x="75" y="454"/>
                  </a:lnTo>
                  <a:lnTo>
                    <a:pt x="75" y="454"/>
                  </a:lnTo>
                  <a:lnTo>
                    <a:pt x="75" y="454"/>
                  </a:lnTo>
                  <a:lnTo>
                    <a:pt x="75" y="454"/>
                  </a:lnTo>
                  <a:lnTo>
                    <a:pt x="73" y="454"/>
                  </a:lnTo>
                  <a:lnTo>
                    <a:pt x="71" y="454"/>
                  </a:lnTo>
                  <a:lnTo>
                    <a:pt x="71" y="454"/>
                  </a:lnTo>
                  <a:lnTo>
                    <a:pt x="71" y="454"/>
                  </a:lnTo>
                  <a:lnTo>
                    <a:pt x="71" y="454"/>
                  </a:lnTo>
                  <a:lnTo>
                    <a:pt x="69" y="454"/>
                  </a:lnTo>
                  <a:lnTo>
                    <a:pt x="69" y="454"/>
                  </a:lnTo>
                  <a:lnTo>
                    <a:pt x="67" y="450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3" y="450"/>
                  </a:lnTo>
                  <a:lnTo>
                    <a:pt x="63" y="450"/>
                  </a:lnTo>
                  <a:lnTo>
                    <a:pt x="63" y="448"/>
                  </a:lnTo>
                  <a:lnTo>
                    <a:pt x="61" y="448"/>
                  </a:lnTo>
                  <a:lnTo>
                    <a:pt x="61" y="448"/>
                  </a:lnTo>
                  <a:lnTo>
                    <a:pt x="61" y="448"/>
                  </a:lnTo>
                  <a:lnTo>
                    <a:pt x="61" y="450"/>
                  </a:lnTo>
                  <a:lnTo>
                    <a:pt x="54" y="448"/>
                  </a:lnTo>
                  <a:lnTo>
                    <a:pt x="48" y="445"/>
                  </a:lnTo>
                  <a:lnTo>
                    <a:pt x="42" y="445"/>
                  </a:lnTo>
                  <a:lnTo>
                    <a:pt x="42" y="445"/>
                  </a:lnTo>
                  <a:lnTo>
                    <a:pt x="40" y="443"/>
                  </a:lnTo>
                  <a:lnTo>
                    <a:pt x="36" y="443"/>
                  </a:lnTo>
                  <a:lnTo>
                    <a:pt x="31" y="441"/>
                  </a:lnTo>
                  <a:lnTo>
                    <a:pt x="27" y="441"/>
                  </a:lnTo>
                  <a:lnTo>
                    <a:pt x="23" y="443"/>
                  </a:lnTo>
                  <a:lnTo>
                    <a:pt x="21" y="443"/>
                  </a:lnTo>
                  <a:lnTo>
                    <a:pt x="21" y="441"/>
                  </a:lnTo>
                  <a:lnTo>
                    <a:pt x="21" y="441"/>
                  </a:lnTo>
                  <a:lnTo>
                    <a:pt x="21" y="441"/>
                  </a:lnTo>
                  <a:lnTo>
                    <a:pt x="19" y="443"/>
                  </a:lnTo>
                  <a:lnTo>
                    <a:pt x="17" y="443"/>
                  </a:lnTo>
                  <a:lnTo>
                    <a:pt x="12" y="443"/>
                  </a:lnTo>
                  <a:lnTo>
                    <a:pt x="10" y="443"/>
                  </a:lnTo>
                  <a:lnTo>
                    <a:pt x="8" y="445"/>
                  </a:lnTo>
                  <a:lnTo>
                    <a:pt x="6" y="450"/>
                  </a:lnTo>
                  <a:lnTo>
                    <a:pt x="6" y="454"/>
                  </a:lnTo>
                  <a:lnTo>
                    <a:pt x="4" y="456"/>
                  </a:lnTo>
                  <a:lnTo>
                    <a:pt x="4" y="458"/>
                  </a:lnTo>
                  <a:lnTo>
                    <a:pt x="2" y="460"/>
                  </a:lnTo>
                  <a:lnTo>
                    <a:pt x="2" y="464"/>
                  </a:lnTo>
                  <a:lnTo>
                    <a:pt x="2" y="466"/>
                  </a:lnTo>
                  <a:lnTo>
                    <a:pt x="8" y="475"/>
                  </a:lnTo>
                  <a:lnTo>
                    <a:pt x="8" y="475"/>
                  </a:lnTo>
                  <a:lnTo>
                    <a:pt x="10" y="477"/>
                  </a:lnTo>
                  <a:lnTo>
                    <a:pt x="12" y="477"/>
                  </a:lnTo>
                  <a:lnTo>
                    <a:pt x="15" y="477"/>
                  </a:lnTo>
                  <a:lnTo>
                    <a:pt x="19" y="477"/>
                  </a:lnTo>
                  <a:lnTo>
                    <a:pt x="23" y="477"/>
                  </a:lnTo>
                  <a:lnTo>
                    <a:pt x="23" y="477"/>
                  </a:lnTo>
                  <a:lnTo>
                    <a:pt x="25" y="477"/>
                  </a:lnTo>
                  <a:lnTo>
                    <a:pt x="25" y="477"/>
                  </a:lnTo>
                  <a:lnTo>
                    <a:pt x="36" y="473"/>
                  </a:lnTo>
                  <a:lnTo>
                    <a:pt x="38" y="473"/>
                  </a:lnTo>
                  <a:lnTo>
                    <a:pt x="46" y="469"/>
                  </a:lnTo>
                  <a:lnTo>
                    <a:pt x="50" y="466"/>
                  </a:lnTo>
                  <a:lnTo>
                    <a:pt x="52" y="466"/>
                  </a:lnTo>
                  <a:lnTo>
                    <a:pt x="54" y="469"/>
                  </a:lnTo>
                  <a:lnTo>
                    <a:pt x="56" y="469"/>
                  </a:lnTo>
                  <a:lnTo>
                    <a:pt x="61" y="469"/>
                  </a:lnTo>
                  <a:lnTo>
                    <a:pt x="61" y="469"/>
                  </a:lnTo>
                  <a:lnTo>
                    <a:pt x="65" y="471"/>
                  </a:lnTo>
                  <a:lnTo>
                    <a:pt x="67" y="471"/>
                  </a:lnTo>
                  <a:lnTo>
                    <a:pt x="67" y="471"/>
                  </a:lnTo>
                  <a:lnTo>
                    <a:pt x="67" y="469"/>
                  </a:lnTo>
                  <a:lnTo>
                    <a:pt x="69" y="466"/>
                  </a:lnTo>
                  <a:lnTo>
                    <a:pt x="71" y="466"/>
                  </a:lnTo>
                  <a:lnTo>
                    <a:pt x="71" y="466"/>
                  </a:lnTo>
                  <a:lnTo>
                    <a:pt x="73" y="466"/>
                  </a:lnTo>
                  <a:lnTo>
                    <a:pt x="75" y="466"/>
                  </a:lnTo>
                  <a:lnTo>
                    <a:pt x="77" y="466"/>
                  </a:lnTo>
                  <a:lnTo>
                    <a:pt x="77" y="464"/>
                  </a:lnTo>
                  <a:lnTo>
                    <a:pt x="80" y="464"/>
                  </a:lnTo>
                  <a:lnTo>
                    <a:pt x="80" y="464"/>
                  </a:lnTo>
                  <a:lnTo>
                    <a:pt x="82" y="464"/>
                  </a:lnTo>
                  <a:lnTo>
                    <a:pt x="84" y="464"/>
                  </a:lnTo>
                  <a:lnTo>
                    <a:pt x="90" y="464"/>
                  </a:lnTo>
                  <a:lnTo>
                    <a:pt x="92" y="464"/>
                  </a:lnTo>
                  <a:lnTo>
                    <a:pt x="94" y="466"/>
                  </a:lnTo>
                  <a:lnTo>
                    <a:pt x="96" y="466"/>
                  </a:lnTo>
                  <a:lnTo>
                    <a:pt x="96" y="464"/>
                  </a:lnTo>
                  <a:lnTo>
                    <a:pt x="96" y="458"/>
                  </a:lnTo>
                  <a:lnTo>
                    <a:pt x="94" y="456"/>
                  </a:lnTo>
                  <a:close/>
                  <a:moveTo>
                    <a:pt x="4" y="473"/>
                  </a:moveTo>
                  <a:lnTo>
                    <a:pt x="2" y="473"/>
                  </a:lnTo>
                  <a:lnTo>
                    <a:pt x="2" y="473"/>
                  </a:lnTo>
                  <a:lnTo>
                    <a:pt x="0" y="475"/>
                  </a:lnTo>
                  <a:lnTo>
                    <a:pt x="0" y="475"/>
                  </a:lnTo>
                  <a:lnTo>
                    <a:pt x="0" y="477"/>
                  </a:lnTo>
                  <a:lnTo>
                    <a:pt x="0" y="477"/>
                  </a:lnTo>
                  <a:lnTo>
                    <a:pt x="2" y="477"/>
                  </a:lnTo>
                  <a:lnTo>
                    <a:pt x="2" y="477"/>
                  </a:lnTo>
                  <a:lnTo>
                    <a:pt x="4" y="479"/>
                  </a:lnTo>
                  <a:lnTo>
                    <a:pt x="6" y="481"/>
                  </a:lnTo>
                  <a:lnTo>
                    <a:pt x="6" y="475"/>
                  </a:lnTo>
                  <a:lnTo>
                    <a:pt x="6" y="475"/>
                  </a:lnTo>
                  <a:lnTo>
                    <a:pt x="4" y="473"/>
                  </a:lnTo>
                  <a:close/>
                  <a:moveTo>
                    <a:pt x="293" y="401"/>
                  </a:moveTo>
                  <a:lnTo>
                    <a:pt x="293" y="403"/>
                  </a:lnTo>
                  <a:lnTo>
                    <a:pt x="293" y="403"/>
                  </a:lnTo>
                  <a:lnTo>
                    <a:pt x="295" y="401"/>
                  </a:lnTo>
                  <a:lnTo>
                    <a:pt x="295" y="401"/>
                  </a:lnTo>
                  <a:lnTo>
                    <a:pt x="295" y="397"/>
                  </a:lnTo>
                  <a:lnTo>
                    <a:pt x="293" y="395"/>
                  </a:lnTo>
                  <a:lnTo>
                    <a:pt x="293" y="395"/>
                  </a:lnTo>
                  <a:lnTo>
                    <a:pt x="291" y="395"/>
                  </a:lnTo>
                  <a:lnTo>
                    <a:pt x="291" y="395"/>
                  </a:lnTo>
                  <a:lnTo>
                    <a:pt x="291" y="397"/>
                  </a:lnTo>
                  <a:lnTo>
                    <a:pt x="291" y="397"/>
                  </a:lnTo>
                  <a:lnTo>
                    <a:pt x="291" y="397"/>
                  </a:lnTo>
                  <a:lnTo>
                    <a:pt x="291" y="401"/>
                  </a:lnTo>
                  <a:lnTo>
                    <a:pt x="293" y="401"/>
                  </a:lnTo>
                  <a:close/>
                  <a:moveTo>
                    <a:pt x="329" y="82"/>
                  </a:moveTo>
                  <a:lnTo>
                    <a:pt x="331" y="80"/>
                  </a:lnTo>
                  <a:lnTo>
                    <a:pt x="331" y="78"/>
                  </a:lnTo>
                  <a:lnTo>
                    <a:pt x="331" y="76"/>
                  </a:lnTo>
                  <a:lnTo>
                    <a:pt x="331" y="76"/>
                  </a:lnTo>
                  <a:lnTo>
                    <a:pt x="329" y="76"/>
                  </a:lnTo>
                  <a:lnTo>
                    <a:pt x="329" y="76"/>
                  </a:lnTo>
                  <a:lnTo>
                    <a:pt x="327" y="76"/>
                  </a:lnTo>
                  <a:lnTo>
                    <a:pt x="325" y="76"/>
                  </a:lnTo>
                  <a:lnTo>
                    <a:pt x="325" y="78"/>
                  </a:lnTo>
                  <a:lnTo>
                    <a:pt x="325" y="80"/>
                  </a:lnTo>
                  <a:lnTo>
                    <a:pt x="329" y="82"/>
                  </a:lnTo>
                  <a:close/>
                  <a:moveTo>
                    <a:pt x="362" y="74"/>
                  </a:moveTo>
                  <a:lnTo>
                    <a:pt x="362" y="74"/>
                  </a:lnTo>
                  <a:lnTo>
                    <a:pt x="364" y="74"/>
                  </a:lnTo>
                  <a:lnTo>
                    <a:pt x="366" y="67"/>
                  </a:lnTo>
                  <a:lnTo>
                    <a:pt x="366" y="65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2" y="63"/>
                  </a:lnTo>
                  <a:lnTo>
                    <a:pt x="362" y="63"/>
                  </a:lnTo>
                  <a:lnTo>
                    <a:pt x="362" y="65"/>
                  </a:lnTo>
                  <a:lnTo>
                    <a:pt x="360" y="65"/>
                  </a:lnTo>
                  <a:lnTo>
                    <a:pt x="360" y="67"/>
                  </a:lnTo>
                  <a:lnTo>
                    <a:pt x="360" y="67"/>
                  </a:lnTo>
                  <a:lnTo>
                    <a:pt x="360" y="69"/>
                  </a:lnTo>
                  <a:lnTo>
                    <a:pt x="360" y="71"/>
                  </a:lnTo>
                  <a:lnTo>
                    <a:pt x="362" y="74"/>
                  </a:lnTo>
                  <a:close/>
                  <a:moveTo>
                    <a:pt x="371" y="78"/>
                  </a:moveTo>
                  <a:lnTo>
                    <a:pt x="371" y="80"/>
                  </a:lnTo>
                  <a:lnTo>
                    <a:pt x="373" y="84"/>
                  </a:lnTo>
                  <a:lnTo>
                    <a:pt x="371" y="90"/>
                  </a:lnTo>
                  <a:lnTo>
                    <a:pt x="373" y="92"/>
                  </a:lnTo>
                  <a:lnTo>
                    <a:pt x="375" y="95"/>
                  </a:lnTo>
                  <a:lnTo>
                    <a:pt x="375" y="97"/>
                  </a:lnTo>
                  <a:lnTo>
                    <a:pt x="375" y="99"/>
                  </a:lnTo>
                  <a:lnTo>
                    <a:pt x="373" y="101"/>
                  </a:lnTo>
                  <a:lnTo>
                    <a:pt x="375" y="101"/>
                  </a:lnTo>
                  <a:lnTo>
                    <a:pt x="379" y="99"/>
                  </a:lnTo>
                  <a:lnTo>
                    <a:pt x="379" y="97"/>
                  </a:lnTo>
                  <a:lnTo>
                    <a:pt x="381" y="97"/>
                  </a:lnTo>
                  <a:lnTo>
                    <a:pt x="394" y="95"/>
                  </a:lnTo>
                  <a:lnTo>
                    <a:pt x="396" y="95"/>
                  </a:lnTo>
                  <a:lnTo>
                    <a:pt x="402" y="90"/>
                  </a:lnTo>
                  <a:lnTo>
                    <a:pt x="402" y="88"/>
                  </a:lnTo>
                  <a:lnTo>
                    <a:pt x="404" y="86"/>
                  </a:lnTo>
                  <a:lnTo>
                    <a:pt x="408" y="76"/>
                  </a:lnTo>
                  <a:lnTo>
                    <a:pt x="408" y="69"/>
                  </a:lnTo>
                  <a:lnTo>
                    <a:pt x="410" y="67"/>
                  </a:lnTo>
                  <a:lnTo>
                    <a:pt x="413" y="63"/>
                  </a:lnTo>
                  <a:lnTo>
                    <a:pt x="415" y="59"/>
                  </a:lnTo>
                  <a:lnTo>
                    <a:pt x="413" y="55"/>
                  </a:lnTo>
                  <a:lnTo>
                    <a:pt x="408" y="50"/>
                  </a:lnTo>
                  <a:lnTo>
                    <a:pt x="408" y="48"/>
                  </a:lnTo>
                  <a:lnTo>
                    <a:pt x="406" y="48"/>
                  </a:lnTo>
                  <a:lnTo>
                    <a:pt x="404" y="44"/>
                  </a:lnTo>
                  <a:lnTo>
                    <a:pt x="404" y="42"/>
                  </a:lnTo>
                  <a:lnTo>
                    <a:pt x="402" y="42"/>
                  </a:lnTo>
                  <a:lnTo>
                    <a:pt x="400" y="42"/>
                  </a:lnTo>
                  <a:lnTo>
                    <a:pt x="398" y="44"/>
                  </a:lnTo>
                  <a:lnTo>
                    <a:pt x="398" y="46"/>
                  </a:lnTo>
                  <a:lnTo>
                    <a:pt x="398" y="46"/>
                  </a:lnTo>
                  <a:lnTo>
                    <a:pt x="394" y="46"/>
                  </a:lnTo>
                  <a:lnTo>
                    <a:pt x="394" y="44"/>
                  </a:lnTo>
                  <a:lnTo>
                    <a:pt x="392" y="44"/>
                  </a:lnTo>
                  <a:lnTo>
                    <a:pt x="392" y="44"/>
                  </a:lnTo>
                  <a:lnTo>
                    <a:pt x="390" y="46"/>
                  </a:lnTo>
                  <a:lnTo>
                    <a:pt x="390" y="46"/>
                  </a:lnTo>
                  <a:lnTo>
                    <a:pt x="387" y="50"/>
                  </a:lnTo>
                  <a:lnTo>
                    <a:pt x="385" y="53"/>
                  </a:lnTo>
                  <a:lnTo>
                    <a:pt x="381" y="55"/>
                  </a:lnTo>
                  <a:lnTo>
                    <a:pt x="379" y="57"/>
                  </a:lnTo>
                  <a:lnTo>
                    <a:pt x="375" y="65"/>
                  </a:lnTo>
                  <a:lnTo>
                    <a:pt x="373" y="69"/>
                  </a:lnTo>
                  <a:lnTo>
                    <a:pt x="369" y="74"/>
                  </a:lnTo>
                  <a:lnTo>
                    <a:pt x="366" y="76"/>
                  </a:lnTo>
                  <a:lnTo>
                    <a:pt x="369" y="76"/>
                  </a:lnTo>
                  <a:lnTo>
                    <a:pt x="371" y="78"/>
                  </a:lnTo>
                  <a:close/>
                  <a:moveTo>
                    <a:pt x="297" y="275"/>
                  </a:moveTo>
                  <a:lnTo>
                    <a:pt x="295" y="275"/>
                  </a:lnTo>
                  <a:lnTo>
                    <a:pt x="293" y="275"/>
                  </a:lnTo>
                  <a:lnTo>
                    <a:pt x="291" y="279"/>
                  </a:lnTo>
                  <a:lnTo>
                    <a:pt x="291" y="284"/>
                  </a:lnTo>
                  <a:lnTo>
                    <a:pt x="291" y="286"/>
                  </a:lnTo>
                  <a:lnTo>
                    <a:pt x="291" y="288"/>
                  </a:lnTo>
                  <a:lnTo>
                    <a:pt x="293" y="288"/>
                  </a:lnTo>
                  <a:lnTo>
                    <a:pt x="293" y="288"/>
                  </a:lnTo>
                  <a:lnTo>
                    <a:pt x="293" y="288"/>
                  </a:lnTo>
                  <a:lnTo>
                    <a:pt x="293" y="286"/>
                  </a:lnTo>
                  <a:lnTo>
                    <a:pt x="295" y="288"/>
                  </a:lnTo>
                  <a:lnTo>
                    <a:pt x="295" y="288"/>
                  </a:lnTo>
                  <a:lnTo>
                    <a:pt x="295" y="290"/>
                  </a:lnTo>
                  <a:lnTo>
                    <a:pt x="295" y="290"/>
                  </a:lnTo>
                  <a:lnTo>
                    <a:pt x="295" y="292"/>
                  </a:lnTo>
                  <a:lnTo>
                    <a:pt x="297" y="292"/>
                  </a:lnTo>
                  <a:lnTo>
                    <a:pt x="297" y="292"/>
                  </a:lnTo>
                  <a:lnTo>
                    <a:pt x="297" y="290"/>
                  </a:lnTo>
                  <a:lnTo>
                    <a:pt x="297" y="288"/>
                  </a:lnTo>
                  <a:lnTo>
                    <a:pt x="295" y="277"/>
                  </a:lnTo>
                  <a:lnTo>
                    <a:pt x="297" y="275"/>
                  </a:lnTo>
                  <a:lnTo>
                    <a:pt x="297" y="275"/>
                  </a:lnTo>
                  <a:close/>
                  <a:moveTo>
                    <a:pt x="312" y="342"/>
                  </a:moveTo>
                  <a:lnTo>
                    <a:pt x="318" y="336"/>
                  </a:lnTo>
                  <a:lnTo>
                    <a:pt x="318" y="334"/>
                  </a:lnTo>
                  <a:lnTo>
                    <a:pt x="318" y="332"/>
                  </a:lnTo>
                  <a:lnTo>
                    <a:pt x="316" y="330"/>
                  </a:lnTo>
                  <a:lnTo>
                    <a:pt x="316" y="328"/>
                  </a:lnTo>
                  <a:lnTo>
                    <a:pt x="316" y="328"/>
                  </a:lnTo>
                  <a:lnTo>
                    <a:pt x="316" y="328"/>
                  </a:lnTo>
                  <a:lnTo>
                    <a:pt x="314" y="328"/>
                  </a:lnTo>
                  <a:lnTo>
                    <a:pt x="314" y="328"/>
                  </a:lnTo>
                  <a:lnTo>
                    <a:pt x="314" y="328"/>
                  </a:lnTo>
                  <a:lnTo>
                    <a:pt x="312" y="326"/>
                  </a:lnTo>
                  <a:lnTo>
                    <a:pt x="312" y="326"/>
                  </a:lnTo>
                  <a:lnTo>
                    <a:pt x="312" y="324"/>
                  </a:lnTo>
                  <a:lnTo>
                    <a:pt x="312" y="324"/>
                  </a:lnTo>
                  <a:lnTo>
                    <a:pt x="310" y="321"/>
                  </a:lnTo>
                  <a:lnTo>
                    <a:pt x="310" y="321"/>
                  </a:lnTo>
                  <a:lnTo>
                    <a:pt x="308" y="319"/>
                  </a:lnTo>
                  <a:lnTo>
                    <a:pt x="308" y="317"/>
                  </a:lnTo>
                  <a:lnTo>
                    <a:pt x="304" y="317"/>
                  </a:lnTo>
                  <a:lnTo>
                    <a:pt x="304" y="317"/>
                  </a:lnTo>
                  <a:lnTo>
                    <a:pt x="304" y="317"/>
                  </a:lnTo>
                  <a:lnTo>
                    <a:pt x="304" y="317"/>
                  </a:lnTo>
                  <a:lnTo>
                    <a:pt x="304" y="317"/>
                  </a:lnTo>
                  <a:lnTo>
                    <a:pt x="304" y="317"/>
                  </a:lnTo>
                  <a:lnTo>
                    <a:pt x="302" y="317"/>
                  </a:lnTo>
                  <a:lnTo>
                    <a:pt x="302" y="319"/>
                  </a:lnTo>
                  <a:lnTo>
                    <a:pt x="302" y="319"/>
                  </a:lnTo>
                  <a:lnTo>
                    <a:pt x="302" y="319"/>
                  </a:lnTo>
                  <a:lnTo>
                    <a:pt x="302" y="319"/>
                  </a:lnTo>
                  <a:lnTo>
                    <a:pt x="299" y="321"/>
                  </a:lnTo>
                  <a:lnTo>
                    <a:pt x="299" y="321"/>
                  </a:lnTo>
                  <a:lnTo>
                    <a:pt x="299" y="324"/>
                  </a:lnTo>
                  <a:lnTo>
                    <a:pt x="297" y="326"/>
                  </a:lnTo>
                  <a:lnTo>
                    <a:pt x="297" y="328"/>
                  </a:lnTo>
                  <a:lnTo>
                    <a:pt x="295" y="328"/>
                  </a:lnTo>
                  <a:lnTo>
                    <a:pt x="295" y="328"/>
                  </a:lnTo>
                  <a:lnTo>
                    <a:pt x="295" y="326"/>
                  </a:lnTo>
                  <a:lnTo>
                    <a:pt x="293" y="326"/>
                  </a:lnTo>
                  <a:lnTo>
                    <a:pt x="293" y="324"/>
                  </a:lnTo>
                  <a:lnTo>
                    <a:pt x="293" y="324"/>
                  </a:lnTo>
                  <a:lnTo>
                    <a:pt x="293" y="321"/>
                  </a:lnTo>
                  <a:lnTo>
                    <a:pt x="291" y="321"/>
                  </a:lnTo>
                  <a:lnTo>
                    <a:pt x="291" y="319"/>
                  </a:lnTo>
                  <a:lnTo>
                    <a:pt x="289" y="319"/>
                  </a:lnTo>
                  <a:lnTo>
                    <a:pt x="289" y="319"/>
                  </a:lnTo>
                  <a:lnTo>
                    <a:pt x="287" y="319"/>
                  </a:lnTo>
                  <a:lnTo>
                    <a:pt x="285" y="321"/>
                  </a:lnTo>
                  <a:lnTo>
                    <a:pt x="285" y="321"/>
                  </a:lnTo>
                  <a:lnTo>
                    <a:pt x="285" y="324"/>
                  </a:lnTo>
                  <a:lnTo>
                    <a:pt x="285" y="324"/>
                  </a:lnTo>
                  <a:lnTo>
                    <a:pt x="285" y="326"/>
                  </a:lnTo>
                  <a:lnTo>
                    <a:pt x="285" y="328"/>
                  </a:lnTo>
                  <a:lnTo>
                    <a:pt x="283" y="330"/>
                  </a:lnTo>
                  <a:lnTo>
                    <a:pt x="283" y="330"/>
                  </a:lnTo>
                  <a:lnTo>
                    <a:pt x="281" y="332"/>
                  </a:lnTo>
                  <a:lnTo>
                    <a:pt x="281" y="334"/>
                  </a:lnTo>
                  <a:lnTo>
                    <a:pt x="283" y="334"/>
                  </a:lnTo>
                  <a:lnTo>
                    <a:pt x="283" y="336"/>
                  </a:lnTo>
                  <a:lnTo>
                    <a:pt x="283" y="338"/>
                  </a:lnTo>
                  <a:lnTo>
                    <a:pt x="287" y="340"/>
                  </a:lnTo>
                  <a:lnTo>
                    <a:pt x="287" y="340"/>
                  </a:lnTo>
                  <a:lnTo>
                    <a:pt x="287" y="340"/>
                  </a:lnTo>
                  <a:lnTo>
                    <a:pt x="289" y="345"/>
                  </a:lnTo>
                  <a:lnTo>
                    <a:pt x="289" y="345"/>
                  </a:lnTo>
                  <a:lnTo>
                    <a:pt x="291" y="345"/>
                  </a:lnTo>
                  <a:lnTo>
                    <a:pt x="291" y="345"/>
                  </a:lnTo>
                  <a:lnTo>
                    <a:pt x="291" y="345"/>
                  </a:lnTo>
                  <a:lnTo>
                    <a:pt x="291" y="347"/>
                  </a:lnTo>
                  <a:lnTo>
                    <a:pt x="291" y="347"/>
                  </a:lnTo>
                  <a:lnTo>
                    <a:pt x="293" y="347"/>
                  </a:lnTo>
                  <a:lnTo>
                    <a:pt x="295" y="347"/>
                  </a:lnTo>
                  <a:lnTo>
                    <a:pt x="295" y="349"/>
                  </a:lnTo>
                  <a:lnTo>
                    <a:pt x="297" y="349"/>
                  </a:lnTo>
                  <a:lnTo>
                    <a:pt x="299" y="349"/>
                  </a:lnTo>
                  <a:lnTo>
                    <a:pt x="299" y="351"/>
                  </a:lnTo>
                  <a:lnTo>
                    <a:pt x="295" y="355"/>
                  </a:lnTo>
                  <a:lnTo>
                    <a:pt x="295" y="357"/>
                  </a:lnTo>
                  <a:lnTo>
                    <a:pt x="295" y="361"/>
                  </a:lnTo>
                  <a:lnTo>
                    <a:pt x="297" y="363"/>
                  </a:lnTo>
                  <a:lnTo>
                    <a:pt x="297" y="363"/>
                  </a:lnTo>
                  <a:lnTo>
                    <a:pt x="297" y="366"/>
                  </a:lnTo>
                  <a:lnTo>
                    <a:pt x="299" y="366"/>
                  </a:lnTo>
                  <a:lnTo>
                    <a:pt x="304" y="363"/>
                  </a:lnTo>
                  <a:lnTo>
                    <a:pt x="310" y="361"/>
                  </a:lnTo>
                  <a:lnTo>
                    <a:pt x="312" y="361"/>
                  </a:lnTo>
                  <a:lnTo>
                    <a:pt x="312" y="359"/>
                  </a:lnTo>
                  <a:lnTo>
                    <a:pt x="312" y="359"/>
                  </a:lnTo>
                  <a:lnTo>
                    <a:pt x="314" y="359"/>
                  </a:lnTo>
                  <a:lnTo>
                    <a:pt x="314" y="359"/>
                  </a:lnTo>
                  <a:lnTo>
                    <a:pt x="314" y="359"/>
                  </a:lnTo>
                  <a:lnTo>
                    <a:pt x="316" y="361"/>
                  </a:lnTo>
                  <a:lnTo>
                    <a:pt x="316" y="361"/>
                  </a:lnTo>
                  <a:lnTo>
                    <a:pt x="316" y="363"/>
                  </a:lnTo>
                  <a:lnTo>
                    <a:pt x="316" y="366"/>
                  </a:lnTo>
                  <a:lnTo>
                    <a:pt x="316" y="366"/>
                  </a:lnTo>
                  <a:lnTo>
                    <a:pt x="316" y="368"/>
                  </a:lnTo>
                  <a:lnTo>
                    <a:pt x="318" y="368"/>
                  </a:lnTo>
                  <a:lnTo>
                    <a:pt x="318" y="368"/>
                  </a:lnTo>
                  <a:lnTo>
                    <a:pt x="318" y="368"/>
                  </a:lnTo>
                  <a:lnTo>
                    <a:pt x="318" y="370"/>
                  </a:lnTo>
                  <a:lnTo>
                    <a:pt x="320" y="370"/>
                  </a:lnTo>
                  <a:lnTo>
                    <a:pt x="323" y="370"/>
                  </a:lnTo>
                  <a:lnTo>
                    <a:pt x="323" y="370"/>
                  </a:lnTo>
                  <a:lnTo>
                    <a:pt x="325" y="372"/>
                  </a:lnTo>
                  <a:lnTo>
                    <a:pt x="325" y="372"/>
                  </a:lnTo>
                  <a:lnTo>
                    <a:pt x="327" y="372"/>
                  </a:lnTo>
                  <a:lnTo>
                    <a:pt x="329" y="370"/>
                  </a:lnTo>
                  <a:lnTo>
                    <a:pt x="329" y="370"/>
                  </a:lnTo>
                  <a:lnTo>
                    <a:pt x="331" y="370"/>
                  </a:lnTo>
                  <a:lnTo>
                    <a:pt x="331" y="370"/>
                  </a:lnTo>
                  <a:lnTo>
                    <a:pt x="333" y="370"/>
                  </a:lnTo>
                  <a:lnTo>
                    <a:pt x="337" y="366"/>
                  </a:lnTo>
                  <a:lnTo>
                    <a:pt x="337" y="363"/>
                  </a:lnTo>
                  <a:lnTo>
                    <a:pt x="339" y="361"/>
                  </a:lnTo>
                  <a:lnTo>
                    <a:pt x="339" y="361"/>
                  </a:lnTo>
                  <a:lnTo>
                    <a:pt x="339" y="361"/>
                  </a:lnTo>
                  <a:lnTo>
                    <a:pt x="337" y="361"/>
                  </a:lnTo>
                  <a:lnTo>
                    <a:pt x="337" y="361"/>
                  </a:lnTo>
                  <a:lnTo>
                    <a:pt x="337" y="359"/>
                  </a:lnTo>
                  <a:lnTo>
                    <a:pt x="337" y="359"/>
                  </a:lnTo>
                  <a:lnTo>
                    <a:pt x="337" y="359"/>
                  </a:lnTo>
                  <a:lnTo>
                    <a:pt x="337" y="359"/>
                  </a:lnTo>
                  <a:lnTo>
                    <a:pt x="335" y="357"/>
                  </a:lnTo>
                  <a:lnTo>
                    <a:pt x="335" y="357"/>
                  </a:lnTo>
                  <a:lnTo>
                    <a:pt x="335" y="355"/>
                  </a:lnTo>
                  <a:lnTo>
                    <a:pt x="331" y="353"/>
                  </a:lnTo>
                  <a:lnTo>
                    <a:pt x="329" y="353"/>
                  </a:lnTo>
                  <a:lnTo>
                    <a:pt x="323" y="353"/>
                  </a:lnTo>
                  <a:lnTo>
                    <a:pt x="320" y="355"/>
                  </a:lnTo>
                  <a:lnTo>
                    <a:pt x="320" y="355"/>
                  </a:lnTo>
                  <a:lnTo>
                    <a:pt x="318" y="355"/>
                  </a:lnTo>
                  <a:lnTo>
                    <a:pt x="318" y="355"/>
                  </a:lnTo>
                  <a:lnTo>
                    <a:pt x="316" y="355"/>
                  </a:lnTo>
                  <a:lnTo>
                    <a:pt x="316" y="355"/>
                  </a:lnTo>
                  <a:lnTo>
                    <a:pt x="316" y="353"/>
                  </a:lnTo>
                  <a:lnTo>
                    <a:pt x="316" y="353"/>
                  </a:lnTo>
                  <a:lnTo>
                    <a:pt x="316" y="351"/>
                  </a:lnTo>
                  <a:lnTo>
                    <a:pt x="316" y="349"/>
                  </a:lnTo>
                  <a:lnTo>
                    <a:pt x="314" y="349"/>
                  </a:lnTo>
                  <a:lnTo>
                    <a:pt x="312" y="349"/>
                  </a:lnTo>
                  <a:lnTo>
                    <a:pt x="312" y="349"/>
                  </a:lnTo>
                  <a:lnTo>
                    <a:pt x="312" y="347"/>
                  </a:lnTo>
                  <a:lnTo>
                    <a:pt x="312" y="347"/>
                  </a:lnTo>
                  <a:lnTo>
                    <a:pt x="312" y="345"/>
                  </a:lnTo>
                  <a:lnTo>
                    <a:pt x="312" y="342"/>
                  </a:lnTo>
                  <a:close/>
                  <a:moveTo>
                    <a:pt x="287" y="227"/>
                  </a:moveTo>
                  <a:lnTo>
                    <a:pt x="289" y="227"/>
                  </a:lnTo>
                  <a:lnTo>
                    <a:pt x="289" y="229"/>
                  </a:lnTo>
                  <a:lnTo>
                    <a:pt x="289" y="229"/>
                  </a:lnTo>
                  <a:lnTo>
                    <a:pt x="291" y="231"/>
                  </a:lnTo>
                  <a:lnTo>
                    <a:pt x="293" y="229"/>
                  </a:lnTo>
                  <a:lnTo>
                    <a:pt x="295" y="227"/>
                  </a:lnTo>
                  <a:lnTo>
                    <a:pt x="295" y="225"/>
                  </a:lnTo>
                  <a:lnTo>
                    <a:pt x="297" y="225"/>
                  </a:lnTo>
                  <a:lnTo>
                    <a:pt x="297" y="223"/>
                  </a:lnTo>
                  <a:lnTo>
                    <a:pt x="295" y="221"/>
                  </a:lnTo>
                  <a:lnTo>
                    <a:pt x="295" y="219"/>
                  </a:lnTo>
                  <a:lnTo>
                    <a:pt x="295" y="219"/>
                  </a:lnTo>
                  <a:lnTo>
                    <a:pt x="295" y="219"/>
                  </a:lnTo>
                  <a:lnTo>
                    <a:pt x="295" y="219"/>
                  </a:lnTo>
                  <a:lnTo>
                    <a:pt x="293" y="216"/>
                  </a:lnTo>
                  <a:lnTo>
                    <a:pt x="293" y="219"/>
                  </a:lnTo>
                  <a:lnTo>
                    <a:pt x="293" y="219"/>
                  </a:lnTo>
                  <a:lnTo>
                    <a:pt x="291" y="219"/>
                  </a:lnTo>
                  <a:lnTo>
                    <a:pt x="291" y="216"/>
                  </a:lnTo>
                  <a:lnTo>
                    <a:pt x="289" y="223"/>
                  </a:lnTo>
                  <a:lnTo>
                    <a:pt x="287" y="227"/>
                  </a:lnTo>
                  <a:close/>
                  <a:moveTo>
                    <a:pt x="387" y="391"/>
                  </a:moveTo>
                  <a:lnTo>
                    <a:pt x="385" y="389"/>
                  </a:lnTo>
                  <a:lnTo>
                    <a:pt x="383" y="389"/>
                  </a:lnTo>
                  <a:lnTo>
                    <a:pt x="381" y="391"/>
                  </a:lnTo>
                  <a:lnTo>
                    <a:pt x="381" y="391"/>
                  </a:lnTo>
                  <a:lnTo>
                    <a:pt x="381" y="391"/>
                  </a:lnTo>
                  <a:lnTo>
                    <a:pt x="381" y="393"/>
                  </a:lnTo>
                  <a:lnTo>
                    <a:pt x="383" y="393"/>
                  </a:lnTo>
                  <a:lnTo>
                    <a:pt x="383" y="393"/>
                  </a:lnTo>
                  <a:lnTo>
                    <a:pt x="383" y="393"/>
                  </a:lnTo>
                  <a:lnTo>
                    <a:pt x="385" y="393"/>
                  </a:lnTo>
                  <a:lnTo>
                    <a:pt x="385" y="393"/>
                  </a:lnTo>
                  <a:lnTo>
                    <a:pt x="387" y="393"/>
                  </a:lnTo>
                  <a:lnTo>
                    <a:pt x="387" y="393"/>
                  </a:lnTo>
                  <a:lnTo>
                    <a:pt x="390" y="393"/>
                  </a:lnTo>
                  <a:lnTo>
                    <a:pt x="390" y="393"/>
                  </a:lnTo>
                  <a:lnTo>
                    <a:pt x="390" y="393"/>
                  </a:lnTo>
                  <a:lnTo>
                    <a:pt x="390" y="393"/>
                  </a:lnTo>
                  <a:lnTo>
                    <a:pt x="387" y="391"/>
                  </a:lnTo>
                  <a:close/>
                  <a:moveTo>
                    <a:pt x="498" y="290"/>
                  </a:moveTo>
                  <a:lnTo>
                    <a:pt x="498" y="290"/>
                  </a:lnTo>
                  <a:lnTo>
                    <a:pt x="498" y="292"/>
                  </a:lnTo>
                  <a:lnTo>
                    <a:pt x="498" y="294"/>
                  </a:lnTo>
                  <a:lnTo>
                    <a:pt x="501" y="296"/>
                  </a:lnTo>
                  <a:lnTo>
                    <a:pt x="501" y="296"/>
                  </a:lnTo>
                  <a:lnTo>
                    <a:pt x="501" y="296"/>
                  </a:lnTo>
                  <a:lnTo>
                    <a:pt x="501" y="296"/>
                  </a:lnTo>
                  <a:lnTo>
                    <a:pt x="501" y="296"/>
                  </a:lnTo>
                  <a:lnTo>
                    <a:pt x="501" y="294"/>
                  </a:lnTo>
                  <a:lnTo>
                    <a:pt x="503" y="294"/>
                  </a:lnTo>
                  <a:lnTo>
                    <a:pt x="501" y="294"/>
                  </a:lnTo>
                  <a:lnTo>
                    <a:pt x="501" y="294"/>
                  </a:lnTo>
                  <a:lnTo>
                    <a:pt x="501" y="292"/>
                  </a:lnTo>
                  <a:lnTo>
                    <a:pt x="501" y="292"/>
                  </a:lnTo>
                  <a:lnTo>
                    <a:pt x="501" y="294"/>
                  </a:lnTo>
                  <a:lnTo>
                    <a:pt x="503" y="294"/>
                  </a:lnTo>
                  <a:lnTo>
                    <a:pt x="503" y="294"/>
                  </a:lnTo>
                  <a:lnTo>
                    <a:pt x="503" y="294"/>
                  </a:lnTo>
                  <a:lnTo>
                    <a:pt x="503" y="294"/>
                  </a:lnTo>
                  <a:lnTo>
                    <a:pt x="503" y="294"/>
                  </a:lnTo>
                  <a:lnTo>
                    <a:pt x="503" y="294"/>
                  </a:lnTo>
                  <a:lnTo>
                    <a:pt x="503" y="296"/>
                  </a:lnTo>
                  <a:lnTo>
                    <a:pt x="503" y="296"/>
                  </a:lnTo>
                  <a:lnTo>
                    <a:pt x="503" y="296"/>
                  </a:lnTo>
                  <a:lnTo>
                    <a:pt x="503" y="294"/>
                  </a:lnTo>
                  <a:lnTo>
                    <a:pt x="503" y="294"/>
                  </a:lnTo>
                  <a:lnTo>
                    <a:pt x="498" y="290"/>
                  </a:lnTo>
                  <a:close/>
                  <a:moveTo>
                    <a:pt x="496" y="303"/>
                  </a:moveTo>
                  <a:lnTo>
                    <a:pt x="494" y="300"/>
                  </a:lnTo>
                  <a:lnTo>
                    <a:pt x="490" y="298"/>
                  </a:lnTo>
                  <a:lnTo>
                    <a:pt x="486" y="296"/>
                  </a:lnTo>
                  <a:lnTo>
                    <a:pt x="471" y="284"/>
                  </a:lnTo>
                  <a:lnTo>
                    <a:pt x="471" y="284"/>
                  </a:lnTo>
                  <a:lnTo>
                    <a:pt x="471" y="284"/>
                  </a:lnTo>
                  <a:lnTo>
                    <a:pt x="469" y="286"/>
                  </a:lnTo>
                  <a:lnTo>
                    <a:pt x="471" y="286"/>
                  </a:lnTo>
                  <a:lnTo>
                    <a:pt x="471" y="286"/>
                  </a:lnTo>
                  <a:lnTo>
                    <a:pt x="471" y="286"/>
                  </a:lnTo>
                  <a:lnTo>
                    <a:pt x="473" y="288"/>
                  </a:lnTo>
                  <a:lnTo>
                    <a:pt x="475" y="288"/>
                  </a:lnTo>
                  <a:lnTo>
                    <a:pt x="478" y="292"/>
                  </a:lnTo>
                  <a:lnTo>
                    <a:pt x="478" y="292"/>
                  </a:lnTo>
                  <a:lnTo>
                    <a:pt x="478" y="294"/>
                  </a:lnTo>
                  <a:lnTo>
                    <a:pt x="478" y="294"/>
                  </a:lnTo>
                  <a:lnTo>
                    <a:pt x="478" y="296"/>
                  </a:lnTo>
                  <a:lnTo>
                    <a:pt x="486" y="298"/>
                  </a:lnTo>
                  <a:lnTo>
                    <a:pt x="490" y="307"/>
                  </a:lnTo>
                  <a:lnTo>
                    <a:pt x="492" y="309"/>
                  </a:lnTo>
                  <a:lnTo>
                    <a:pt x="492" y="309"/>
                  </a:lnTo>
                  <a:lnTo>
                    <a:pt x="494" y="309"/>
                  </a:lnTo>
                  <a:lnTo>
                    <a:pt x="494" y="309"/>
                  </a:lnTo>
                  <a:lnTo>
                    <a:pt x="496" y="309"/>
                  </a:lnTo>
                  <a:lnTo>
                    <a:pt x="496" y="307"/>
                  </a:lnTo>
                  <a:lnTo>
                    <a:pt x="496" y="307"/>
                  </a:lnTo>
                  <a:lnTo>
                    <a:pt x="496" y="305"/>
                  </a:lnTo>
                  <a:lnTo>
                    <a:pt x="496" y="303"/>
                  </a:lnTo>
                  <a:close/>
                  <a:moveTo>
                    <a:pt x="429" y="261"/>
                  </a:moveTo>
                  <a:lnTo>
                    <a:pt x="425" y="258"/>
                  </a:lnTo>
                  <a:lnTo>
                    <a:pt x="421" y="258"/>
                  </a:lnTo>
                  <a:lnTo>
                    <a:pt x="421" y="258"/>
                  </a:lnTo>
                  <a:lnTo>
                    <a:pt x="415" y="256"/>
                  </a:lnTo>
                  <a:lnTo>
                    <a:pt x="413" y="256"/>
                  </a:lnTo>
                  <a:lnTo>
                    <a:pt x="413" y="252"/>
                  </a:lnTo>
                  <a:lnTo>
                    <a:pt x="413" y="246"/>
                  </a:lnTo>
                  <a:lnTo>
                    <a:pt x="413" y="244"/>
                  </a:lnTo>
                  <a:lnTo>
                    <a:pt x="413" y="244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42"/>
                  </a:lnTo>
                  <a:lnTo>
                    <a:pt x="413" y="237"/>
                  </a:lnTo>
                  <a:lnTo>
                    <a:pt x="413" y="237"/>
                  </a:lnTo>
                  <a:lnTo>
                    <a:pt x="410" y="235"/>
                  </a:lnTo>
                  <a:lnTo>
                    <a:pt x="410" y="235"/>
                  </a:lnTo>
                  <a:lnTo>
                    <a:pt x="408" y="235"/>
                  </a:lnTo>
                  <a:lnTo>
                    <a:pt x="408" y="235"/>
                  </a:lnTo>
                  <a:lnTo>
                    <a:pt x="406" y="235"/>
                  </a:lnTo>
                  <a:lnTo>
                    <a:pt x="404" y="235"/>
                  </a:lnTo>
                  <a:lnTo>
                    <a:pt x="404" y="235"/>
                  </a:lnTo>
                  <a:lnTo>
                    <a:pt x="402" y="235"/>
                  </a:lnTo>
                  <a:lnTo>
                    <a:pt x="400" y="233"/>
                  </a:lnTo>
                  <a:lnTo>
                    <a:pt x="398" y="233"/>
                  </a:lnTo>
                  <a:lnTo>
                    <a:pt x="394" y="233"/>
                  </a:lnTo>
                  <a:lnTo>
                    <a:pt x="394" y="231"/>
                  </a:lnTo>
                  <a:lnTo>
                    <a:pt x="392" y="231"/>
                  </a:lnTo>
                  <a:lnTo>
                    <a:pt x="392" y="229"/>
                  </a:lnTo>
                  <a:lnTo>
                    <a:pt x="390" y="229"/>
                  </a:lnTo>
                  <a:lnTo>
                    <a:pt x="390" y="229"/>
                  </a:lnTo>
                  <a:lnTo>
                    <a:pt x="387" y="229"/>
                  </a:lnTo>
                  <a:lnTo>
                    <a:pt x="383" y="229"/>
                  </a:lnTo>
                  <a:lnTo>
                    <a:pt x="383" y="229"/>
                  </a:lnTo>
                  <a:lnTo>
                    <a:pt x="381" y="227"/>
                  </a:lnTo>
                  <a:lnTo>
                    <a:pt x="377" y="225"/>
                  </a:lnTo>
                  <a:lnTo>
                    <a:pt x="377" y="225"/>
                  </a:lnTo>
                  <a:lnTo>
                    <a:pt x="373" y="221"/>
                  </a:lnTo>
                  <a:lnTo>
                    <a:pt x="371" y="219"/>
                  </a:lnTo>
                  <a:lnTo>
                    <a:pt x="369" y="216"/>
                  </a:lnTo>
                  <a:lnTo>
                    <a:pt x="369" y="216"/>
                  </a:lnTo>
                  <a:lnTo>
                    <a:pt x="369" y="214"/>
                  </a:lnTo>
                  <a:lnTo>
                    <a:pt x="369" y="212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3" y="210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7" y="210"/>
                  </a:lnTo>
                  <a:lnTo>
                    <a:pt x="377" y="210"/>
                  </a:lnTo>
                  <a:lnTo>
                    <a:pt x="375" y="208"/>
                  </a:lnTo>
                  <a:lnTo>
                    <a:pt x="377" y="206"/>
                  </a:lnTo>
                  <a:lnTo>
                    <a:pt x="377" y="204"/>
                  </a:lnTo>
                  <a:lnTo>
                    <a:pt x="379" y="204"/>
                  </a:lnTo>
                  <a:lnTo>
                    <a:pt x="387" y="202"/>
                  </a:lnTo>
                  <a:lnTo>
                    <a:pt x="387" y="202"/>
                  </a:lnTo>
                  <a:lnTo>
                    <a:pt x="390" y="202"/>
                  </a:lnTo>
                  <a:lnTo>
                    <a:pt x="392" y="200"/>
                  </a:lnTo>
                  <a:lnTo>
                    <a:pt x="394" y="197"/>
                  </a:lnTo>
                  <a:lnTo>
                    <a:pt x="398" y="197"/>
                  </a:lnTo>
                  <a:lnTo>
                    <a:pt x="400" y="195"/>
                  </a:lnTo>
                  <a:lnTo>
                    <a:pt x="400" y="195"/>
                  </a:lnTo>
                  <a:lnTo>
                    <a:pt x="402" y="193"/>
                  </a:lnTo>
                  <a:lnTo>
                    <a:pt x="408" y="189"/>
                  </a:lnTo>
                  <a:lnTo>
                    <a:pt x="410" y="189"/>
                  </a:lnTo>
                  <a:lnTo>
                    <a:pt x="410" y="189"/>
                  </a:lnTo>
                  <a:lnTo>
                    <a:pt x="413" y="189"/>
                  </a:lnTo>
                  <a:lnTo>
                    <a:pt x="413" y="189"/>
                  </a:lnTo>
                  <a:lnTo>
                    <a:pt x="415" y="187"/>
                  </a:lnTo>
                  <a:lnTo>
                    <a:pt x="415" y="187"/>
                  </a:lnTo>
                  <a:lnTo>
                    <a:pt x="415" y="187"/>
                  </a:lnTo>
                  <a:lnTo>
                    <a:pt x="415" y="185"/>
                  </a:lnTo>
                  <a:lnTo>
                    <a:pt x="415" y="179"/>
                  </a:lnTo>
                  <a:lnTo>
                    <a:pt x="415" y="176"/>
                  </a:lnTo>
                  <a:lnTo>
                    <a:pt x="417" y="172"/>
                  </a:lnTo>
                  <a:lnTo>
                    <a:pt x="417" y="168"/>
                  </a:lnTo>
                  <a:lnTo>
                    <a:pt x="417" y="166"/>
                  </a:lnTo>
                  <a:lnTo>
                    <a:pt x="419" y="166"/>
                  </a:lnTo>
                  <a:lnTo>
                    <a:pt x="419" y="164"/>
                  </a:lnTo>
                  <a:lnTo>
                    <a:pt x="419" y="162"/>
                  </a:lnTo>
                  <a:lnTo>
                    <a:pt x="419" y="160"/>
                  </a:lnTo>
                  <a:lnTo>
                    <a:pt x="419" y="158"/>
                  </a:lnTo>
                  <a:lnTo>
                    <a:pt x="419" y="158"/>
                  </a:lnTo>
                  <a:lnTo>
                    <a:pt x="419" y="155"/>
                  </a:lnTo>
                  <a:lnTo>
                    <a:pt x="417" y="155"/>
                  </a:lnTo>
                  <a:lnTo>
                    <a:pt x="417" y="155"/>
                  </a:lnTo>
                  <a:lnTo>
                    <a:pt x="415" y="153"/>
                  </a:lnTo>
                  <a:lnTo>
                    <a:pt x="413" y="153"/>
                  </a:lnTo>
                  <a:lnTo>
                    <a:pt x="413" y="153"/>
                  </a:lnTo>
                  <a:lnTo>
                    <a:pt x="413" y="149"/>
                  </a:lnTo>
                  <a:lnTo>
                    <a:pt x="413" y="147"/>
                  </a:lnTo>
                  <a:lnTo>
                    <a:pt x="415" y="145"/>
                  </a:lnTo>
                  <a:lnTo>
                    <a:pt x="417" y="143"/>
                  </a:lnTo>
                  <a:lnTo>
                    <a:pt x="417" y="143"/>
                  </a:lnTo>
                  <a:lnTo>
                    <a:pt x="417" y="143"/>
                  </a:lnTo>
                  <a:lnTo>
                    <a:pt x="417" y="141"/>
                  </a:lnTo>
                  <a:lnTo>
                    <a:pt x="417" y="141"/>
                  </a:lnTo>
                  <a:lnTo>
                    <a:pt x="410" y="141"/>
                  </a:lnTo>
                  <a:lnTo>
                    <a:pt x="406" y="141"/>
                  </a:lnTo>
                  <a:lnTo>
                    <a:pt x="400" y="141"/>
                  </a:lnTo>
                  <a:lnTo>
                    <a:pt x="400" y="141"/>
                  </a:lnTo>
                  <a:lnTo>
                    <a:pt x="398" y="143"/>
                  </a:lnTo>
                  <a:lnTo>
                    <a:pt x="398" y="145"/>
                  </a:lnTo>
                  <a:lnTo>
                    <a:pt x="396" y="145"/>
                  </a:lnTo>
                  <a:lnTo>
                    <a:pt x="396" y="145"/>
                  </a:lnTo>
                  <a:lnTo>
                    <a:pt x="396" y="145"/>
                  </a:lnTo>
                  <a:lnTo>
                    <a:pt x="394" y="143"/>
                  </a:lnTo>
                  <a:lnTo>
                    <a:pt x="394" y="143"/>
                  </a:lnTo>
                  <a:lnTo>
                    <a:pt x="392" y="143"/>
                  </a:lnTo>
                  <a:lnTo>
                    <a:pt x="390" y="143"/>
                  </a:lnTo>
                  <a:lnTo>
                    <a:pt x="387" y="145"/>
                  </a:lnTo>
                  <a:lnTo>
                    <a:pt x="385" y="147"/>
                  </a:lnTo>
                  <a:lnTo>
                    <a:pt x="383" y="147"/>
                  </a:lnTo>
                  <a:lnTo>
                    <a:pt x="383" y="147"/>
                  </a:lnTo>
                  <a:lnTo>
                    <a:pt x="381" y="147"/>
                  </a:lnTo>
                  <a:lnTo>
                    <a:pt x="381" y="149"/>
                  </a:lnTo>
                  <a:lnTo>
                    <a:pt x="381" y="151"/>
                  </a:lnTo>
                  <a:lnTo>
                    <a:pt x="379" y="151"/>
                  </a:lnTo>
                  <a:lnTo>
                    <a:pt x="375" y="153"/>
                  </a:lnTo>
                  <a:lnTo>
                    <a:pt x="373" y="153"/>
                  </a:lnTo>
                  <a:lnTo>
                    <a:pt x="371" y="155"/>
                  </a:lnTo>
                  <a:lnTo>
                    <a:pt x="369" y="158"/>
                  </a:lnTo>
                  <a:lnTo>
                    <a:pt x="366" y="160"/>
                  </a:lnTo>
                  <a:lnTo>
                    <a:pt x="364" y="162"/>
                  </a:lnTo>
                  <a:lnTo>
                    <a:pt x="362" y="164"/>
                  </a:lnTo>
                  <a:lnTo>
                    <a:pt x="362" y="166"/>
                  </a:lnTo>
                  <a:lnTo>
                    <a:pt x="358" y="168"/>
                  </a:lnTo>
                  <a:lnTo>
                    <a:pt x="358" y="170"/>
                  </a:lnTo>
                  <a:lnTo>
                    <a:pt x="358" y="172"/>
                  </a:lnTo>
                  <a:lnTo>
                    <a:pt x="358" y="172"/>
                  </a:lnTo>
                  <a:lnTo>
                    <a:pt x="362" y="172"/>
                  </a:lnTo>
                  <a:lnTo>
                    <a:pt x="364" y="172"/>
                  </a:lnTo>
                  <a:lnTo>
                    <a:pt x="366" y="174"/>
                  </a:lnTo>
                  <a:lnTo>
                    <a:pt x="366" y="176"/>
                  </a:lnTo>
                  <a:lnTo>
                    <a:pt x="366" y="179"/>
                  </a:lnTo>
                  <a:lnTo>
                    <a:pt x="364" y="181"/>
                  </a:lnTo>
                  <a:lnTo>
                    <a:pt x="364" y="183"/>
                  </a:lnTo>
                  <a:lnTo>
                    <a:pt x="362" y="183"/>
                  </a:lnTo>
                  <a:lnTo>
                    <a:pt x="356" y="183"/>
                  </a:lnTo>
                  <a:lnTo>
                    <a:pt x="354" y="183"/>
                  </a:lnTo>
                  <a:lnTo>
                    <a:pt x="352" y="185"/>
                  </a:lnTo>
                  <a:lnTo>
                    <a:pt x="350" y="185"/>
                  </a:lnTo>
                  <a:lnTo>
                    <a:pt x="348" y="187"/>
                  </a:lnTo>
                  <a:lnTo>
                    <a:pt x="343" y="193"/>
                  </a:lnTo>
                  <a:lnTo>
                    <a:pt x="341" y="195"/>
                  </a:lnTo>
                  <a:lnTo>
                    <a:pt x="341" y="197"/>
                  </a:lnTo>
                  <a:lnTo>
                    <a:pt x="341" y="206"/>
                  </a:lnTo>
                  <a:lnTo>
                    <a:pt x="341" y="206"/>
                  </a:lnTo>
                  <a:lnTo>
                    <a:pt x="339" y="208"/>
                  </a:lnTo>
                  <a:lnTo>
                    <a:pt x="337" y="210"/>
                  </a:lnTo>
                  <a:lnTo>
                    <a:pt x="335" y="212"/>
                  </a:lnTo>
                  <a:lnTo>
                    <a:pt x="333" y="212"/>
                  </a:lnTo>
                  <a:lnTo>
                    <a:pt x="331" y="214"/>
                  </a:lnTo>
                  <a:lnTo>
                    <a:pt x="329" y="214"/>
                  </a:lnTo>
                  <a:lnTo>
                    <a:pt x="327" y="212"/>
                  </a:lnTo>
                  <a:lnTo>
                    <a:pt x="327" y="212"/>
                  </a:lnTo>
                  <a:lnTo>
                    <a:pt x="325" y="212"/>
                  </a:lnTo>
                  <a:lnTo>
                    <a:pt x="325" y="212"/>
                  </a:lnTo>
                  <a:lnTo>
                    <a:pt x="323" y="210"/>
                  </a:lnTo>
                  <a:lnTo>
                    <a:pt x="323" y="210"/>
                  </a:lnTo>
                  <a:lnTo>
                    <a:pt x="323" y="208"/>
                  </a:lnTo>
                  <a:lnTo>
                    <a:pt x="320" y="208"/>
                  </a:lnTo>
                  <a:lnTo>
                    <a:pt x="318" y="206"/>
                  </a:lnTo>
                  <a:lnTo>
                    <a:pt x="316" y="206"/>
                  </a:lnTo>
                  <a:lnTo>
                    <a:pt x="314" y="204"/>
                  </a:lnTo>
                  <a:lnTo>
                    <a:pt x="314" y="202"/>
                  </a:lnTo>
                  <a:lnTo>
                    <a:pt x="314" y="200"/>
                  </a:lnTo>
                  <a:lnTo>
                    <a:pt x="312" y="200"/>
                  </a:lnTo>
                  <a:lnTo>
                    <a:pt x="314" y="195"/>
                  </a:lnTo>
                  <a:lnTo>
                    <a:pt x="318" y="191"/>
                  </a:lnTo>
                  <a:lnTo>
                    <a:pt x="325" y="187"/>
                  </a:lnTo>
                  <a:lnTo>
                    <a:pt x="333" y="181"/>
                  </a:lnTo>
                  <a:lnTo>
                    <a:pt x="333" y="181"/>
                  </a:lnTo>
                  <a:lnTo>
                    <a:pt x="335" y="181"/>
                  </a:lnTo>
                  <a:lnTo>
                    <a:pt x="337" y="181"/>
                  </a:lnTo>
                  <a:lnTo>
                    <a:pt x="337" y="181"/>
                  </a:lnTo>
                  <a:lnTo>
                    <a:pt x="339" y="181"/>
                  </a:lnTo>
                  <a:lnTo>
                    <a:pt x="339" y="179"/>
                  </a:lnTo>
                  <a:lnTo>
                    <a:pt x="339" y="179"/>
                  </a:lnTo>
                  <a:lnTo>
                    <a:pt x="341" y="174"/>
                  </a:lnTo>
                  <a:lnTo>
                    <a:pt x="341" y="172"/>
                  </a:lnTo>
                  <a:lnTo>
                    <a:pt x="343" y="170"/>
                  </a:lnTo>
                  <a:lnTo>
                    <a:pt x="346" y="170"/>
                  </a:lnTo>
                  <a:lnTo>
                    <a:pt x="346" y="168"/>
                  </a:lnTo>
                  <a:lnTo>
                    <a:pt x="346" y="166"/>
                  </a:lnTo>
                  <a:lnTo>
                    <a:pt x="348" y="166"/>
                  </a:lnTo>
                  <a:lnTo>
                    <a:pt x="350" y="166"/>
                  </a:lnTo>
                  <a:lnTo>
                    <a:pt x="350" y="166"/>
                  </a:lnTo>
                  <a:lnTo>
                    <a:pt x="350" y="164"/>
                  </a:lnTo>
                  <a:lnTo>
                    <a:pt x="348" y="162"/>
                  </a:lnTo>
                  <a:lnTo>
                    <a:pt x="348" y="160"/>
                  </a:lnTo>
                  <a:lnTo>
                    <a:pt x="348" y="160"/>
                  </a:lnTo>
                  <a:lnTo>
                    <a:pt x="350" y="158"/>
                  </a:lnTo>
                  <a:lnTo>
                    <a:pt x="350" y="158"/>
                  </a:lnTo>
                  <a:lnTo>
                    <a:pt x="350" y="158"/>
                  </a:lnTo>
                  <a:lnTo>
                    <a:pt x="350" y="158"/>
                  </a:lnTo>
                  <a:lnTo>
                    <a:pt x="350" y="153"/>
                  </a:lnTo>
                  <a:lnTo>
                    <a:pt x="350" y="151"/>
                  </a:lnTo>
                  <a:lnTo>
                    <a:pt x="352" y="145"/>
                  </a:lnTo>
                  <a:lnTo>
                    <a:pt x="352" y="145"/>
                  </a:lnTo>
                  <a:lnTo>
                    <a:pt x="352" y="141"/>
                  </a:lnTo>
                  <a:lnTo>
                    <a:pt x="350" y="139"/>
                  </a:lnTo>
                  <a:lnTo>
                    <a:pt x="350" y="139"/>
                  </a:lnTo>
                  <a:lnTo>
                    <a:pt x="350" y="137"/>
                  </a:lnTo>
                  <a:lnTo>
                    <a:pt x="348" y="137"/>
                  </a:lnTo>
                  <a:lnTo>
                    <a:pt x="348" y="137"/>
                  </a:lnTo>
                  <a:lnTo>
                    <a:pt x="348" y="134"/>
                  </a:lnTo>
                  <a:lnTo>
                    <a:pt x="350" y="134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46" y="122"/>
                  </a:lnTo>
                  <a:lnTo>
                    <a:pt x="343" y="120"/>
                  </a:lnTo>
                  <a:lnTo>
                    <a:pt x="343" y="120"/>
                  </a:lnTo>
                  <a:lnTo>
                    <a:pt x="337" y="118"/>
                  </a:lnTo>
                  <a:lnTo>
                    <a:pt x="335" y="118"/>
                  </a:lnTo>
                  <a:lnTo>
                    <a:pt x="333" y="116"/>
                  </a:lnTo>
                  <a:lnTo>
                    <a:pt x="335" y="111"/>
                  </a:lnTo>
                  <a:lnTo>
                    <a:pt x="335" y="109"/>
                  </a:lnTo>
                  <a:lnTo>
                    <a:pt x="335" y="107"/>
                  </a:lnTo>
                  <a:lnTo>
                    <a:pt x="337" y="107"/>
                  </a:lnTo>
                  <a:lnTo>
                    <a:pt x="337" y="105"/>
                  </a:lnTo>
                  <a:lnTo>
                    <a:pt x="339" y="105"/>
                  </a:lnTo>
                  <a:lnTo>
                    <a:pt x="341" y="105"/>
                  </a:lnTo>
                  <a:lnTo>
                    <a:pt x="341" y="105"/>
                  </a:lnTo>
                  <a:lnTo>
                    <a:pt x="343" y="103"/>
                  </a:lnTo>
                  <a:lnTo>
                    <a:pt x="343" y="99"/>
                  </a:lnTo>
                  <a:lnTo>
                    <a:pt x="346" y="97"/>
                  </a:lnTo>
                  <a:lnTo>
                    <a:pt x="346" y="95"/>
                  </a:lnTo>
                  <a:lnTo>
                    <a:pt x="348" y="95"/>
                  </a:lnTo>
                  <a:lnTo>
                    <a:pt x="348" y="95"/>
                  </a:lnTo>
                  <a:lnTo>
                    <a:pt x="348" y="92"/>
                  </a:lnTo>
                  <a:lnTo>
                    <a:pt x="350" y="92"/>
                  </a:lnTo>
                  <a:lnTo>
                    <a:pt x="350" y="92"/>
                  </a:lnTo>
                  <a:lnTo>
                    <a:pt x="352" y="90"/>
                  </a:lnTo>
                  <a:lnTo>
                    <a:pt x="354" y="86"/>
                  </a:lnTo>
                  <a:lnTo>
                    <a:pt x="354" y="84"/>
                  </a:lnTo>
                  <a:lnTo>
                    <a:pt x="354" y="82"/>
                  </a:lnTo>
                  <a:lnTo>
                    <a:pt x="354" y="82"/>
                  </a:lnTo>
                  <a:lnTo>
                    <a:pt x="350" y="84"/>
                  </a:lnTo>
                  <a:lnTo>
                    <a:pt x="348" y="84"/>
                  </a:lnTo>
                  <a:lnTo>
                    <a:pt x="346" y="82"/>
                  </a:lnTo>
                  <a:lnTo>
                    <a:pt x="343" y="82"/>
                  </a:lnTo>
                  <a:lnTo>
                    <a:pt x="341" y="82"/>
                  </a:lnTo>
                  <a:lnTo>
                    <a:pt x="341" y="84"/>
                  </a:lnTo>
                  <a:lnTo>
                    <a:pt x="339" y="86"/>
                  </a:lnTo>
                  <a:lnTo>
                    <a:pt x="339" y="88"/>
                  </a:lnTo>
                  <a:lnTo>
                    <a:pt x="339" y="88"/>
                  </a:lnTo>
                  <a:lnTo>
                    <a:pt x="335" y="90"/>
                  </a:lnTo>
                  <a:lnTo>
                    <a:pt x="327" y="99"/>
                  </a:lnTo>
                  <a:lnTo>
                    <a:pt x="325" y="103"/>
                  </a:lnTo>
                  <a:lnTo>
                    <a:pt x="318" y="107"/>
                  </a:lnTo>
                  <a:lnTo>
                    <a:pt x="318" y="109"/>
                  </a:lnTo>
                  <a:lnTo>
                    <a:pt x="316" y="113"/>
                  </a:lnTo>
                  <a:lnTo>
                    <a:pt x="314" y="116"/>
                  </a:lnTo>
                  <a:lnTo>
                    <a:pt x="310" y="124"/>
                  </a:lnTo>
                  <a:lnTo>
                    <a:pt x="308" y="128"/>
                  </a:lnTo>
                  <a:lnTo>
                    <a:pt x="308" y="128"/>
                  </a:lnTo>
                  <a:lnTo>
                    <a:pt x="306" y="130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8" y="130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8" y="132"/>
                  </a:lnTo>
                  <a:lnTo>
                    <a:pt x="306" y="134"/>
                  </a:lnTo>
                  <a:lnTo>
                    <a:pt x="306" y="134"/>
                  </a:lnTo>
                  <a:lnTo>
                    <a:pt x="306" y="134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6" y="139"/>
                  </a:lnTo>
                  <a:lnTo>
                    <a:pt x="304" y="143"/>
                  </a:lnTo>
                  <a:lnTo>
                    <a:pt x="304" y="145"/>
                  </a:lnTo>
                  <a:lnTo>
                    <a:pt x="304" y="147"/>
                  </a:lnTo>
                  <a:lnTo>
                    <a:pt x="306" y="149"/>
                  </a:lnTo>
                  <a:lnTo>
                    <a:pt x="304" y="153"/>
                  </a:lnTo>
                  <a:lnTo>
                    <a:pt x="299" y="160"/>
                  </a:lnTo>
                  <a:lnTo>
                    <a:pt x="297" y="166"/>
                  </a:lnTo>
                  <a:lnTo>
                    <a:pt x="295" y="168"/>
                  </a:lnTo>
                  <a:lnTo>
                    <a:pt x="293" y="172"/>
                  </a:lnTo>
                  <a:lnTo>
                    <a:pt x="291" y="174"/>
                  </a:lnTo>
                  <a:lnTo>
                    <a:pt x="291" y="176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5" y="181"/>
                  </a:lnTo>
                  <a:lnTo>
                    <a:pt x="295" y="183"/>
                  </a:lnTo>
                  <a:lnTo>
                    <a:pt x="295" y="183"/>
                  </a:lnTo>
                  <a:lnTo>
                    <a:pt x="293" y="185"/>
                  </a:lnTo>
                  <a:lnTo>
                    <a:pt x="293" y="185"/>
                  </a:lnTo>
                  <a:lnTo>
                    <a:pt x="293" y="187"/>
                  </a:lnTo>
                  <a:lnTo>
                    <a:pt x="291" y="187"/>
                  </a:lnTo>
                  <a:lnTo>
                    <a:pt x="291" y="189"/>
                  </a:lnTo>
                  <a:lnTo>
                    <a:pt x="293" y="191"/>
                  </a:lnTo>
                  <a:lnTo>
                    <a:pt x="293" y="191"/>
                  </a:lnTo>
                  <a:lnTo>
                    <a:pt x="295" y="191"/>
                  </a:lnTo>
                  <a:lnTo>
                    <a:pt x="297" y="189"/>
                  </a:lnTo>
                  <a:lnTo>
                    <a:pt x="297" y="189"/>
                  </a:lnTo>
                  <a:lnTo>
                    <a:pt x="297" y="189"/>
                  </a:lnTo>
                  <a:lnTo>
                    <a:pt x="299" y="189"/>
                  </a:lnTo>
                  <a:lnTo>
                    <a:pt x="299" y="189"/>
                  </a:lnTo>
                  <a:lnTo>
                    <a:pt x="302" y="189"/>
                  </a:lnTo>
                  <a:lnTo>
                    <a:pt x="302" y="191"/>
                  </a:lnTo>
                  <a:lnTo>
                    <a:pt x="299" y="191"/>
                  </a:lnTo>
                  <a:lnTo>
                    <a:pt x="299" y="193"/>
                  </a:lnTo>
                  <a:lnTo>
                    <a:pt x="299" y="193"/>
                  </a:lnTo>
                  <a:lnTo>
                    <a:pt x="299" y="195"/>
                  </a:lnTo>
                  <a:lnTo>
                    <a:pt x="299" y="195"/>
                  </a:lnTo>
                  <a:lnTo>
                    <a:pt x="302" y="195"/>
                  </a:lnTo>
                  <a:lnTo>
                    <a:pt x="302" y="195"/>
                  </a:lnTo>
                  <a:lnTo>
                    <a:pt x="302" y="195"/>
                  </a:lnTo>
                  <a:lnTo>
                    <a:pt x="302" y="197"/>
                  </a:lnTo>
                  <a:lnTo>
                    <a:pt x="304" y="197"/>
                  </a:lnTo>
                  <a:lnTo>
                    <a:pt x="302" y="200"/>
                  </a:lnTo>
                  <a:lnTo>
                    <a:pt x="302" y="202"/>
                  </a:lnTo>
                  <a:lnTo>
                    <a:pt x="302" y="204"/>
                  </a:lnTo>
                  <a:lnTo>
                    <a:pt x="302" y="206"/>
                  </a:lnTo>
                  <a:lnTo>
                    <a:pt x="306" y="206"/>
                  </a:lnTo>
                  <a:lnTo>
                    <a:pt x="308" y="206"/>
                  </a:lnTo>
                  <a:lnTo>
                    <a:pt x="312" y="208"/>
                  </a:lnTo>
                  <a:lnTo>
                    <a:pt x="312" y="210"/>
                  </a:lnTo>
                  <a:lnTo>
                    <a:pt x="312" y="212"/>
                  </a:lnTo>
                  <a:lnTo>
                    <a:pt x="312" y="214"/>
                  </a:lnTo>
                  <a:lnTo>
                    <a:pt x="310" y="216"/>
                  </a:lnTo>
                  <a:lnTo>
                    <a:pt x="306" y="219"/>
                  </a:lnTo>
                  <a:lnTo>
                    <a:pt x="306" y="221"/>
                  </a:lnTo>
                  <a:lnTo>
                    <a:pt x="306" y="225"/>
                  </a:lnTo>
                  <a:lnTo>
                    <a:pt x="304" y="231"/>
                  </a:lnTo>
                  <a:lnTo>
                    <a:pt x="304" y="235"/>
                  </a:lnTo>
                  <a:lnTo>
                    <a:pt x="304" y="237"/>
                  </a:lnTo>
                  <a:lnTo>
                    <a:pt x="304" y="237"/>
                  </a:lnTo>
                  <a:lnTo>
                    <a:pt x="306" y="237"/>
                  </a:lnTo>
                  <a:lnTo>
                    <a:pt x="306" y="240"/>
                  </a:lnTo>
                  <a:lnTo>
                    <a:pt x="306" y="240"/>
                  </a:lnTo>
                  <a:lnTo>
                    <a:pt x="308" y="242"/>
                  </a:lnTo>
                  <a:lnTo>
                    <a:pt x="308" y="246"/>
                  </a:lnTo>
                  <a:lnTo>
                    <a:pt x="308" y="248"/>
                  </a:lnTo>
                  <a:lnTo>
                    <a:pt x="308" y="248"/>
                  </a:lnTo>
                  <a:lnTo>
                    <a:pt x="308" y="250"/>
                  </a:lnTo>
                  <a:lnTo>
                    <a:pt x="310" y="250"/>
                  </a:lnTo>
                  <a:lnTo>
                    <a:pt x="312" y="252"/>
                  </a:lnTo>
                  <a:lnTo>
                    <a:pt x="312" y="252"/>
                  </a:lnTo>
                  <a:lnTo>
                    <a:pt x="312" y="252"/>
                  </a:lnTo>
                  <a:lnTo>
                    <a:pt x="312" y="252"/>
                  </a:lnTo>
                  <a:lnTo>
                    <a:pt x="316" y="256"/>
                  </a:lnTo>
                  <a:lnTo>
                    <a:pt x="316" y="256"/>
                  </a:lnTo>
                  <a:lnTo>
                    <a:pt x="318" y="256"/>
                  </a:lnTo>
                  <a:lnTo>
                    <a:pt x="320" y="256"/>
                  </a:lnTo>
                  <a:lnTo>
                    <a:pt x="320" y="258"/>
                  </a:lnTo>
                  <a:lnTo>
                    <a:pt x="323" y="258"/>
                  </a:lnTo>
                  <a:lnTo>
                    <a:pt x="323" y="261"/>
                  </a:lnTo>
                  <a:lnTo>
                    <a:pt x="320" y="263"/>
                  </a:lnTo>
                  <a:lnTo>
                    <a:pt x="318" y="273"/>
                  </a:lnTo>
                  <a:lnTo>
                    <a:pt x="318" y="277"/>
                  </a:lnTo>
                  <a:lnTo>
                    <a:pt x="318" y="279"/>
                  </a:lnTo>
                  <a:lnTo>
                    <a:pt x="320" y="282"/>
                  </a:lnTo>
                  <a:lnTo>
                    <a:pt x="320" y="284"/>
                  </a:lnTo>
                  <a:lnTo>
                    <a:pt x="320" y="286"/>
                  </a:lnTo>
                  <a:lnTo>
                    <a:pt x="318" y="288"/>
                  </a:lnTo>
                  <a:lnTo>
                    <a:pt x="318" y="288"/>
                  </a:lnTo>
                  <a:lnTo>
                    <a:pt x="318" y="290"/>
                  </a:lnTo>
                  <a:lnTo>
                    <a:pt x="318" y="300"/>
                  </a:lnTo>
                  <a:lnTo>
                    <a:pt x="318" y="303"/>
                  </a:lnTo>
                  <a:lnTo>
                    <a:pt x="316" y="307"/>
                  </a:lnTo>
                  <a:lnTo>
                    <a:pt x="316" y="309"/>
                  </a:lnTo>
                  <a:lnTo>
                    <a:pt x="318" y="311"/>
                  </a:lnTo>
                  <a:lnTo>
                    <a:pt x="318" y="313"/>
                  </a:lnTo>
                  <a:lnTo>
                    <a:pt x="320" y="315"/>
                  </a:lnTo>
                  <a:lnTo>
                    <a:pt x="323" y="317"/>
                  </a:lnTo>
                  <a:lnTo>
                    <a:pt x="325" y="317"/>
                  </a:lnTo>
                  <a:lnTo>
                    <a:pt x="327" y="319"/>
                  </a:lnTo>
                  <a:lnTo>
                    <a:pt x="333" y="321"/>
                  </a:lnTo>
                  <a:lnTo>
                    <a:pt x="333" y="321"/>
                  </a:lnTo>
                  <a:lnTo>
                    <a:pt x="335" y="324"/>
                  </a:lnTo>
                  <a:lnTo>
                    <a:pt x="335" y="326"/>
                  </a:lnTo>
                  <a:lnTo>
                    <a:pt x="337" y="326"/>
                  </a:lnTo>
                  <a:lnTo>
                    <a:pt x="339" y="334"/>
                  </a:lnTo>
                  <a:lnTo>
                    <a:pt x="346" y="340"/>
                  </a:lnTo>
                  <a:lnTo>
                    <a:pt x="350" y="353"/>
                  </a:lnTo>
                  <a:lnTo>
                    <a:pt x="352" y="355"/>
                  </a:lnTo>
                  <a:lnTo>
                    <a:pt x="354" y="355"/>
                  </a:lnTo>
                  <a:lnTo>
                    <a:pt x="369" y="361"/>
                  </a:lnTo>
                  <a:lnTo>
                    <a:pt x="373" y="363"/>
                  </a:lnTo>
                  <a:lnTo>
                    <a:pt x="373" y="368"/>
                  </a:lnTo>
                  <a:lnTo>
                    <a:pt x="373" y="368"/>
                  </a:lnTo>
                  <a:lnTo>
                    <a:pt x="373" y="366"/>
                  </a:lnTo>
                  <a:lnTo>
                    <a:pt x="371" y="366"/>
                  </a:lnTo>
                  <a:lnTo>
                    <a:pt x="371" y="368"/>
                  </a:lnTo>
                  <a:lnTo>
                    <a:pt x="371" y="370"/>
                  </a:lnTo>
                  <a:lnTo>
                    <a:pt x="373" y="370"/>
                  </a:lnTo>
                  <a:lnTo>
                    <a:pt x="373" y="370"/>
                  </a:lnTo>
                  <a:lnTo>
                    <a:pt x="375" y="372"/>
                  </a:lnTo>
                  <a:lnTo>
                    <a:pt x="383" y="372"/>
                  </a:lnTo>
                  <a:lnTo>
                    <a:pt x="387" y="372"/>
                  </a:lnTo>
                  <a:lnTo>
                    <a:pt x="390" y="374"/>
                  </a:lnTo>
                  <a:lnTo>
                    <a:pt x="390" y="374"/>
                  </a:lnTo>
                  <a:lnTo>
                    <a:pt x="390" y="372"/>
                  </a:lnTo>
                  <a:lnTo>
                    <a:pt x="387" y="372"/>
                  </a:lnTo>
                  <a:lnTo>
                    <a:pt x="385" y="370"/>
                  </a:lnTo>
                  <a:lnTo>
                    <a:pt x="383" y="368"/>
                  </a:lnTo>
                  <a:lnTo>
                    <a:pt x="381" y="366"/>
                  </a:lnTo>
                  <a:lnTo>
                    <a:pt x="381" y="366"/>
                  </a:lnTo>
                  <a:lnTo>
                    <a:pt x="375" y="361"/>
                  </a:lnTo>
                  <a:lnTo>
                    <a:pt x="371" y="355"/>
                  </a:lnTo>
                  <a:lnTo>
                    <a:pt x="362" y="340"/>
                  </a:lnTo>
                  <a:lnTo>
                    <a:pt x="360" y="340"/>
                  </a:lnTo>
                  <a:lnTo>
                    <a:pt x="358" y="336"/>
                  </a:lnTo>
                  <a:lnTo>
                    <a:pt x="356" y="334"/>
                  </a:lnTo>
                  <a:lnTo>
                    <a:pt x="352" y="328"/>
                  </a:lnTo>
                  <a:lnTo>
                    <a:pt x="352" y="326"/>
                  </a:lnTo>
                  <a:lnTo>
                    <a:pt x="350" y="321"/>
                  </a:lnTo>
                  <a:lnTo>
                    <a:pt x="350" y="319"/>
                  </a:lnTo>
                  <a:lnTo>
                    <a:pt x="350" y="317"/>
                  </a:lnTo>
                  <a:lnTo>
                    <a:pt x="348" y="315"/>
                  </a:lnTo>
                  <a:lnTo>
                    <a:pt x="348" y="313"/>
                  </a:lnTo>
                  <a:lnTo>
                    <a:pt x="346" y="311"/>
                  </a:lnTo>
                  <a:lnTo>
                    <a:pt x="346" y="307"/>
                  </a:lnTo>
                  <a:lnTo>
                    <a:pt x="343" y="305"/>
                  </a:lnTo>
                  <a:lnTo>
                    <a:pt x="341" y="298"/>
                  </a:lnTo>
                  <a:lnTo>
                    <a:pt x="339" y="294"/>
                  </a:lnTo>
                  <a:lnTo>
                    <a:pt x="339" y="290"/>
                  </a:lnTo>
                  <a:lnTo>
                    <a:pt x="337" y="286"/>
                  </a:lnTo>
                  <a:lnTo>
                    <a:pt x="337" y="282"/>
                  </a:lnTo>
                  <a:lnTo>
                    <a:pt x="337" y="279"/>
                  </a:lnTo>
                  <a:lnTo>
                    <a:pt x="339" y="279"/>
                  </a:lnTo>
                  <a:lnTo>
                    <a:pt x="339" y="277"/>
                  </a:lnTo>
                  <a:lnTo>
                    <a:pt x="341" y="275"/>
                  </a:lnTo>
                  <a:lnTo>
                    <a:pt x="341" y="275"/>
                  </a:lnTo>
                  <a:lnTo>
                    <a:pt x="339" y="265"/>
                  </a:lnTo>
                  <a:lnTo>
                    <a:pt x="339" y="263"/>
                  </a:lnTo>
                  <a:lnTo>
                    <a:pt x="337" y="261"/>
                  </a:lnTo>
                  <a:lnTo>
                    <a:pt x="337" y="258"/>
                  </a:lnTo>
                  <a:lnTo>
                    <a:pt x="337" y="256"/>
                  </a:lnTo>
                  <a:lnTo>
                    <a:pt x="339" y="254"/>
                  </a:lnTo>
                  <a:lnTo>
                    <a:pt x="339" y="248"/>
                  </a:lnTo>
                  <a:lnTo>
                    <a:pt x="341" y="246"/>
                  </a:lnTo>
                  <a:lnTo>
                    <a:pt x="343" y="244"/>
                  </a:lnTo>
                  <a:lnTo>
                    <a:pt x="346" y="244"/>
                  </a:lnTo>
                  <a:lnTo>
                    <a:pt x="346" y="244"/>
                  </a:lnTo>
                  <a:lnTo>
                    <a:pt x="352" y="244"/>
                  </a:lnTo>
                  <a:lnTo>
                    <a:pt x="354" y="246"/>
                  </a:lnTo>
                  <a:lnTo>
                    <a:pt x="356" y="246"/>
                  </a:lnTo>
                  <a:lnTo>
                    <a:pt x="362" y="246"/>
                  </a:lnTo>
                  <a:lnTo>
                    <a:pt x="364" y="248"/>
                  </a:lnTo>
                  <a:lnTo>
                    <a:pt x="366" y="250"/>
                  </a:lnTo>
                  <a:lnTo>
                    <a:pt x="369" y="250"/>
                  </a:lnTo>
                  <a:lnTo>
                    <a:pt x="371" y="250"/>
                  </a:lnTo>
                  <a:lnTo>
                    <a:pt x="373" y="252"/>
                  </a:lnTo>
                  <a:lnTo>
                    <a:pt x="377" y="252"/>
                  </a:lnTo>
                  <a:lnTo>
                    <a:pt x="383" y="250"/>
                  </a:lnTo>
                  <a:lnTo>
                    <a:pt x="383" y="250"/>
                  </a:lnTo>
                  <a:lnTo>
                    <a:pt x="387" y="252"/>
                  </a:lnTo>
                  <a:lnTo>
                    <a:pt x="387" y="252"/>
                  </a:lnTo>
                  <a:lnTo>
                    <a:pt x="392" y="252"/>
                  </a:lnTo>
                  <a:lnTo>
                    <a:pt x="392" y="252"/>
                  </a:lnTo>
                  <a:lnTo>
                    <a:pt x="394" y="252"/>
                  </a:lnTo>
                  <a:lnTo>
                    <a:pt x="396" y="256"/>
                  </a:lnTo>
                  <a:lnTo>
                    <a:pt x="400" y="258"/>
                  </a:lnTo>
                  <a:lnTo>
                    <a:pt x="402" y="258"/>
                  </a:lnTo>
                  <a:lnTo>
                    <a:pt x="404" y="258"/>
                  </a:lnTo>
                  <a:lnTo>
                    <a:pt x="408" y="261"/>
                  </a:lnTo>
                  <a:lnTo>
                    <a:pt x="410" y="261"/>
                  </a:lnTo>
                  <a:lnTo>
                    <a:pt x="413" y="263"/>
                  </a:lnTo>
                  <a:lnTo>
                    <a:pt x="415" y="261"/>
                  </a:lnTo>
                  <a:lnTo>
                    <a:pt x="427" y="265"/>
                  </a:lnTo>
                  <a:lnTo>
                    <a:pt x="429" y="265"/>
                  </a:lnTo>
                  <a:lnTo>
                    <a:pt x="429" y="265"/>
                  </a:lnTo>
                  <a:lnTo>
                    <a:pt x="434" y="269"/>
                  </a:lnTo>
                  <a:lnTo>
                    <a:pt x="434" y="267"/>
                  </a:lnTo>
                  <a:lnTo>
                    <a:pt x="431" y="265"/>
                  </a:lnTo>
                  <a:lnTo>
                    <a:pt x="429" y="261"/>
                  </a:lnTo>
                  <a:close/>
                  <a:moveTo>
                    <a:pt x="528" y="258"/>
                  </a:moveTo>
                  <a:lnTo>
                    <a:pt x="528" y="258"/>
                  </a:lnTo>
                  <a:lnTo>
                    <a:pt x="524" y="258"/>
                  </a:lnTo>
                  <a:lnTo>
                    <a:pt x="524" y="258"/>
                  </a:lnTo>
                  <a:lnTo>
                    <a:pt x="524" y="258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6" y="261"/>
                  </a:lnTo>
                  <a:lnTo>
                    <a:pt x="526" y="263"/>
                  </a:lnTo>
                  <a:lnTo>
                    <a:pt x="526" y="263"/>
                  </a:lnTo>
                  <a:lnTo>
                    <a:pt x="528" y="263"/>
                  </a:lnTo>
                  <a:lnTo>
                    <a:pt x="530" y="263"/>
                  </a:lnTo>
                  <a:lnTo>
                    <a:pt x="528" y="261"/>
                  </a:lnTo>
                  <a:lnTo>
                    <a:pt x="528" y="258"/>
                  </a:lnTo>
                  <a:close/>
                  <a:moveTo>
                    <a:pt x="197" y="162"/>
                  </a:moveTo>
                  <a:lnTo>
                    <a:pt x="197" y="162"/>
                  </a:lnTo>
                  <a:lnTo>
                    <a:pt x="195" y="162"/>
                  </a:lnTo>
                  <a:lnTo>
                    <a:pt x="195" y="162"/>
                  </a:lnTo>
                  <a:lnTo>
                    <a:pt x="195" y="162"/>
                  </a:lnTo>
                  <a:lnTo>
                    <a:pt x="193" y="164"/>
                  </a:lnTo>
                  <a:lnTo>
                    <a:pt x="193" y="164"/>
                  </a:lnTo>
                  <a:lnTo>
                    <a:pt x="193" y="164"/>
                  </a:lnTo>
                  <a:lnTo>
                    <a:pt x="193" y="164"/>
                  </a:lnTo>
                  <a:lnTo>
                    <a:pt x="195" y="168"/>
                  </a:lnTo>
                  <a:lnTo>
                    <a:pt x="197" y="168"/>
                  </a:lnTo>
                  <a:lnTo>
                    <a:pt x="197" y="166"/>
                  </a:lnTo>
                  <a:lnTo>
                    <a:pt x="197" y="166"/>
                  </a:lnTo>
                  <a:lnTo>
                    <a:pt x="197" y="164"/>
                  </a:lnTo>
                  <a:lnTo>
                    <a:pt x="197" y="162"/>
                  </a:lnTo>
                  <a:close/>
                  <a:moveTo>
                    <a:pt x="708" y="8"/>
                  </a:moveTo>
                  <a:lnTo>
                    <a:pt x="706" y="8"/>
                  </a:lnTo>
                  <a:lnTo>
                    <a:pt x="706" y="8"/>
                  </a:lnTo>
                  <a:lnTo>
                    <a:pt x="704" y="11"/>
                  </a:lnTo>
                  <a:lnTo>
                    <a:pt x="706" y="11"/>
                  </a:lnTo>
                  <a:lnTo>
                    <a:pt x="706" y="11"/>
                  </a:lnTo>
                  <a:lnTo>
                    <a:pt x="708" y="11"/>
                  </a:lnTo>
                  <a:lnTo>
                    <a:pt x="708" y="8"/>
                  </a:lnTo>
                  <a:close/>
                  <a:moveTo>
                    <a:pt x="647" y="0"/>
                  </a:moveTo>
                  <a:lnTo>
                    <a:pt x="645" y="2"/>
                  </a:lnTo>
                  <a:lnTo>
                    <a:pt x="643" y="4"/>
                  </a:lnTo>
                  <a:lnTo>
                    <a:pt x="645" y="4"/>
                  </a:lnTo>
                  <a:lnTo>
                    <a:pt x="647" y="4"/>
                  </a:lnTo>
                  <a:lnTo>
                    <a:pt x="649" y="4"/>
                  </a:lnTo>
                  <a:lnTo>
                    <a:pt x="649" y="2"/>
                  </a:lnTo>
                  <a:lnTo>
                    <a:pt x="649" y="0"/>
                  </a:lnTo>
                  <a:lnTo>
                    <a:pt x="647" y="0"/>
                  </a:lnTo>
                  <a:close/>
                  <a:moveTo>
                    <a:pt x="383" y="387"/>
                  </a:moveTo>
                  <a:lnTo>
                    <a:pt x="385" y="387"/>
                  </a:lnTo>
                  <a:lnTo>
                    <a:pt x="387" y="384"/>
                  </a:lnTo>
                  <a:lnTo>
                    <a:pt x="387" y="382"/>
                  </a:lnTo>
                  <a:lnTo>
                    <a:pt x="387" y="382"/>
                  </a:lnTo>
                  <a:lnTo>
                    <a:pt x="383" y="382"/>
                  </a:lnTo>
                  <a:lnTo>
                    <a:pt x="381" y="380"/>
                  </a:lnTo>
                  <a:lnTo>
                    <a:pt x="381" y="380"/>
                  </a:lnTo>
                  <a:lnTo>
                    <a:pt x="379" y="378"/>
                  </a:lnTo>
                  <a:lnTo>
                    <a:pt x="379" y="378"/>
                  </a:lnTo>
                  <a:lnTo>
                    <a:pt x="379" y="376"/>
                  </a:lnTo>
                  <a:lnTo>
                    <a:pt x="379" y="376"/>
                  </a:lnTo>
                  <a:lnTo>
                    <a:pt x="377" y="378"/>
                  </a:lnTo>
                  <a:lnTo>
                    <a:pt x="377" y="378"/>
                  </a:lnTo>
                  <a:lnTo>
                    <a:pt x="377" y="378"/>
                  </a:lnTo>
                  <a:lnTo>
                    <a:pt x="377" y="378"/>
                  </a:lnTo>
                  <a:lnTo>
                    <a:pt x="379" y="380"/>
                  </a:lnTo>
                  <a:lnTo>
                    <a:pt x="379" y="382"/>
                  </a:lnTo>
                  <a:lnTo>
                    <a:pt x="379" y="382"/>
                  </a:lnTo>
                  <a:lnTo>
                    <a:pt x="379" y="384"/>
                  </a:lnTo>
                  <a:lnTo>
                    <a:pt x="381" y="384"/>
                  </a:lnTo>
                  <a:lnTo>
                    <a:pt x="383" y="387"/>
                  </a:lnTo>
                  <a:lnTo>
                    <a:pt x="383" y="387"/>
                  </a:lnTo>
                  <a:lnTo>
                    <a:pt x="383" y="387"/>
                  </a:lnTo>
                  <a:lnTo>
                    <a:pt x="383" y="387"/>
                  </a:lnTo>
                  <a:close/>
                  <a:moveTo>
                    <a:pt x="291" y="420"/>
                  </a:moveTo>
                  <a:lnTo>
                    <a:pt x="289" y="416"/>
                  </a:lnTo>
                  <a:lnTo>
                    <a:pt x="289" y="416"/>
                  </a:lnTo>
                  <a:lnTo>
                    <a:pt x="287" y="416"/>
                  </a:lnTo>
                  <a:lnTo>
                    <a:pt x="287" y="416"/>
                  </a:lnTo>
                  <a:lnTo>
                    <a:pt x="287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6"/>
                  </a:lnTo>
                  <a:lnTo>
                    <a:pt x="285" y="418"/>
                  </a:lnTo>
                  <a:lnTo>
                    <a:pt x="285" y="418"/>
                  </a:lnTo>
                  <a:lnTo>
                    <a:pt x="283" y="418"/>
                  </a:lnTo>
                  <a:lnTo>
                    <a:pt x="281" y="420"/>
                  </a:lnTo>
                  <a:lnTo>
                    <a:pt x="281" y="422"/>
                  </a:lnTo>
                  <a:lnTo>
                    <a:pt x="285" y="424"/>
                  </a:lnTo>
                  <a:lnTo>
                    <a:pt x="285" y="422"/>
                  </a:lnTo>
                  <a:lnTo>
                    <a:pt x="287" y="422"/>
                  </a:lnTo>
                  <a:lnTo>
                    <a:pt x="289" y="420"/>
                  </a:lnTo>
                  <a:lnTo>
                    <a:pt x="289" y="420"/>
                  </a:lnTo>
                  <a:lnTo>
                    <a:pt x="291" y="420"/>
                  </a:lnTo>
                  <a:close/>
                  <a:moveTo>
                    <a:pt x="285" y="361"/>
                  </a:moveTo>
                  <a:lnTo>
                    <a:pt x="283" y="359"/>
                  </a:lnTo>
                  <a:lnTo>
                    <a:pt x="283" y="357"/>
                  </a:lnTo>
                  <a:lnTo>
                    <a:pt x="283" y="355"/>
                  </a:lnTo>
                  <a:lnTo>
                    <a:pt x="283" y="355"/>
                  </a:lnTo>
                  <a:lnTo>
                    <a:pt x="281" y="353"/>
                  </a:lnTo>
                  <a:lnTo>
                    <a:pt x="281" y="353"/>
                  </a:lnTo>
                  <a:lnTo>
                    <a:pt x="281" y="351"/>
                  </a:lnTo>
                  <a:lnTo>
                    <a:pt x="279" y="351"/>
                  </a:lnTo>
                  <a:lnTo>
                    <a:pt x="279" y="349"/>
                  </a:lnTo>
                  <a:lnTo>
                    <a:pt x="279" y="349"/>
                  </a:lnTo>
                  <a:lnTo>
                    <a:pt x="279" y="347"/>
                  </a:lnTo>
                  <a:lnTo>
                    <a:pt x="279" y="347"/>
                  </a:lnTo>
                  <a:lnTo>
                    <a:pt x="279" y="347"/>
                  </a:lnTo>
                  <a:lnTo>
                    <a:pt x="276" y="347"/>
                  </a:lnTo>
                  <a:lnTo>
                    <a:pt x="274" y="347"/>
                  </a:lnTo>
                  <a:lnTo>
                    <a:pt x="272" y="347"/>
                  </a:lnTo>
                  <a:lnTo>
                    <a:pt x="272" y="349"/>
                  </a:lnTo>
                  <a:lnTo>
                    <a:pt x="272" y="353"/>
                  </a:lnTo>
                  <a:lnTo>
                    <a:pt x="270" y="353"/>
                  </a:lnTo>
                  <a:lnTo>
                    <a:pt x="270" y="355"/>
                  </a:lnTo>
                  <a:lnTo>
                    <a:pt x="270" y="357"/>
                  </a:lnTo>
                  <a:lnTo>
                    <a:pt x="268" y="361"/>
                  </a:lnTo>
                  <a:lnTo>
                    <a:pt x="270" y="361"/>
                  </a:lnTo>
                  <a:lnTo>
                    <a:pt x="274" y="361"/>
                  </a:lnTo>
                  <a:lnTo>
                    <a:pt x="279" y="361"/>
                  </a:lnTo>
                  <a:lnTo>
                    <a:pt x="279" y="363"/>
                  </a:lnTo>
                  <a:lnTo>
                    <a:pt x="279" y="363"/>
                  </a:lnTo>
                  <a:lnTo>
                    <a:pt x="279" y="363"/>
                  </a:lnTo>
                  <a:lnTo>
                    <a:pt x="281" y="363"/>
                  </a:lnTo>
                  <a:lnTo>
                    <a:pt x="285" y="363"/>
                  </a:lnTo>
                  <a:lnTo>
                    <a:pt x="285" y="361"/>
                  </a:lnTo>
                  <a:close/>
                  <a:moveTo>
                    <a:pt x="266" y="336"/>
                  </a:moveTo>
                  <a:lnTo>
                    <a:pt x="266" y="338"/>
                  </a:lnTo>
                  <a:lnTo>
                    <a:pt x="270" y="338"/>
                  </a:lnTo>
                  <a:lnTo>
                    <a:pt x="272" y="338"/>
                  </a:lnTo>
                  <a:lnTo>
                    <a:pt x="274" y="336"/>
                  </a:lnTo>
                  <a:lnTo>
                    <a:pt x="276" y="334"/>
                  </a:lnTo>
                  <a:lnTo>
                    <a:pt x="276" y="334"/>
                  </a:lnTo>
                  <a:lnTo>
                    <a:pt x="276" y="336"/>
                  </a:lnTo>
                  <a:lnTo>
                    <a:pt x="279" y="336"/>
                  </a:lnTo>
                  <a:lnTo>
                    <a:pt x="279" y="334"/>
                  </a:lnTo>
                  <a:lnTo>
                    <a:pt x="279" y="332"/>
                  </a:lnTo>
                  <a:lnTo>
                    <a:pt x="279" y="332"/>
                  </a:lnTo>
                  <a:lnTo>
                    <a:pt x="279" y="330"/>
                  </a:lnTo>
                  <a:lnTo>
                    <a:pt x="279" y="328"/>
                  </a:lnTo>
                  <a:lnTo>
                    <a:pt x="281" y="326"/>
                  </a:lnTo>
                  <a:lnTo>
                    <a:pt x="281" y="326"/>
                  </a:lnTo>
                  <a:lnTo>
                    <a:pt x="281" y="324"/>
                  </a:lnTo>
                  <a:lnTo>
                    <a:pt x="281" y="324"/>
                  </a:lnTo>
                  <a:lnTo>
                    <a:pt x="279" y="321"/>
                  </a:lnTo>
                  <a:lnTo>
                    <a:pt x="279" y="319"/>
                  </a:lnTo>
                  <a:lnTo>
                    <a:pt x="279" y="319"/>
                  </a:lnTo>
                  <a:lnTo>
                    <a:pt x="279" y="317"/>
                  </a:lnTo>
                  <a:lnTo>
                    <a:pt x="279" y="317"/>
                  </a:lnTo>
                  <a:lnTo>
                    <a:pt x="281" y="317"/>
                  </a:lnTo>
                  <a:lnTo>
                    <a:pt x="281" y="317"/>
                  </a:lnTo>
                  <a:lnTo>
                    <a:pt x="283" y="317"/>
                  </a:lnTo>
                  <a:lnTo>
                    <a:pt x="283" y="315"/>
                  </a:lnTo>
                  <a:lnTo>
                    <a:pt x="283" y="315"/>
                  </a:lnTo>
                  <a:lnTo>
                    <a:pt x="283" y="315"/>
                  </a:lnTo>
                  <a:lnTo>
                    <a:pt x="279" y="315"/>
                  </a:lnTo>
                  <a:lnTo>
                    <a:pt x="279" y="315"/>
                  </a:lnTo>
                  <a:lnTo>
                    <a:pt x="279" y="313"/>
                  </a:lnTo>
                  <a:lnTo>
                    <a:pt x="276" y="313"/>
                  </a:lnTo>
                  <a:lnTo>
                    <a:pt x="276" y="313"/>
                  </a:lnTo>
                  <a:lnTo>
                    <a:pt x="276" y="313"/>
                  </a:lnTo>
                  <a:lnTo>
                    <a:pt x="274" y="313"/>
                  </a:lnTo>
                  <a:lnTo>
                    <a:pt x="274" y="313"/>
                  </a:lnTo>
                  <a:lnTo>
                    <a:pt x="274" y="313"/>
                  </a:lnTo>
                  <a:lnTo>
                    <a:pt x="270" y="313"/>
                  </a:lnTo>
                  <a:lnTo>
                    <a:pt x="270" y="313"/>
                  </a:lnTo>
                  <a:lnTo>
                    <a:pt x="268" y="313"/>
                  </a:lnTo>
                  <a:lnTo>
                    <a:pt x="266" y="315"/>
                  </a:lnTo>
                  <a:lnTo>
                    <a:pt x="266" y="315"/>
                  </a:lnTo>
                  <a:lnTo>
                    <a:pt x="264" y="315"/>
                  </a:lnTo>
                  <a:lnTo>
                    <a:pt x="264" y="317"/>
                  </a:lnTo>
                  <a:lnTo>
                    <a:pt x="266" y="319"/>
                  </a:lnTo>
                  <a:lnTo>
                    <a:pt x="266" y="321"/>
                  </a:lnTo>
                  <a:lnTo>
                    <a:pt x="266" y="324"/>
                  </a:lnTo>
                  <a:lnTo>
                    <a:pt x="266" y="324"/>
                  </a:lnTo>
                  <a:lnTo>
                    <a:pt x="264" y="324"/>
                  </a:lnTo>
                  <a:lnTo>
                    <a:pt x="264" y="324"/>
                  </a:lnTo>
                  <a:lnTo>
                    <a:pt x="264" y="326"/>
                  </a:lnTo>
                  <a:lnTo>
                    <a:pt x="264" y="328"/>
                  </a:lnTo>
                  <a:lnTo>
                    <a:pt x="264" y="330"/>
                  </a:lnTo>
                  <a:lnTo>
                    <a:pt x="264" y="330"/>
                  </a:lnTo>
                  <a:lnTo>
                    <a:pt x="266" y="330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4"/>
                  </a:lnTo>
                  <a:lnTo>
                    <a:pt x="266" y="334"/>
                  </a:lnTo>
                  <a:lnTo>
                    <a:pt x="264" y="334"/>
                  </a:lnTo>
                  <a:lnTo>
                    <a:pt x="264" y="336"/>
                  </a:lnTo>
                  <a:lnTo>
                    <a:pt x="266" y="336"/>
                  </a:lnTo>
                  <a:lnTo>
                    <a:pt x="266" y="336"/>
                  </a:lnTo>
                  <a:lnTo>
                    <a:pt x="266" y="336"/>
                  </a:lnTo>
                  <a:close/>
                  <a:moveTo>
                    <a:pt x="381" y="439"/>
                  </a:moveTo>
                  <a:lnTo>
                    <a:pt x="379" y="439"/>
                  </a:lnTo>
                  <a:lnTo>
                    <a:pt x="377" y="441"/>
                  </a:lnTo>
                  <a:lnTo>
                    <a:pt x="377" y="443"/>
                  </a:lnTo>
                  <a:lnTo>
                    <a:pt x="377" y="443"/>
                  </a:lnTo>
                  <a:lnTo>
                    <a:pt x="379" y="445"/>
                  </a:lnTo>
                  <a:lnTo>
                    <a:pt x="379" y="445"/>
                  </a:lnTo>
                  <a:lnTo>
                    <a:pt x="381" y="443"/>
                  </a:lnTo>
                  <a:lnTo>
                    <a:pt x="381" y="443"/>
                  </a:lnTo>
                  <a:lnTo>
                    <a:pt x="381" y="441"/>
                  </a:lnTo>
                  <a:lnTo>
                    <a:pt x="381" y="441"/>
                  </a:lnTo>
                  <a:lnTo>
                    <a:pt x="381" y="439"/>
                  </a:lnTo>
                  <a:close/>
                  <a:moveTo>
                    <a:pt x="360" y="437"/>
                  </a:moveTo>
                  <a:lnTo>
                    <a:pt x="360" y="435"/>
                  </a:lnTo>
                  <a:lnTo>
                    <a:pt x="360" y="435"/>
                  </a:lnTo>
                  <a:lnTo>
                    <a:pt x="358" y="435"/>
                  </a:lnTo>
                  <a:lnTo>
                    <a:pt x="358" y="435"/>
                  </a:lnTo>
                  <a:lnTo>
                    <a:pt x="356" y="435"/>
                  </a:lnTo>
                  <a:lnTo>
                    <a:pt x="356" y="435"/>
                  </a:lnTo>
                  <a:lnTo>
                    <a:pt x="356" y="435"/>
                  </a:lnTo>
                  <a:lnTo>
                    <a:pt x="352" y="433"/>
                  </a:lnTo>
                  <a:lnTo>
                    <a:pt x="352" y="433"/>
                  </a:lnTo>
                  <a:lnTo>
                    <a:pt x="352" y="433"/>
                  </a:lnTo>
                  <a:lnTo>
                    <a:pt x="350" y="431"/>
                  </a:lnTo>
                  <a:lnTo>
                    <a:pt x="341" y="424"/>
                  </a:lnTo>
                  <a:lnTo>
                    <a:pt x="341" y="424"/>
                  </a:lnTo>
                  <a:lnTo>
                    <a:pt x="339" y="422"/>
                  </a:lnTo>
                  <a:lnTo>
                    <a:pt x="337" y="422"/>
                  </a:lnTo>
                  <a:lnTo>
                    <a:pt x="337" y="422"/>
                  </a:lnTo>
                  <a:lnTo>
                    <a:pt x="335" y="422"/>
                  </a:lnTo>
                  <a:lnTo>
                    <a:pt x="335" y="424"/>
                  </a:lnTo>
                  <a:lnTo>
                    <a:pt x="333" y="422"/>
                  </a:lnTo>
                  <a:lnTo>
                    <a:pt x="331" y="422"/>
                  </a:lnTo>
                  <a:lnTo>
                    <a:pt x="329" y="420"/>
                  </a:lnTo>
                  <a:lnTo>
                    <a:pt x="327" y="418"/>
                  </a:lnTo>
                  <a:lnTo>
                    <a:pt x="327" y="418"/>
                  </a:lnTo>
                  <a:lnTo>
                    <a:pt x="325" y="416"/>
                  </a:lnTo>
                  <a:lnTo>
                    <a:pt x="320" y="414"/>
                  </a:lnTo>
                  <a:lnTo>
                    <a:pt x="314" y="414"/>
                  </a:lnTo>
                  <a:lnTo>
                    <a:pt x="312" y="414"/>
                  </a:lnTo>
                  <a:lnTo>
                    <a:pt x="304" y="420"/>
                  </a:lnTo>
                  <a:lnTo>
                    <a:pt x="304" y="420"/>
                  </a:lnTo>
                  <a:lnTo>
                    <a:pt x="302" y="422"/>
                  </a:lnTo>
                  <a:lnTo>
                    <a:pt x="302" y="424"/>
                  </a:lnTo>
                  <a:lnTo>
                    <a:pt x="299" y="424"/>
                  </a:lnTo>
                  <a:lnTo>
                    <a:pt x="299" y="424"/>
                  </a:lnTo>
                  <a:lnTo>
                    <a:pt x="297" y="422"/>
                  </a:lnTo>
                  <a:lnTo>
                    <a:pt x="295" y="420"/>
                  </a:lnTo>
                  <a:lnTo>
                    <a:pt x="295" y="422"/>
                  </a:lnTo>
                  <a:lnTo>
                    <a:pt x="295" y="424"/>
                  </a:lnTo>
                  <a:lnTo>
                    <a:pt x="293" y="424"/>
                  </a:lnTo>
                  <a:lnTo>
                    <a:pt x="293" y="426"/>
                  </a:lnTo>
                  <a:lnTo>
                    <a:pt x="293" y="429"/>
                  </a:lnTo>
                  <a:lnTo>
                    <a:pt x="293" y="431"/>
                  </a:lnTo>
                  <a:lnTo>
                    <a:pt x="291" y="433"/>
                  </a:lnTo>
                  <a:lnTo>
                    <a:pt x="291" y="433"/>
                  </a:lnTo>
                  <a:lnTo>
                    <a:pt x="291" y="435"/>
                  </a:lnTo>
                  <a:lnTo>
                    <a:pt x="291" y="437"/>
                  </a:lnTo>
                  <a:lnTo>
                    <a:pt x="291" y="439"/>
                  </a:lnTo>
                  <a:lnTo>
                    <a:pt x="289" y="441"/>
                  </a:lnTo>
                  <a:lnTo>
                    <a:pt x="295" y="448"/>
                  </a:lnTo>
                  <a:lnTo>
                    <a:pt x="302" y="450"/>
                  </a:lnTo>
                  <a:lnTo>
                    <a:pt x="304" y="452"/>
                  </a:lnTo>
                  <a:lnTo>
                    <a:pt x="308" y="452"/>
                  </a:lnTo>
                  <a:lnTo>
                    <a:pt x="316" y="450"/>
                  </a:lnTo>
                  <a:lnTo>
                    <a:pt x="316" y="450"/>
                  </a:lnTo>
                  <a:lnTo>
                    <a:pt x="318" y="450"/>
                  </a:lnTo>
                  <a:lnTo>
                    <a:pt x="318" y="448"/>
                  </a:lnTo>
                  <a:lnTo>
                    <a:pt x="320" y="448"/>
                  </a:lnTo>
                  <a:lnTo>
                    <a:pt x="335" y="448"/>
                  </a:lnTo>
                  <a:lnTo>
                    <a:pt x="337" y="448"/>
                  </a:lnTo>
                  <a:lnTo>
                    <a:pt x="339" y="448"/>
                  </a:lnTo>
                  <a:lnTo>
                    <a:pt x="341" y="448"/>
                  </a:lnTo>
                  <a:lnTo>
                    <a:pt x="354" y="450"/>
                  </a:lnTo>
                  <a:lnTo>
                    <a:pt x="356" y="450"/>
                  </a:lnTo>
                  <a:lnTo>
                    <a:pt x="360" y="448"/>
                  </a:lnTo>
                  <a:lnTo>
                    <a:pt x="362" y="445"/>
                  </a:lnTo>
                  <a:lnTo>
                    <a:pt x="364" y="443"/>
                  </a:lnTo>
                  <a:lnTo>
                    <a:pt x="362" y="439"/>
                  </a:lnTo>
                  <a:lnTo>
                    <a:pt x="360" y="437"/>
                  </a:lnTo>
                  <a:close/>
                  <a:moveTo>
                    <a:pt x="312" y="460"/>
                  </a:moveTo>
                  <a:lnTo>
                    <a:pt x="310" y="460"/>
                  </a:lnTo>
                  <a:lnTo>
                    <a:pt x="308" y="460"/>
                  </a:lnTo>
                  <a:lnTo>
                    <a:pt x="308" y="462"/>
                  </a:lnTo>
                  <a:lnTo>
                    <a:pt x="308" y="462"/>
                  </a:lnTo>
                  <a:lnTo>
                    <a:pt x="308" y="464"/>
                  </a:lnTo>
                  <a:lnTo>
                    <a:pt x="308" y="464"/>
                  </a:lnTo>
                  <a:lnTo>
                    <a:pt x="308" y="464"/>
                  </a:lnTo>
                  <a:lnTo>
                    <a:pt x="310" y="464"/>
                  </a:lnTo>
                  <a:lnTo>
                    <a:pt x="310" y="462"/>
                  </a:lnTo>
                  <a:lnTo>
                    <a:pt x="310" y="462"/>
                  </a:lnTo>
                  <a:lnTo>
                    <a:pt x="310" y="462"/>
                  </a:lnTo>
                  <a:lnTo>
                    <a:pt x="312" y="462"/>
                  </a:lnTo>
                  <a:lnTo>
                    <a:pt x="312" y="462"/>
                  </a:lnTo>
                  <a:lnTo>
                    <a:pt x="312" y="462"/>
                  </a:lnTo>
                  <a:lnTo>
                    <a:pt x="314" y="462"/>
                  </a:lnTo>
                  <a:lnTo>
                    <a:pt x="314" y="460"/>
                  </a:lnTo>
                  <a:lnTo>
                    <a:pt x="314" y="460"/>
                  </a:lnTo>
                  <a:lnTo>
                    <a:pt x="312" y="460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4" name="Freeform 109">
              <a:extLst>
                <a:ext uri="{FF2B5EF4-FFF2-40B4-BE49-F238E27FC236}">
                  <a16:creationId xmlns:a16="http://schemas.microsoft.com/office/drawing/2014/main" id="{8965EB56-51BB-4B60-A083-E4717434A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48847" y="1381537"/>
              <a:ext cx="1029891" cy="626269"/>
            </a:xfrm>
            <a:custGeom>
              <a:avLst/>
              <a:gdLst>
                <a:gd name="T0" fmla="*/ 130 w 865"/>
                <a:gd name="T1" fmla="*/ 45 h 526"/>
                <a:gd name="T2" fmla="*/ 42 w 865"/>
                <a:gd name="T3" fmla="*/ 78 h 526"/>
                <a:gd name="T4" fmla="*/ 157 w 865"/>
                <a:gd name="T5" fmla="*/ 446 h 526"/>
                <a:gd name="T6" fmla="*/ 191 w 865"/>
                <a:gd name="T7" fmla="*/ 36 h 526"/>
                <a:gd name="T8" fmla="*/ 23 w 865"/>
                <a:gd name="T9" fmla="*/ 461 h 526"/>
                <a:gd name="T10" fmla="*/ 38 w 865"/>
                <a:gd name="T11" fmla="*/ 482 h 526"/>
                <a:gd name="T12" fmla="*/ 2 w 865"/>
                <a:gd name="T13" fmla="*/ 490 h 526"/>
                <a:gd name="T14" fmla="*/ 222 w 865"/>
                <a:gd name="T15" fmla="*/ 515 h 526"/>
                <a:gd name="T16" fmla="*/ 226 w 865"/>
                <a:gd name="T17" fmla="*/ 91 h 526"/>
                <a:gd name="T18" fmla="*/ 193 w 865"/>
                <a:gd name="T19" fmla="*/ 503 h 526"/>
                <a:gd name="T20" fmla="*/ 266 w 865"/>
                <a:gd name="T21" fmla="*/ 76 h 526"/>
                <a:gd name="T22" fmla="*/ 172 w 865"/>
                <a:gd name="T23" fmla="*/ 255 h 526"/>
                <a:gd name="T24" fmla="*/ 553 w 865"/>
                <a:gd name="T25" fmla="*/ 368 h 526"/>
                <a:gd name="T26" fmla="*/ 813 w 865"/>
                <a:gd name="T27" fmla="*/ 334 h 526"/>
                <a:gd name="T28" fmla="*/ 802 w 865"/>
                <a:gd name="T29" fmla="*/ 309 h 526"/>
                <a:gd name="T30" fmla="*/ 802 w 865"/>
                <a:gd name="T31" fmla="*/ 282 h 526"/>
                <a:gd name="T32" fmla="*/ 806 w 865"/>
                <a:gd name="T33" fmla="*/ 267 h 526"/>
                <a:gd name="T34" fmla="*/ 802 w 865"/>
                <a:gd name="T35" fmla="*/ 257 h 526"/>
                <a:gd name="T36" fmla="*/ 511 w 865"/>
                <a:gd name="T37" fmla="*/ 435 h 526"/>
                <a:gd name="T38" fmla="*/ 496 w 865"/>
                <a:gd name="T39" fmla="*/ 461 h 526"/>
                <a:gd name="T40" fmla="*/ 519 w 865"/>
                <a:gd name="T41" fmla="*/ 114 h 526"/>
                <a:gd name="T42" fmla="*/ 538 w 865"/>
                <a:gd name="T43" fmla="*/ 114 h 526"/>
                <a:gd name="T44" fmla="*/ 827 w 865"/>
                <a:gd name="T45" fmla="*/ 372 h 526"/>
                <a:gd name="T46" fmla="*/ 829 w 865"/>
                <a:gd name="T47" fmla="*/ 360 h 526"/>
                <a:gd name="T48" fmla="*/ 806 w 865"/>
                <a:gd name="T49" fmla="*/ 337 h 526"/>
                <a:gd name="T50" fmla="*/ 792 w 865"/>
                <a:gd name="T51" fmla="*/ 330 h 526"/>
                <a:gd name="T52" fmla="*/ 815 w 865"/>
                <a:gd name="T53" fmla="*/ 379 h 526"/>
                <a:gd name="T54" fmla="*/ 687 w 865"/>
                <a:gd name="T55" fmla="*/ 269 h 526"/>
                <a:gd name="T56" fmla="*/ 823 w 865"/>
                <a:gd name="T57" fmla="*/ 404 h 526"/>
                <a:gd name="T58" fmla="*/ 664 w 865"/>
                <a:gd name="T59" fmla="*/ 261 h 526"/>
                <a:gd name="T60" fmla="*/ 662 w 865"/>
                <a:gd name="T61" fmla="*/ 274 h 526"/>
                <a:gd name="T62" fmla="*/ 654 w 865"/>
                <a:gd name="T63" fmla="*/ 288 h 526"/>
                <a:gd name="T64" fmla="*/ 836 w 865"/>
                <a:gd name="T65" fmla="*/ 389 h 526"/>
                <a:gd name="T66" fmla="*/ 846 w 865"/>
                <a:gd name="T67" fmla="*/ 322 h 526"/>
                <a:gd name="T68" fmla="*/ 848 w 865"/>
                <a:gd name="T69" fmla="*/ 301 h 526"/>
                <a:gd name="T70" fmla="*/ 848 w 865"/>
                <a:gd name="T71" fmla="*/ 278 h 526"/>
                <a:gd name="T72" fmla="*/ 829 w 865"/>
                <a:gd name="T73" fmla="*/ 250 h 526"/>
                <a:gd name="T74" fmla="*/ 802 w 865"/>
                <a:gd name="T75" fmla="*/ 280 h 526"/>
                <a:gd name="T76" fmla="*/ 813 w 865"/>
                <a:gd name="T77" fmla="*/ 307 h 526"/>
                <a:gd name="T78" fmla="*/ 832 w 865"/>
                <a:gd name="T79" fmla="*/ 334 h 526"/>
                <a:gd name="T80" fmla="*/ 859 w 865"/>
                <a:gd name="T81" fmla="*/ 347 h 526"/>
                <a:gd name="T82" fmla="*/ 840 w 865"/>
                <a:gd name="T83" fmla="*/ 351 h 526"/>
                <a:gd name="T84" fmla="*/ 850 w 865"/>
                <a:gd name="T85" fmla="*/ 364 h 526"/>
                <a:gd name="T86" fmla="*/ 819 w 865"/>
                <a:gd name="T87" fmla="*/ 341 h 526"/>
                <a:gd name="T88" fmla="*/ 381 w 865"/>
                <a:gd name="T89" fmla="*/ 475 h 526"/>
                <a:gd name="T90" fmla="*/ 354 w 865"/>
                <a:gd name="T91" fmla="*/ 374 h 526"/>
                <a:gd name="T92" fmla="*/ 287 w 865"/>
                <a:gd name="T93" fmla="*/ 80 h 526"/>
                <a:gd name="T94" fmla="*/ 283 w 865"/>
                <a:gd name="T95" fmla="*/ 70 h 526"/>
                <a:gd name="T96" fmla="*/ 505 w 865"/>
                <a:gd name="T97" fmla="*/ 505 h 526"/>
                <a:gd name="T98" fmla="*/ 563 w 865"/>
                <a:gd name="T99" fmla="*/ 410 h 526"/>
                <a:gd name="T100" fmla="*/ 530 w 865"/>
                <a:gd name="T101" fmla="*/ 440 h 526"/>
                <a:gd name="T102" fmla="*/ 511 w 865"/>
                <a:gd name="T103" fmla="*/ 475 h 526"/>
                <a:gd name="T104" fmla="*/ 532 w 865"/>
                <a:gd name="T105" fmla="*/ 484 h 526"/>
                <a:gd name="T106" fmla="*/ 563 w 865"/>
                <a:gd name="T107" fmla="*/ 437 h 526"/>
                <a:gd name="T108" fmla="*/ 482 w 865"/>
                <a:gd name="T109" fmla="*/ 70 h 526"/>
                <a:gd name="T110" fmla="*/ 385 w 865"/>
                <a:gd name="T111" fmla="*/ 13 h 526"/>
                <a:gd name="T112" fmla="*/ 323 w 865"/>
                <a:gd name="T113" fmla="*/ 15 h 526"/>
                <a:gd name="T114" fmla="*/ 222 w 865"/>
                <a:gd name="T115" fmla="*/ 17 h 526"/>
                <a:gd name="T116" fmla="*/ 212 w 865"/>
                <a:gd name="T117" fmla="*/ 61 h 526"/>
                <a:gd name="T118" fmla="*/ 279 w 865"/>
                <a:gd name="T119" fmla="*/ 57 h 526"/>
                <a:gd name="T120" fmla="*/ 400 w 865"/>
                <a:gd name="T121" fmla="*/ 57 h 526"/>
                <a:gd name="T122" fmla="*/ 566 w 865"/>
                <a:gd name="T123" fmla="*/ 412 h 526"/>
                <a:gd name="T124" fmla="*/ 394 w 865"/>
                <a:gd name="T125" fmla="*/ 169 h 5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65" h="526">
                  <a:moveTo>
                    <a:pt x="197" y="248"/>
                  </a:moveTo>
                  <a:lnTo>
                    <a:pt x="195" y="246"/>
                  </a:lnTo>
                  <a:lnTo>
                    <a:pt x="195" y="248"/>
                  </a:lnTo>
                  <a:lnTo>
                    <a:pt x="197" y="248"/>
                  </a:lnTo>
                  <a:close/>
                  <a:moveTo>
                    <a:pt x="142" y="498"/>
                  </a:moveTo>
                  <a:lnTo>
                    <a:pt x="142" y="496"/>
                  </a:lnTo>
                  <a:lnTo>
                    <a:pt x="140" y="494"/>
                  </a:lnTo>
                  <a:lnTo>
                    <a:pt x="138" y="494"/>
                  </a:lnTo>
                  <a:lnTo>
                    <a:pt x="138" y="494"/>
                  </a:lnTo>
                  <a:lnTo>
                    <a:pt x="136" y="494"/>
                  </a:lnTo>
                  <a:lnTo>
                    <a:pt x="136" y="496"/>
                  </a:lnTo>
                  <a:lnTo>
                    <a:pt x="134" y="496"/>
                  </a:lnTo>
                  <a:lnTo>
                    <a:pt x="134" y="500"/>
                  </a:lnTo>
                  <a:lnTo>
                    <a:pt x="134" y="500"/>
                  </a:lnTo>
                  <a:lnTo>
                    <a:pt x="134" y="503"/>
                  </a:lnTo>
                  <a:lnTo>
                    <a:pt x="138" y="503"/>
                  </a:lnTo>
                  <a:lnTo>
                    <a:pt x="140" y="503"/>
                  </a:lnTo>
                  <a:lnTo>
                    <a:pt x="142" y="500"/>
                  </a:lnTo>
                  <a:lnTo>
                    <a:pt x="142" y="498"/>
                  </a:lnTo>
                  <a:lnTo>
                    <a:pt x="142" y="498"/>
                  </a:lnTo>
                  <a:close/>
                  <a:moveTo>
                    <a:pt x="142" y="55"/>
                  </a:moveTo>
                  <a:lnTo>
                    <a:pt x="138" y="53"/>
                  </a:lnTo>
                  <a:lnTo>
                    <a:pt x="136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2" y="55"/>
                  </a:lnTo>
                  <a:lnTo>
                    <a:pt x="130" y="55"/>
                  </a:lnTo>
                  <a:lnTo>
                    <a:pt x="130" y="55"/>
                  </a:lnTo>
                  <a:lnTo>
                    <a:pt x="128" y="53"/>
                  </a:lnTo>
                  <a:lnTo>
                    <a:pt x="126" y="53"/>
                  </a:lnTo>
                  <a:lnTo>
                    <a:pt x="126" y="53"/>
                  </a:lnTo>
                  <a:lnTo>
                    <a:pt x="126" y="51"/>
                  </a:lnTo>
                  <a:lnTo>
                    <a:pt x="124" y="49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8" y="47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47"/>
                  </a:lnTo>
                  <a:lnTo>
                    <a:pt x="130" y="45"/>
                  </a:lnTo>
                  <a:lnTo>
                    <a:pt x="130" y="42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30" y="40"/>
                  </a:lnTo>
                  <a:lnTo>
                    <a:pt x="128" y="38"/>
                  </a:lnTo>
                  <a:lnTo>
                    <a:pt x="126" y="38"/>
                  </a:lnTo>
                  <a:lnTo>
                    <a:pt x="124" y="36"/>
                  </a:lnTo>
                  <a:lnTo>
                    <a:pt x="119" y="34"/>
                  </a:lnTo>
                  <a:lnTo>
                    <a:pt x="117" y="34"/>
                  </a:lnTo>
                  <a:lnTo>
                    <a:pt x="115" y="34"/>
                  </a:lnTo>
                  <a:lnTo>
                    <a:pt x="113" y="32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09" y="30"/>
                  </a:lnTo>
                  <a:lnTo>
                    <a:pt x="107" y="28"/>
                  </a:lnTo>
                  <a:lnTo>
                    <a:pt x="105" y="28"/>
                  </a:lnTo>
                  <a:lnTo>
                    <a:pt x="94" y="26"/>
                  </a:lnTo>
                  <a:lnTo>
                    <a:pt x="65" y="28"/>
                  </a:lnTo>
                  <a:lnTo>
                    <a:pt x="54" y="30"/>
                  </a:lnTo>
                  <a:lnTo>
                    <a:pt x="50" y="32"/>
                  </a:lnTo>
                  <a:lnTo>
                    <a:pt x="48" y="34"/>
                  </a:lnTo>
                  <a:lnTo>
                    <a:pt x="48" y="36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2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6" y="32"/>
                  </a:lnTo>
                  <a:lnTo>
                    <a:pt x="33" y="32"/>
                  </a:lnTo>
                  <a:lnTo>
                    <a:pt x="31" y="34"/>
                  </a:lnTo>
                  <a:lnTo>
                    <a:pt x="29" y="34"/>
                  </a:lnTo>
                  <a:lnTo>
                    <a:pt x="27" y="36"/>
                  </a:lnTo>
                  <a:lnTo>
                    <a:pt x="25" y="45"/>
                  </a:lnTo>
                  <a:lnTo>
                    <a:pt x="27" y="55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3" y="66"/>
                  </a:lnTo>
                  <a:lnTo>
                    <a:pt x="40" y="70"/>
                  </a:lnTo>
                  <a:lnTo>
                    <a:pt x="42" y="74"/>
                  </a:lnTo>
                  <a:lnTo>
                    <a:pt x="42" y="78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50" y="80"/>
                  </a:lnTo>
                  <a:lnTo>
                    <a:pt x="52" y="82"/>
                  </a:lnTo>
                  <a:lnTo>
                    <a:pt x="57" y="84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7" y="91"/>
                  </a:lnTo>
                  <a:lnTo>
                    <a:pt x="75" y="95"/>
                  </a:lnTo>
                  <a:lnTo>
                    <a:pt x="77" y="95"/>
                  </a:lnTo>
                  <a:lnTo>
                    <a:pt x="82" y="97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92" y="101"/>
                  </a:lnTo>
                  <a:lnTo>
                    <a:pt x="94" y="101"/>
                  </a:lnTo>
                  <a:lnTo>
                    <a:pt x="96" y="101"/>
                  </a:lnTo>
                  <a:lnTo>
                    <a:pt x="98" y="99"/>
                  </a:lnTo>
                  <a:lnTo>
                    <a:pt x="105" y="97"/>
                  </a:lnTo>
                  <a:lnTo>
                    <a:pt x="111" y="95"/>
                  </a:lnTo>
                  <a:lnTo>
                    <a:pt x="115" y="93"/>
                  </a:lnTo>
                  <a:lnTo>
                    <a:pt x="115" y="91"/>
                  </a:lnTo>
                  <a:lnTo>
                    <a:pt x="117" y="89"/>
                  </a:lnTo>
                  <a:lnTo>
                    <a:pt x="119" y="89"/>
                  </a:lnTo>
                  <a:lnTo>
                    <a:pt x="119" y="89"/>
                  </a:lnTo>
                  <a:lnTo>
                    <a:pt x="132" y="82"/>
                  </a:lnTo>
                  <a:lnTo>
                    <a:pt x="134" y="82"/>
                  </a:lnTo>
                  <a:lnTo>
                    <a:pt x="136" y="82"/>
                  </a:lnTo>
                  <a:lnTo>
                    <a:pt x="138" y="82"/>
                  </a:lnTo>
                  <a:lnTo>
                    <a:pt x="140" y="82"/>
                  </a:lnTo>
                  <a:lnTo>
                    <a:pt x="142" y="80"/>
                  </a:lnTo>
                  <a:lnTo>
                    <a:pt x="142" y="78"/>
                  </a:lnTo>
                  <a:lnTo>
                    <a:pt x="142" y="66"/>
                  </a:lnTo>
                  <a:lnTo>
                    <a:pt x="142" y="63"/>
                  </a:lnTo>
                  <a:lnTo>
                    <a:pt x="145" y="59"/>
                  </a:lnTo>
                  <a:lnTo>
                    <a:pt x="145" y="57"/>
                  </a:lnTo>
                  <a:lnTo>
                    <a:pt x="145" y="55"/>
                  </a:lnTo>
                  <a:lnTo>
                    <a:pt x="142" y="55"/>
                  </a:lnTo>
                  <a:close/>
                  <a:moveTo>
                    <a:pt x="165" y="448"/>
                  </a:moveTo>
                  <a:lnTo>
                    <a:pt x="163" y="448"/>
                  </a:lnTo>
                  <a:lnTo>
                    <a:pt x="161" y="448"/>
                  </a:lnTo>
                  <a:lnTo>
                    <a:pt x="159" y="446"/>
                  </a:lnTo>
                  <a:lnTo>
                    <a:pt x="157" y="446"/>
                  </a:lnTo>
                  <a:lnTo>
                    <a:pt x="155" y="446"/>
                  </a:lnTo>
                  <a:lnTo>
                    <a:pt x="155" y="448"/>
                  </a:lnTo>
                  <a:lnTo>
                    <a:pt x="155" y="448"/>
                  </a:lnTo>
                  <a:lnTo>
                    <a:pt x="155" y="452"/>
                  </a:lnTo>
                  <a:lnTo>
                    <a:pt x="155" y="454"/>
                  </a:lnTo>
                  <a:lnTo>
                    <a:pt x="155" y="454"/>
                  </a:lnTo>
                  <a:lnTo>
                    <a:pt x="155" y="454"/>
                  </a:lnTo>
                  <a:lnTo>
                    <a:pt x="155" y="454"/>
                  </a:lnTo>
                  <a:lnTo>
                    <a:pt x="153" y="456"/>
                  </a:lnTo>
                  <a:lnTo>
                    <a:pt x="153" y="456"/>
                  </a:lnTo>
                  <a:lnTo>
                    <a:pt x="153" y="456"/>
                  </a:lnTo>
                  <a:lnTo>
                    <a:pt x="153" y="458"/>
                  </a:lnTo>
                  <a:lnTo>
                    <a:pt x="153" y="461"/>
                  </a:lnTo>
                  <a:lnTo>
                    <a:pt x="155" y="461"/>
                  </a:lnTo>
                  <a:lnTo>
                    <a:pt x="157" y="458"/>
                  </a:lnTo>
                  <a:lnTo>
                    <a:pt x="157" y="458"/>
                  </a:lnTo>
                  <a:lnTo>
                    <a:pt x="159" y="456"/>
                  </a:lnTo>
                  <a:lnTo>
                    <a:pt x="159" y="456"/>
                  </a:lnTo>
                  <a:lnTo>
                    <a:pt x="159" y="456"/>
                  </a:lnTo>
                  <a:lnTo>
                    <a:pt x="161" y="456"/>
                  </a:lnTo>
                  <a:lnTo>
                    <a:pt x="163" y="454"/>
                  </a:lnTo>
                  <a:lnTo>
                    <a:pt x="165" y="454"/>
                  </a:lnTo>
                  <a:lnTo>
                    <a:pt x="165" y="452"/>
                  </a:lnTo>
                  <a:lnTo>
                    <a:pt x="165" y="450"/>
                  </a:lnTo>
                  <a:lnTo>
                    <a:pt x="165" y="448"/>
                  </a:lnTo>
                  <a:lnTo>
                    <a:pt x="165" y="448"/>
                  </a:lnTo>
                  <a:close/>
                  <a:moveTo>
                    <a:pt x="184" y="45"/>
                  </a:moveTo>
                  <a:lnTo>
                    <a:pt x="191" y="45"/>
                  </a:lnTo>
                  <a:lnTo>
                    <a:pt x="193" y="45"/>
                  </a:lnTo>
                  <a:lnTo>
                    <a:pt x="193" y="42"/>
                  </a:lnTo>
                  <a:lnTo>
                    <a:pt x="195" y="42"/>
                  </a:lnTo>
                  <a:lnTo>
                    <a:pt x="195" y="40"/>
                  </a:lnTo>
                  <a:lnTo>
                    <a:pt x="195" y="38"/>
                  </a:lnTo>
                  <a:lnTo>
                    <a:pt x="195" y="38"/>
                  </a:lnTo>
                  <a:lnTo>
                    <a:pt x="195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6"/>
                  </a:lnTo>
                  <a:lnTo>
                    <a:pt x="193" y="34"/>
                  </a:lnTo>
                  <a:lnTo>
                    <a:pt x="191" y="34"/>
                  </a:lnTo>
                  <a:lnTo>
                    <a:pt x="191" y="34"/>
                  </a:lnTo>
                  <a:lnTo>
                    <a:pt x="191" y="36"/>
                  </a:lnTo>
                  <a:lnTo>
                    <a:pt x="186" y="36"/>
                  </a:lnTo>
                  <a:lnTo>
                    <a:pt x="184" y="38"/>
                  </a:lnTo>
                  <a:lnTo>
                    <a:pt x="182" y="40"/>
                  </a:lnTo>
                  <a:lnTo>
                    <a:pt x="180" y="42"/>
                  </a:lnTo>
                  <a:lnTo>
                    <a:pt x="182" y="45"/>
                  </a:lnTo>
                  <a:lnTo>
                    <a:pt x="184" y="45"/>
                  </a:lnTo>
                  <a:close/>
                  <a:moveTo>
                    <a:pt x="105" y="465"/>
                  </a:moveTo>
                  <a:lnTo>
                    <a:pt x="105" y="465"/>
                  </a:lnTo>
                  <a:lnTo>
                    <a:pt x="103" y="463"/>
                  </a:lnTo>
                  <a:lnTo>
                    <a:pt x="103" y="461"/>
                  </a:lnTo>
                  <a:lnTo>
                    <a:pt x="101" y="461"/>
                  </a:lnTo>
                  <a:lnTo>
                    <a:pt x="96" y="461"/>
                  </a:lnTo>
                  <a:lnTo>
                    <a:pt x="94" y="461"/>
                  </a:lnTo>
                  <a:lnTo>
                    <a:pt x="92" y="461"/>
                  </a:lnTo>
                  <a:lnTo>
                    <a:pt x="92" y="458"/>
                  </a:lnTo>
                  <a:lnTo>
                    <a:pt x="92" y="458"/>
                  </a:lnTo>
                  <a:lnTo>
                    <a:pt x="86" y="456"/>
                  </a:lnTo>
                  <a:lnTo>
                    <a:pt x="86" y="456"/>
                  </a:lnTo>
                  <a:lnTo>
                    <a:pt x="86" y="454"/>
                  </a:lnTo>
                  <a:lnTo>
                    <a:pt x="86" y="454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4" y="452"/>
                  </a:lnTo>
                  <a:lnTo>
                    <a:pt x="84" y="452"/>
                  </a:lnTo>
                  <a:lnTo>
                    <a:pt x="73" y="454"/>
                  </a:lnTo>
                  <a:lnTo>
                    <a:pt x="71" y="454"/>
                  </a:lnTo>
                  <a:lnTo>
                    <a:pt x="69" y="456"/>
                  </a:lnTo>
                  <a:lnTo>
                    <a:pt x="63" y="458"/>
                  </a:lnTo>
                  <a:lnTo>
                    <a:pt x="59" y="463"/>
                  </a:lnTo>
                  <a:lnTo>
                    <a:pt x="57" y="465"/>
                  </a:lnTo>
                  <a:lnTo>
                    <a:pt x="54" y="463"/>
                  </a:lnTo>
                  <a:lnTo>
                    <a:pt x="52" y="463"/>
                  </a:lnTo>
                  <a:lnTo>
                    <a:pt x="50" y="463"/>
                  </a:lnTo>
                  <a:lnTo>
                    <a:pt x="48" y="463"/>
                  </a:lnTo>
                  <a:lnTo>
                    <a:pt x="46" y="465"/>
                  </a:lnTo>
                  <a:lnTo>
                    <a:pt x="44" y="465"/>
                  </a:lnTo>
                  <a:lnTo>
                    <a:pt x="29" y="463"/>
                  </a:lnTo>
                  <a:lnTo>
                    <a:pt x="29" y="463"/>
                  </a:lnTo>
                  <a:lnTo>
                    <a:pt x="29" y="463"/>
                  </a:lnTo>
                  <a:lnTo>
                    <a:pt x="27" y="463"/>
                  </a:lnTo>
                  <a:lnTo>
                    <a:pt x="25" y="461"/>
                  </a:lnTo>
                  <a:lnTo>
                    <a:pt x="23" y="461"/>
                  </a:lnTo>
                  <a:lnTo>
                    <a:pt x="23" y="461"/>
                  </a:lnTo>
                  <a:lnTo>
                    <a:pt x="21" y="461"/>
                  </a:lnTo>
                  <a:lnTo>
                    <a:pt x="21" y="463"/>
                  </a:lnTo>
                  <a:lnTo>
                    <a:pt x="19" y="467"/>
                  </a:lnTo>
                  <a:lnTo>
                    <a:pt x="17" y="467"/>
                  </a:lnTo>
                  <a:lnTo>
                    <a:pt x="17" y="469"/>
                  </a:lnTo>
                  <a:lnTo>
                    <a:pt x="17" y="469"/>
                  </a:lnTo>
                  <a:lnTo>
                    <a:pt x="15" y="469"/>
                  </a:lnTo>
                  <a:lnTo>
                    <a:pt x="15" y="469"/>
                  </a:lnTo>
                  <a:lnTo>
                    <a:pt x="15" y="471"/>
                  </a:lnTo>
                  <a:lnTo>
                    <a:pt x="15" y="473"/>
                  </a:lnTo>
                  <a:lnTo>
                    <a:pt x="13" y="475"/>
                  </a:lnTo>
                  <a:lnTo>
                    <a:pt x="13" y="475"/>
                  </a:lnTo>
                  <a:lnTo>
                    <a:pt x="10" y="475"/>
                  </a:lnTo>
                  <a:lnTo>
                    <a:pt x="8" y="477"/>
                  </a:lnTo>
                  <a:lnTo>
                    <a:pt x="8" y="479"/>
                  </a:lnTo>
                  <a:lnTo>
                    <a:pt x="8" y="479"/>
                  </a:lnTo>
                  <a:lnTo>
                    <a:pt x="8" y="486"/>
                  </a:lnTo>
                  <a:lnTo>
                    <a:pt x="8" y="488"/>
                  </a:lnTo>
                  <a:lnTo>
                    <a:pt x="6" y="488"/>
                  </a:lnTo>
                  <a:lnTo>
                    <a:pt x="6" y="490"/>
                  </a:lnTo>
                  <a:lnTo>
                    <a:pt x="4" y="492"/>
                  </a:lnTo>
                  <a:lnTo>
                    <a:pt x="4" y="494"/>
                  </a:lnTo>
                  <a:lnTo>
                    <a:pt x="6" y="494"/>
                  </a:lnTo>
                  <a:lnTo>
                    <a:pt x="8" y="494"/>
                  </a:lnTo>
                  <a:lnTo>
                    <a:pt x="17" y="488"/>
                  </a:lnTo>
                  <a:lnTo>
                    <a:pt x="17" y="486"/>
                  </a:lnTo>
                  <a:lnTo>
                    <a:pt x="17" y="486"/>
                  </a:lnTo>
                  <a:lnTo>
                    <a:pt x="19" y="486"/>
                  </a:lnTo>
                  <a:lnTo>
                    <a:pt x="19" y="486"/>
                  </a:lnTo>
                  <a:lnTo>
                    <a:pt x="19" y="484"/>
                  </a:lnTo>
                  <a:lnTo>
                    <a:pt x="19" y="484"/>
                  </a:lnTo>
                  <a:lnTo>
                    <a:pt x="19" y="484"/>
                  </a:lnTo>
                  <a:lnTo>
                    <a:pt x="21" y="484"/>
                  </a:lnTo>
                  <a:lnTo>
                    <a:pt x="23" y="484"/>
                  </a:lnTo>
                  <a:lnTo>
                    <a:pt x="23" y="484"/>
                  </a:lnTo>
                  <a:lnTo>
                    <a:pt x="25" y="482"/>
                  </a:lnTo>
                  <a:lnTo>
                    <a:pt x="31" y="482"/>
                  </a:lnTo>
                  <a:lnTo>
                    <a:pt x="33" y="482"/>
                  </a:lnTo>
                  <a:lnTo>
                    <a:pt x="33" y="482"/>
                  </a:lnTo>
                  <a:lnTo>
                    <a:pt x="36" y="482"/>
                  </a:lnTo>
                  <a:lnTo>
                    <a:pt x="38" y="482"/>
                  </a:lnTo>
                  <a:lnTo>
                    <a:pt x="40" y="484"/>
                  </a:lnTo>
                  <a:lnTo>
                    <a:pt x="42" y="484"/>
                  </a:lnTo>
                  <a:lnTo>
                    <a:pt x="44" y="486"/>
                  </a:lnTo>
                  <a:lnTo>
                    <a:pt x="52" y="484"/>
                  </a:lnTo>
                  <a:lnTo>
                    <a:pt x="54" y="484"/>
                  </a:lnTo>
                  <a:lnTo>
                    <a:pt x="59" y="486"/>
                  </a:lnTo>
                  <a:lnTo>
                    <a:pt x="61" y="486"/>
                  </a:lnTo>
                  <a:lnTo>
                    <a:pt x="65" y="486"/>
                  </a:lnTo>
                  <a:lnTo>
                    <a:pt x="67" y="486"/>
                  </a:lnTo>
                  <a:lnTo>
                    <a:pt x="69" y="488"/>
                  </a:lnTo>
                  <a:lnTo>
                    <a:pt x="69" y="490"/>
                  </a:lnTo>
                  <a:lnTo>
                    <a:pt x="71" y="488"/>
                  </a:lnTo>
                  <a:lnTo>
                    <a:pt x="71" y="486"/>
                  </a:lnTo>
                  <a:lnTo>
                    <a:pt x="73" y="486"/>
                  </a:lnTo>
                  <a:lnTo>
                    <a:pt x="73" y="484"/>
                  </a:lnTo>
                  <a:lnTo>
                    <a:pt x="73" y="484"/>
                  </a:lnTo>
                  <a:lnTo>
                    <a:pt x="73" y="484"/>
                  </a:lnTo>
                  <a:lnTo>
                    <a:pt x="73" y="482"/>
                  </a:lnTo>
                  <a:lnTo>
                    <a:pt x="80" y="475"/>
                  </a:lnTo>
                  <a:lnTo>
                    <a:pt x="80" y="475"/>
                  </a:lnTo>
                  <a:lnTo>
                    <a:pt x="82" y="475"/>
                  </a:lnTo>
                  <a:lnTo>
                    <a:pt x="82" y="473"/>
                  </a:lnTo>
                  <a:lnTo>
                    <a:pt x="84" y="471"/>
                  </a:lnTo>
                  <a:lnTo>
                    <a:pt x="86" y="471"/>
                  </a:lnTo>
                  <a:lnTo>
                    <a:pt x="92" y="469"/>
                  </a:lnTo>
                  <a:lnTo>
                    <a:pt x="94" y="469"/>
                  </a:lnTo>
                  <a:lnTo>
                    <a:pt x="96" y="469"/>
                  </a:lnTo>
                  <a:lnTo>
                    <a:pt x="101" y="469"/>
                  </a:lnTo>
                  <a:lnTo>
                    <a:pt x="101" y="469"/>
                  </a:lnTo>
                  <a:lnTo>
                    <a:pt x="103" y="469"/>
                  </a:lnTo>
                  <a:lnTo>
                    <a:pt x="103" y="471"/>
                  </a:lnTo>
                  <a:lnTo>
                    <a:pt x="105" y="469"/>
                  </a:lnTo>
                  <a:lnTo>
                    <a:pt x="105" y="469"/>
                  </a:lnTo>
                  <a:lnTo>
                    <a:pt x="105" y="469"/>
                  </a:lnTo>
                  <a:lnTo>
                    <a:pt x="105" y="467"/>
                  </a:lnTo>
                  <a:lnTo>
                    <a:pt x="105" y="465"/>
                  </a:lnTo>
                  <a:close/>
                  <a:moveTo>
                    <a:pt x="195" y="242"/>
                  </a:moveTo>
                  <a:lnTo>
                    <a:pt x="193" y="242"/>
                  </a:lnTo>
                  <a:lnTo>
                    <a:pt x="193" y="242"/>
                  </a:lnTo>
                  <a:lnTo>
                    <a:pt x="195" y="242"/>
                  </a:lnTo>
                  <a:close/>
                  <a:moveTo>
                    <a:pt x="2" y="492"/>
                  </a:moveTo>
                  <a:lnTo>
                    <a:pt x="2" y="490"/>
                  </a:lnTo>
                  <a:lnTo>
                    <a:pt x="0" y="490"/>
                  </a:lnTo>
                  <a:lnTo>
                    <a:pt x="0" y="490"/>
                  </a:lnTo>
                  <a:lnTo>
                    <a:pt x="0" y="490"/>
                  </a:lnTo>
                  <a:lnTo>
                    <a:pt x="0" y="492"/>
                  </a:lnTo>
                  <a:lnTo>
                    <a:pt x="0" y="492"/>
                  </a:lnTo>
                  <a:lnTo>
                    <a:pt x="0" y="494"/>
                  </a:lnTo>
                  <a:lnTo>
                    <a:pt x="0" y="496"/>
                  </a:lnTo>
                  <a:lnTo>
                    <a:pt x="0" y="496"/>
                  </a:lnTo>
                  <a:lnTo>
                    <a:pt x="0" y="498"/>
                  </a:lnTo>
                  <a:lnTo>
                    <a:pt x="2" y="494"/>
                  </a:lnTo>
                  <a:lnTo>
                    <a:pt x="2" y="492"/>
                  </a:lnTo>
                  <a:lnTo>
                    <a:pt x="2" y="492"/>
                  </a:lnTo>
                  <a:close/>
                  <a:moveTo>
                    <a:pt x="142" y="99"/>
                  </a:moveTo>
                  <a:lnTo>
                    <a:pt x="142" y="97"/>
                  </a:lnTo>
                  <a:lnTo>
                    <a:pt x="138" y="97"/>
                  </a:lnTo>
                  <a:lnTo>
                    <a:pt x="138" y="97"/>
                  </a:lnTo>
                  <a:lnTo>
                    <a:pt x="136" y="97"/>
                  </a:lnTo>
                  <a:lnTo>
                    <a:pt x="134" y="99"/>
                  </a:lnTo>
                  <a:lnTo>
                    <a:pt x="132" y="103"/>
                  </a:lnTo>
                  <a:lnTo>
                    <a:pt x="134" y="103"/>
                  </a:lnTo>
                  <a:lnTo>
                    <a:pt x="136" y="105"/>
                  </a:lnTo>
                  <a:lnTo>
                    <a:pt x="136" y="105"/>
                  </a:lnTo>
                  <a:lnTo>
                    <a:pt x="138" y="105"/>
                  </a:lnTo>
                  <a:lnTo>
                    <a:pt x="140" y="108"/>
                  </a:lnTo>
                  <a:lnTo>
                    <a:pt x="142" y="108"/>
                  </a:lnTo>
                  <a:lnTo>
                    <a:pt x="142" y="105"/>
                  </a:lnTo>
                  <a:lnTo>
                    <a:pt x="142" y="105"/>
                  </a:lnTo>
                  <a:lnTo>
                    <a:pt x="145" y="103"/>
                  </a:lnTo>
                  <a:lnTo>
                    <a:pt x="145" y="103"/>
                  </a:lnTo>
                  <a:lnTo>
                    <a:pt x="145" y="101"/>
                  </a:lnTo>
                  <a:lnTo>
                    <a:pt x="142" y="99"/>
                  </a:lnTo>
                  <a:close/>
                  <a:moveTo>
                    <a:pt x="237" y="515"/>
                  </a:moveTo>
                  <a:lnTo>
                    <a:pt x="235" y="513"/>
                  </a:lnTo>
                  <a:lnTo>
                    <a:pt x="235" y="511"/>
                  </a:lnTo>
                  <a:lnTo>
                    <a:pt x="232" y="511"/>
                  </a:lnTo>
                  <a:lnTo>
                    <a:pt x="230" y="513"/>
                  </a:lnTo>
                  <a:lnTo>
                    <a:pt x="228" y="513"/>
                  </a:lnTo>
                  <a:lnTo>
                    <a:pt x="226" y="513"/>
                  </a:lnTo>
                  <a:lnTo>
                    <a:pt x="224" y="513"/>
                  </a:lnTo>
                  <a:lnTo>
                    <a:pt x="224" y="513"/>
                  </a:lnTo>
                  <a:lnTo>
                    <a:pt x="224" y="515"/>
                  </a:lnTo>
                  <a:lnTo>
                    <a:pt x="222" y="515"/>
                  </a:lnTo>
                  <a:lnTo>
                    <a:pt x="222" y="517"/>
                  </a:lnTo>
                  <a:lnTo>
                    <a:pt x="222" y="517"/>
                  </a:lnTo>
                  <a:lnTo>
                    <a:pt x="224" y="519"/>
                  </a:lnTo>
                  <a:lnTo>
                    <a:pt x="224" y="519"/>
                  </a:lnTo>
                  <a:lnTo>
                    <a:pt x="226" y="519"/>
                  </a:lnTo>
                  <a:lnTo>
                    <a:pt x="228" y="519"/>
                  </a:lnTo>
                  <a:lnTo>
                    <a:pt x="232" y="519"/>
                  </a:lnTo>
                  <a:lnTo>
                    <a:pt x="235" y="519"/>
                  </a:lnTo>
                  <a:lnTo>
                    <a:pt x="235" y="519"/>
                  </a:lnTo>
                  <a:lnTo>
                    <a:pt x="237" y="519"/>
                  </a:lnTo>
                  <a:lnTo>
                    <a:pt x="237" y="517"/>
                  </a:lnTo>
                  <a:lnTo>
                    <a:pt x="237" y="517"/>
                  </a:lnTo>
                  <a:lnTo>
                    <a:pt x="237" y="515"/>
                  </a:lnTo>
                  <a:close/>
                  <a:moveTo>
                    <a:pt x="241" y="68"/>
                  </a:moveTo>
                  <a:lnTo>
                    <a:pt x="237" y="70"/>
                  </a:lnTo>
                  <a:lnTo>
                    <a:pt x="230" y="76"/>
                  </a:lnTo>
                  <a:lnTo>
                    <a:pt x="228" y="76"/>
                  </a:lnTo>
                  <a:lnTo>
                    <a:pt x="220" y="76"/>
                  </a:lnTo>
                  <a:lnTo>
                    <a:pt x="220" y="76"/>
                  </a:lnTo>
                  <a:lnTo>
                    <a:pt x="218" y="76"/>
                  </a:lnTo>
                  <a:lnTo>
                    <a:pt x="214" y="78"/>
                  </a:lnTo>
                  <a:lnTo>
                    <a:pt x="212" y="80"/>
                  </a:lnTo>
                  <a:lnTo>
                    <a:pt x="207" y="87"/>
                  </a:lnTo>
                  <a:lnTo>
                    <a:pt x="205" y="87"/>
                  </a:lnTo>
                  <a:lnTo>
                    <a:pt x="207" y="89"/>
                  </a:lnTo>
                  <a:lnTo>
                    <a:pt x="207" y="91"/>
                  </a:lnTo>
                  <a:lnTo>
                    <a:pt x="207" y="93"/>
                  </a:lnTo>
                  <a:lnTo>
                    <a:pt x="209" y="93"/>
                  </a:lnTo>
                  <a:lnTo>
                    <a:pt x="214" y="93"/>
                  </a:lnTo>
                  <a:lnTo>
                    <a:pt x="216" y="91"/>
                  </a:lnTo>
                  <a:lnTo>
                    <a:pt x="216" y="91"/>
                  </a:lnTo>
                  <a:lnTo>
                    <a:pt x="218" y="89"/>
                  </a:lnTo>
                  <a:lnTo>
                    <a:pt x="220" y="89"/>
                  </a:lnTo>
                  <a:lnTo>
                    <a:pt x="222" y="87"/>
                  </a:lnTo>
                  <a:lnTo>
                    <a:pt x="224" y="87"/>
                  </a:lnTo>
                  <a:lnTo>
                    <a:pt x="228" y="84"/>
                  </a:lnTo>
                  <a:lnTo>
                    <a:pt x="232" y="82"/>
                  </a:lnTo>
                  <a:lnTo>
                    <a:pt x="235" y="80"/>
                  </a:lnTo>
                  <a:lnTo>
                    <a:pt x="235" y="82"/>
                  </a:lnTo>
                  <a:lnTo>
                    <a:pt x="235" y="82"/>
                  </a:lnTo>
                  <a:lnTo>
                    <a:pt x="228" y="87"/>
                  </a:lnTo>
                  <a:lnTo>
                    <a:pt x="226" y="91"/>
                  </a:lnTo>
                  <a:lnTo>
                    <a:pt x="226" y="91"/>
                  </a:lnTo>
                  <a:lnTo>
                    <a:pt x="224" y="93"/>
                  </a:lnTo>
                  <a:lnTo>
                    <a:pt x="224" y="93"/>
                  </a:lnTo>
                  <a:lnTo>
                    <a:pt x="226" y="93"/>
                  </a:lnTo>
                  <a:lnTo>
                    <a:pt x="228" y="91"/>
                  </a:lnTo>
                  <a:lnTo>
                    <a:pt x="230" y="91"/>
                  </a:lnTo>
                  <a:lnTo>
                    <a:pt x="232" y="89"/>
                  </a:lnTo>
                  <a:lnTo>
                    <a:pt x="235" y="89"/>
                  </a:lnTo>
                  <a:lnTo>
                    <a:pt x="237" y="89"/>
                  </a:lnTo>
                  <a:lnTo>
                    <a:pt x="239" y="87"/>
                  </a:lnTo>
                  <a:lnTo>
                    <a:pt x="241" y="84"/>
                  </a:lnTo>
                  <a:lnTo>
                    <a:pt x="241" y="84"/>
                  </a:lnTo>
                  <a:lnTo>
                    <a:pt x="241" y="82"/>
                  </a:lnTo>
                  <a:lnTo>
                    <a:pt x="239" y="80"/>
                  </a:lnTo>
                  <a:lnTo>
                    <a:pt x="237" y="78"/>
                  </a:lnTo>
                  <a:lnTo>
                    <a:pt x="239" y="78"/>
                  </a:lnTo>
                  <a:lnTo>
                    <a:pt x="239" y="78"/>
                  </a:lnTo>
                  <a:lnTo>
                    <a:pt x="239" y="78"/>
                  </a:lnTo>
                  <a:lnTo>
                    <a:pt x="241" y="78"/>
                  </a:lnTo>
                  <a:lnTo>
                    <a:pt x="243" y="80"/>
                  </a:lnTo>
                  <a:lnTo>
                    <a:pt x="243" y="80"/>
                  </a:lnTo>
                  <a:lnTo>
                    <a:pt x="245" y="80"/>
                  </a:lnTo>
                  <a:lnTo>
                    <a:pt x="247" y="78"/>
                  </a:lnTo>
                  <a:lnTo>
                    <a:pt x="245" y="76"/>
                  </a:lnTo>
                  <a:lnTo>
                    <a:pt x="245" y="74"/>
                  </a:lnTo>
                  <a:lnTo>
                    <a:pt x="245" y="72"/>
                  </a:lnTo>
                  <a:lnTo>
                    <a:pt x="247" y="72"/>
                  </a:lnTo>
                  <a:lnTo>
                    <a:pt x="247" y="70"/>
                  </a:lnTo>
                  <a:lnTo>
                    <a:pt x="245" y="68"/>
                  </a:lnTo>
                  <a:lnTo>
                    <a:pt x="241" y="68"/>
                  </a:lnTo>
                  <a:close/>
                  <a:moveTo>
                    <a:pt x="226" y="509"/>
                  </a:moveTo>
                  <a:lnTo>
                    <a:pt x="226" y="507"/>
                  </a:lnTo>
                  <a:lnTo>
                    <a:pt x="222" y="505"/>
                  </a:lnTo>
                  <a:lnTo>
                    <a:pt x="220" y="507"/>
                  </a:lnTo>
                  <a:lnTo>
                    <a:pt x="216" y="507"/>
                  </a:lnTo>
                  <a:lnTo>
                    <a:pt x="209" y="505"/>
                  </a:lnTo>
                  <a:lnTo>
                    <a:pt x="201" y="503"/>
                  </a:lnTo>
                  <a:lnTo>
                    <a:pt x="199" y="503"/>
                  </a:lnTo>
                  <a:lnTo>
                    <a:pt x="195" y="503"/>
                  </a:lnTo>
                  <a:lnTo>
                    <a:pt x="195" y="503"/>
                  </a:lnTo>
                  <a:lnTo>
                    <a:pt x="193" y="503"/>
                  </a:lnTo>
                  <a:lnTo>
                    <a:pt x="193" y="503"/>
                  </a:lnTo>
                  <a:lnTo>
                    <a:pt x="193" y="505"/>
                  </a:lnTo>
                  <a:lnTo>
                    <a:pt x="193" y="505"/>
                  </a:lnTo>
                  <a:lnTo>
                    <a:pt x="195" y="505"/>
                  </a:lnTo>
                  <a:lnTo>
                    <a:pt x="195" y="507"/>
                  </a:lnTo>
                  <a:lnTo>
                    <a:pt x="195" y="509"/>
                  </a:lnTo>
                  <a:lnTo>
                    <a:pt x="195" y="509"/>
                  </a:lnTo>
                  <a:lnTo>
                    <a:pt x="199" y="511"/>
                  </a:lnTo>
                  <a:lnTo>
                    <a:pt x="199" y="513"/>
                  </a:lnTo>
                  <a:lnTo>
                    <a:pt x="201" y="513"/>
                  </a:lnTo>
                  <a:lnTo>
                    <a:pt x="207" y="513"/>
                  </a:lnTo>
                  <a:lnTo>
                    <a:pt x="209" y="513"/>
                  </a:lnTo>
                  <a:lnTo>
                    <a:pt x="209" y="513"/>
                  </a:lnTo>
                  <a:lnTo>
                    <a:pt x="214" y="517"/>
                  </a:lnTo>
                  <a:lnTo>
                    <a:pt x="216" y="517"/>
                  </a:lnTo>
                  <a:lnTo>
                    <a:pt x="218" y="517"/>
                  </a:lnTo>
                  <a:lnTo>
                    <a:pt x="218" y="517"/>
                  </a:lnTo>
                  <a:lnTo>
                    <a:pt x="220" y="515"/>
                  </a:lnTo>
                  <a:lnTo>
                    <a:pt x="220" y="513"/>
                  </a:lnTo>
                  <a:lnTo>
                    <a:pt x="226" y="509"/>
                  </a:lnTo>
                  <a:lnTo>
                    <a:pt x="226" y="509"/>
                  </a:lnTo>
                  <a:close/>
                  <a:moveTo>
                    <a:pt x="266" y="76"/>
                  </a:moveTo>
                  <a:lnTo>
                    <a:pt x="268" y="76"/>
                  </a:lnTo>
                  <a:lnTo>
                    <a:pt x="268" y="74"/>
                  </a:lnTo>
                  <a:lnTo>
                    <a:pt x="266" y="72"/>
                  </a:lnTo>
                  <a:lnTo>
                    <a:pt x="264" y="70"/>
                  </a:lnTo>
                  <a:lnTo>
                    <a:pt x="262" y="70"/>
                  </a:lnTo>
                  <a:lnTo>
                    <a:pt x="260" y="70"/>
                  </a:lnTo>
                  <a:lnTo>
                    <a:pt x="258" y="68"/>
                  </a:lnTo>
                  <a:lnTo>
                    <a:pt x="256" y="70"/>
                  </a:lnTo>
                  <a:lnTo>
                    <a:pt x="253" y="70"/>
                  </a:lnTo>
                  <a:lnTo>
                    <a:pt x="253" y="72"/>
                  </a:lnTo>
                  <a:lnTo>
                    <a:pt x="253" y="72"/>
                  </a:lnTo>
                  <a:lnTo>
                    <a:pt x="253" y="74"/>
                  </a:lnTo>
                  <a:lnTo>
                    <a:pt x="251" y="76"/>
                  </a:lnTo>
                  <a:lnTo>
                    <a:pt x="251" y="78"/>
                  </a:lnTo>
                  <a:lnTo>
                    <a:pt x="251" y="80"/>
                  </a:lnTo>
                  <a:lnTo>
                    <a:pt x="251" y="80"/>
                  </a:lnTo>
                  <a:lnTo>
                    <a:pt x="256" y="80"/>
                  </a:lnTo>
                  <a:lnTo>
                    <a:pt x="258" y="78"/>
                  </a:lnTo>
                  <a:lnTo>
                    <a:pt x="260" y="78"/>
                  </a:lnTo>
                  <a:lnTo>
                    <a:pt x="264" y="78"/>
                  </a:lnTo>
                  <a:lnTo>
                    <a:pt x="266" y="76"/>
                  </a:lnTo>
                  <a:close/>
                  <a:moveTo>
                    <a:pt x="180" y="53"/>
                  </a:moveTo>
                  <a:lnTo>
                    <a:pt x="180" y="53"/>
                  </a:lnTo>
                  <a:lnTo>
                    <a:pt x="180" y="51"/>
                  </a:lnTo>
                  <a:lnTo>
                    <a:pt x="178" y="49"/>
                  </a:lnTo>
                  <a:lnTo>
                    <a:pt x="176" y="47"/>
                  </a:lnTo>
                  <a:lnTo>
                    <a:pt x="174" y="45"/>
                  </a:lnTo>
                  <a:lnTo>
                    <a:pt x="170" y="45"/>
                  </a:lnTo>
                  <a:lnTo>
                    <a:pt x="170" y="45"/>
                  </a:lnTo>
                  <a:lnTo>
                    <a:pt x="170" y="45"/>
                  </a:lnTo>
                  <a:lnTo>
                    <a:pt x="170" y="45"/>
                  </a:lnTo>
                  <a:lnTo>
                    <a:pt x="170" y="45"/>
                  </a:lnTo>
                  <a:lnTo>
                    <a:pt x="170" y="45"/>
                  </a:lnTo>
                  <a:lnTo>
                    <a:pt x="168" y="47"/>
                  </a:lnTo>
                  <a:lnTo>
                    <a:pt x="168" y="47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8" y="51"/>
                  </a:lnTo>
                  <a:lnTo>
                    <a:pt x="170" y="51"/>
                  </a:lnTo>
                  <a:lnTo>
                    <a:pt x="174" y="53"/>
                  </a:lnTo>
                  <a:lnTo>
                    <a:pt x="178" y="55"/>
                  </a:lnTo>
                  <a:lnTo>
                    <a:pt x="178" y="55"/>
                  </a:lnTo>
                  <a:lnTo>
                    <a:pt x="180" y="53"/>
                  </a:lnTo>
                  <a:close/>
                  <a:moveTo>
                    <a:pt x="191" y="507"/>
                  </a:moveTo>
                  <a:lnTo>
                    <a:pt x="189" y="507"/>
                  </a:lnTo>
                  <a:lnTo>
                    <a:pt x="186" y="507"/>
                  </a:lnTo>
                  <a:lnTo>
                    <a:pt x="184" y="507"/>
                  </a:lnTo>
                  <a:lnTo>
                    <a:pt x="178" y="513"/>
                  </a:lnTo>
                  <a:lnTo>
                    <a:pt x="178" y="513"/>
                  </a:lnTo>
                  <a:lnTo>
                    <a:pt x="182" y="515"/>
                  </a:lnTo>
                  <a:lnTo>
                    <a:pt x="182" y="515"/>
                  </a:lnTo>
                  <a:lnTo>
                    <a:pt x="184" y="515"/>
                  </a:lnTo>
                  <a:lnTo>
                    <a:pt x="189" y="513"/>
                  </a:lnTo>
                  <a:lnTo>
                    <a:pt x="191" y="513"/>
                  </a:lnTo>
                  <a:lnTo>
                    <a:pt x="193" y="513"/>
                  </a:lnTo>
                  <a:lnTo>
                    <a:pt x="193" y="511"/>
                  </a:lnTo>
                  <a:lnTo>
                    <a:pt x="193" y="509"/>
                  </a:lnTo>
                  <a:lnTo>
                    <a:pt x="191" y="507"/>
                  </a:lnTo>
                  <a:close/>
                  <a:moveTo>
                    <a:pt x="172" y="255"/>
                  </a:moveTo>
                  <a:lnTo>
                    <a:pt x="172" y="255"/>
                  </a:lnTo>
                  <a:lnTo>
                    <a:pt x="172" y="257"/>
                  </a:lnTo>
                  <a:lnTo>
                    <a:pt x="172" y="255"/>
                  </a:lnTo>
                  <a:close/>
                  <a:moveTo>
                    <a:pt x="172" y="257"/>
                  </a:moveTo>
                  <a:lnTo>
                    <a:pt x="174" y="257"/>
                  </a:lnTo>
                  <a:lnTo>
                    <a:pt x="172" y="257"/>
                  </a:lnTo>
                  <a:lnTo>
                    <a:pt x="172" y="257"/>
                  </a:lnTo>
                  <a:close/>
                  <a:moveTo>
                    <a:pt x="484" y="444"/>
                  </a:moveTo>
                  <a:lnTo>
                    <a:pt x="482" y="446"/>
                  </a:lnTo>
                  <a:lnTo>
                    <a:pt x="482" y="448"/>
                  </a:lnTo>
                  <a:lnTo>
                    <a:pt x="482" y="450"/>
                  </a:lnTo>
                  <a:lnTo>
                    <a:pt x="484" y="450"/>
                  </a:lnTo>
                  <a:lnTo>
                    <a:pt x="488" y="450"/>
                  </a:lnTo>
                  <a:lnTo>
                    <a:pt x="492" y="450"/>
                  </a:lnTo>
                  <a:lnTo>
                    <a:pt x="492" y="450"/>
                  </a:lnTo>
                  <a:lnTo>
                    <a:pt x="492" y="450"/>
                  </a:lnTo>
                  <a:lnTo>
                    <a:pt x="494" y="450"/>
                  </a:lnTo>
                  <a:lnTo>
                    <a:pt x="494" y="450"/>
                  </a:lnTo>
                  <a:lnTo>
                    <a:pt x="494" y="450"/>
                  </a:lnTo>
                  <a:lnTo>
                    <a:pt x="496" y="450"/>
                  </a:lnTo>
                  <a:lnTo>
                    <a:pt x="496" y="450"/>
                  </a:lnTo>
                  <a:lnTo>
                    <a:pt x="496" y="450"/>
                  </a:lnTo>
                  <a:lnTo>
                    <a:pt x="496" y="450"/>
                  </a:lnTo>
                  <a:lnTo>
                    <a:pt x="494" y="448"/>
                  </a:lnTo>
                  <a:lnTo>
                    <a:pt x="494" y="448"/>
                  </a:lnTo>
                  <a:lnTo>
                    <a:pt x="496" y="448"/>
                  </a:lnTo>
                  <a:lnTo>
                    <a:pt x="494" y="446"/>
                  </a:lnTo>
                  <a:lnTo>
                    <a:pt x="492" y="448"/>
                  </a:lnTo>
                  <a:lnTo>
                    <a:pt x="490" y="448"/>
                  </a:lnTo>
                  <a:lnTo>
                    <a:pt x="490" y="446"/>
                  </a:lnTo>
                  <a:lnTo>
                    <a:pt x="488" y="446"/>
                  </a:lnTo>
                  <a:lnTo>
                    <a:pt x="488" y="446"/>
                  </a:lnTo>
                  <a:lnTo>
                    <a:pt x="484" y="444"/>
                  </a:lnTo>
                  <a:lnTo>
                    <a:pt x="484" y="444"/>
                  </a:lnTo>
                  <a:close/>
                  <a:moveTo>
                    <a:pt x="551" y="379"/>
                  </a:moveTo>
                  <a:lnTo>
                    <a:pt x="553" y="377"/>
                  </a:lnTo>
                  <a:lnTo>
                    <a:pt x="553" y="377"/>
                  </a:lnTo>
                  <a:lnTo>
                    <a:pt x="551" y="374"/>
                  </a:lnTo>
                  <a:lnTo>
                    <a:pt x="551" y="372"/>
                  </a:lnTo>
                  <a:lnTo>
                    <a:pt x="553" y="372"/>
                  </a:lnTo>
                  <a:lnTo>
                    <a:pt x="555" y="372"/>
                  </a:lnTo>
                  <a:lnTo>
                    <a:pt x="557" y="370"/>
                  </a:lnTo>
                  <a:lnTo>
                    <a:pt x="557" y="368"/>
                  </a:lnTo>
                  <a:lnTo>
                    <a:pt x="555" y="368"/>
                  </a:lnTo>
                  <a:lnTo>
                    <a:pt x="553" y="368"/>
                  </a:lnTo>
                  <a:lnTo>
                    <a:pt x="551" y="368"/>
                  </a:lnTo>
                  <a:lnTo>
                    <a:pt x="549" y="372"/>
                  </a:lnTo>
                  <a:lnTo>
                    <a:pt x="547" y="377"/>
                  </a:lnTo>
                  <a:lnTo>
                    <a:pt x="549" y="379"/>
                  </a:lnTo>
                  <a:lnTo>
                    <a:pt x="551" y="379"/>
                  </a:lnTo>
                  <a:close/>
                  <a:moveTo>
                    <a:pt x="568" y="187"/>
                  </a:moveTo>
                  <a:lnTo>
                    <a:pt x="568" y="185"/>
                  </a:lnTo>
                  <a:lnTo>
                    <a:pt x="568" y="183"/>
                  </a:lnTo>
                  <a:lnTo>
                    <a:pt x="568" y="181"/>
                  </a:lnTo>
                  <a:lnTo>
                    <a:pt x="566" y="179"/>
                  </a:lnTo>
                  <a:lnTo>
                    <a:pt x="566" y="181"/>
                  </a:lnTo>
                  <a:lnTo>
                    <a:pt x="566" y="183"/>
                  </a:lnTo>
                  <a:lnTo>
                    <a:pt x="566" y="185"/>
                  </a:lnTo>
                  <a:lnTo>
                    <a:pt x="568" y="187"/>
                  </a:lnTo>
                  <a:close/>
                  <a:moveTo>
                    <a:pt x="794" y="318"/>
                  </a:moveTo>
                  <a:lnTo>
                    <a:pt x="794" y="318"/>
                  </a:lnTo>
                  <a:lnTo>
                    <a:pt x="794" y="318"/>
                  </a:lnTo>
                  <a:lnTo>
                    <a:pt x="796" y="316"/>
                  </a:lnTo>
                  <a:lnTo>
                    <a:pt x="798" y="316"/>
                  </a:lnTo>
                  <a:lnTo>
                    <a:pt x="798" y="318"/>
                  </a:lnTo>
                  <a:lnTo>
                    <a:pt x="798" y="320"/>
                  </a:lnTo>
                  <a:lnTo>
                    <a:pt x="796" y="320"/>
                  </a:lnTo>
                  <a:lnTo>
                    <a:pt x="796" y="322"/>
                  </a:lnTo>
                  <a:lnTo>
                    <a:pt x="796" y="322"/>
                  </a:lnTo>
                  <a:lnTo>
                    <a:pt x="796" y="322"/>
                  </a:lnTo>
                  <a:lnTo>
                    <a:pt x="796" y="322"/>
                  </a:lnTo>
                  <a:lnTo>
                    <a:pt x="798" y="322"/>
                  </a:lnTo>
                  <a:lnTo>
                    <a:pt x="798" y="322"/>
                  </a:lnTo>
                  <a:lnTo>
                    <a:pt x="798" y="322"/>
                  </a:lnTo>
                  <a:lnTo>
                    <a:pt x="800" y="322"/>
                  </a:lnTo>
                  <a:lnTo>
                    <a:pt x="800" y="322"/>
                  </a:lnTo>
                  <a:lnTo>
                    <a:pt x="802" y="326"/>
                  </a:lnTo>
                  <a:lnTo>
                    <a:pt x="806" y="330"/>
                  </a:lnTo>
                  <a:lnTo>
                    <a:pt x="806" y="330"/>
                  </a:lnTo>
                  <a:lnTo>
                    <a:pt x="806" y="330"/>
                  </a:lnTo>
                  <a:lnTo>
                    <a:pt x="806" y="330"/>
                  </a:lnTo>
                  <a:lnTo>
                    <a:pt x="809" y="330"/>
                  </a:lnTo>
                  <a:lnTo>
                    <a:pt x="809" y="330"/>
                  </a:lnTo>
                  <a:lnTo>
                    <a:pt x="811" y="332"/>
                  </a:lnTo>
                  <a:lnTo>
                    <a:pt x="811" y="332"/>
                  </a:lnTo>
                  <a:lnTo>
                    <a:pt x="813" y="334"/>
                  </a:lnTo>
                  <a:lnTo>
                    <a:pt x="813" y="334"/>
                  </a:lnTo>
                  <a:lnTo>
                    <a:pt x="813" y="334"/>
                  </a:lnTo>
                  <a:lnTo>
                    <a:pt x="813" y="334"/>
                  </a:lnTo>
                  <a:lnTo>
                    <a:pt x="813" y="334"/>
                  </a:lnTo>
                  <a:lnTo>
                    <a:pt x="813" y="334"/>
                  </a:lnTo>
                  <a:lnTo>
                    <a:pt x="813" y="334"/>
                  </a:lnTo>
                  <a:lnTo>
                    <a:pt x="815" y="332"/>
                  </a:lnTo>
                  <a:lnTo>
                    <a:pt x="817" y="332"/>
                  </a:lnTo>
                  <a:lnTo>
                    <a:pt x="817" y="330"/>
                  </a:lnTo>
                  <a:lnTo>
                    <a:pt x="821" y="330"/>
                  </a:lnTo>
                  <a:lnTo>
                    <a:pt x="821" y="328"/>
                  </a:lnTo>
                  <a:lnTo>
                    <a:pt x="819" y="328"/>
                  </a:lnTo>
                  <a:lnTo>
                    <a:pt x="819" y="328"/>
                  </a:lnTo>
                  <a:lnTo>
                    <a:pt x="817" y="328"/>
                  </a:lnTo>
                  <a:lnTo>
                    <a:pt x="817" y="328"/>
                  </a:lnTo>
                  <a:lnTo>
                    <a:pt x="817" y="328"/>
                  </a:lnTo>
                  <a:lnTo>
                    <a:pt x="817" y="328"/>
                  </a:lnTo>
                  <a:lnTo>
                    <a:pt x="815" y="328"/>
                  </a:lnTo>
                  <a:lnTo>
                    <a:pt x="813" y="326"/>
                  </a:lnTo>
                  <a:lnTo>
                    <a:pt x="813" y="326"/>
                  </a:lnTo>
                  <a:lnTo>
                    <a:pt x="815" y="326"/>
                  </a:lnTo>
                  <a:lnTo>
                    <a:pt x="813" y="326"/>
                  </a:lnTo>
                  <a:lnTo>
                    <a:pt x="813" y="326"/>
                  </a:lnTo>
                  <a:lnTo>
                    <a:pt x="809" y="320"/>
                  </a:lnTo>
                  <a:lnTo>
                    <a:pt x="806" y="320"/>
                  </a:lnTo>
                  <a:lnTo>
                    <a:pt x="806" y="320"/>
                  </a:lnTo>
                  <a:lnTo>
                    <a:pt x="806" y="320"/>
                  </a:lnTo>
                  <a:lnTo>
                    <a:pt x="806" y="320"/>
                  </a:lnTo>
                  <a:lnTo>
                    <a:pt x="806" y="320"/>
                  </a:lnTo>
                  <a:lnTo>
                    <a:pt x="804" y="318"/>
                  </a:lnTo>
                  <a:lnTo>
                    <a:pt x="802" y="318"/>
                  </a:lnTo>
                  <a:lnTo>
                    <a:pt x="802" y="316"/>
                  </a:lnTo>
                  <a:lnTo>
                    <a:pt x="802" y="313"/>
                  </a:lnTo>
                  <a:lnTo>
                    <a:pt x="804" y="311"/>
                  </a:lnTo>
                  <a:lnTo>
                    <a:pt x="804" y="311"/>
                  </a:lnTo>
                  <a:lnTo>
                    <a:pt x="806" y="309"/>
                  </a:lnTo>
                  <a:lnTo>
                    <a:pt x="806" y="309"/>
                  </a:lnTo>
                  <a:lnTo>
                    <a:pt x="806" y="309"/>
                  </a:lnTo>
                  <a:lnTo>
                    <a:pt x="804" y="309"/>
                  </a:lnTo>
                  <a:lnTo>
                    <a:pt x="804" y="311"/>
                  </a:lnTo>
                  <a:lnTo>
                    <a:pt x="802" y="309"/>
                  </a:lnTo>
                  <a:lnTo>
                    <a:pt x="802" y="309"/>
                  </a:lnTo>
                  <a:lnTo>
                    <a:pt x="802" y="309"/>
                  </a:lnTo>
                  <a:lnTo>
                    <a:pt x="802" y="305"/>
                  </a:lnTo>
                  <a:lnTo>
                    <a:pt x="800" y="305"/>
                  </a:lnTo>
                  <a:lnTo>
                    <a:pt x="800" y="305"/>
                  </a:lnTo>
                  <a:lnTo>
                    <a:pt x="800" y="305"/>
                  </a:lnTo>
                  <a:lnTo>
                    <a:pt x="800" y="305"/>
                  </a:lnTo>
                  <a:lnTo>
                    <a:pt x="796" y="307"/>
                  </a:lnTo>
                  <a:lnTo>
                    <a:pt x="796" y="307"/>
                  </a:lnTo>
                  <a:lnTo>
                    <a:pt x="796" y="303"/>
                  </a:lnTo>
                  <a:lnTo>
                    <a:pt x="796" y="303"/>
                  </a:lnTo>
                  <a:lnTo>
                    <a:pt x="796" y="303"/>
                  </a:lnTo>
                  <a:lnTo>
                    <a:pt x="792" y="307"/>
                  </a:lnTo>
                  <a:lnTo>
                    <a:pt x="792" y="311"/>
                  </a:lnTo>
                  <a:lnTo>
                    <a:pt x="792" y="316"/>
                  </a:lnTo>
                  <a:lnTo>
                    <a:pt x="794" y="318"/>
                  </a:lnTo>
                  <a:close/>
                  <a:moveTo>
                    <a:pt x="559" y="164"/>
                  </a:moveTo>
                  <a:lnTo>
                    <a:pt x="559" y="164"/>
                  </a:lnTo>
                  <a:lnTo>
                    <a:pt x="561" y="164"/>
                  </a:lnTo>
                  <a:lnTo>
                    <a:pt x="561" y="160"/>
                  </a:lnTo>
                  <a:lnTo>
                    <a:pt x="559" y="158"/>
                  </a:lnTo>
                  <a:lnTo>
                    <a:pt x="557" y="156"/>
                  </a:lnTo>
                  <a:lnTo>
                    <a:pt x="557" y="154"/>
                  </a:lnTo>
                  <a:lnTo>
                    <a:pt x="555" y="154"/>
                  </a:lnTo>
                  <a:lnTo>
                    <a:pt x="555" y="154"/>
                  </a:lnTo>
                  <a:lnTo>
                    <a:pt x="555" y="156"/>
                  </a:lnTo>
                  <a:lnTo>
                    <a:pt x="555" y="156"/>
                  </a:lnTo>
                  <a:lnTo>
                    <a:pt x="559" y="164"/>
                  </a:lnTo>
                  <a:close/>
                  <a:moveTo>
                    <a:pt x="796" y="286"/>
                  </a:moveTo>
                  <a:lnTo>
                    <a:pt x="796" y="286"/>
                  </a:lnTo>
                  <a:lnTo>
                    <a:pt x="798" y="286"/>
                  </a:lnTo>
                  <a:lnTo>
                    <a:pt x="798" y="288"/>
                  </a:lnTo>
                  <a:lnTo>
                    <a:pt x="798" y="288"/>
                  </a:lnTo>
                  <a:lnTo>
                    <a:pt x="798" y="288"/>
                  </a:lnTo>
                  <a:lnTo>
                    <a:pt x="800" y="286"/>
                  </a:lnTo>
                  <a:lnTo>
                    <a:pt x="800" y="286"/>
                  </a:lnTo>
                  <a:lnTo>
                    <a:pt x="802" y="284"/>
                  </a:lnTo>
                  <a:lnTo>
                    <a:pt x="802" y="284"/>
                  </a:lnTo>
                  <a:lnTo>
                    <a:pt x="802" y="284"/>
                  </a:lnTo>
                  <a:lnTo>
                    <a:pt x="802" y="282"/>
                  </a:lnTo>
                  <a:lnTo>
                    <a:pt x="802" y="282"/>
                  </a:lnTo>
                  <a:lnTo>
                    <a:pt x="802" y="282"/>
                  </a:lnTo>
                  <a:lnTo>
                    <a:pt x="802" y="282"/>
                  </a:lnTo>
                  <a:lnTo>
                    <a:pt x="802" y="282"/>
                  </a:lnTo>
                  <a:lnTo>
                    <a:pt x="800" y="280"/>
                  </a:lnTo>
                  <a:lnTo>
                    <a:pt x="800" y="280"/>
                  </a:lnTo>
                  <a:lnTo>
                    <a:pt x="800" y="280"/>
                  </a:lnTo>
                  <a:lnTo>
                    <a:pt x="800" y="280"/>
                  </a:lnTo>
                  <a:lnTo>
                    <a:pt x="800" y="280"/>
                  </a:lnTo>
                  <a:lnTo>
                    <a:pt x="798" y="280"/>
                  </a:lnTo>
                  <a:lnTo>
                    <a:pt x="798" y="280"/>
                  </a:lnTo>
                  <a:lnTo>
                    <a:pt x="798" y="280"/>
                  </a:lnTo>
                  <a:lnTo>
                    <a:pt x="798" y="280"/>
                  </a:lnTo>
                  <a:lnTo>
                    <a:pt x="796" y="282"/>
                  </a:lnTo>
                  <a:lnTo>
                    <a:pt x="796" y="282"/>
                  </a:lnTo>
                  <a:lnTo>
                    <a:pt x="796" y="282"/>
                  </a:lnTo>
                  <a:lnTo>
                    <a:pt x="796" y="284"/>
                  </a:lnTo>
                  <a:lnTo>
                    <a:pt x="796" y="284"/>
                  </a:lnTo>
                  <a:lnTo>
                    <a:pt x="796" y="286"/>
                  </a:lnTo>
                  <a:close/>
                  <a:moveTo>
                    <a:pt x="827" y="246"/>
                  </a:moveTo>
                  <a:lnTo>
                    <a:pt x="829" y="246"/>
                  </a:lnTo>
                  <a:lnTo>
                    <a:pt x="832" y="246"/>
                  </a:lnTo>
                  <a:lnTo>
                    <a:pt x="832" y="242"/>
                  </a:lnTo>
                  <a:lnTo>
                    <a:pt x="834" y="242"/>
                  </a:lnTo>
                  <a:lnTo>
                    <a:pt x="834" y="242"/>
                  </a:lnTo>
                  <a:lnTo>
                    <a:pt x="834" y="242"/>
                  </a:lnTo>
                  <a:lnTo>
                    <a:pt x="834" y="240"/>
                  </a:lnTo>
                  <a:lnTo>
                    <a:pt x="832" y="240"/>
                  </a:lnTo>
                  <a:lnTo>
                    <a:pt x="829" y="240"/>
                  </a:lnTo>
                  <a:lnTo>
                    <a:pt x="829" y="242"/>
                  </a:lnTo>
                  <a:lnTo>
                    <a:pt x="829" y="242"/>
                  </a:lnTo>
                  <a:lnTo>
                    <a:pt x="829" y="242"/>
                  </a:lnTo>
                  <a:lnTo>
                    <a:pt x="829" y="242"/>
                  </a:lnTo>
                  <a:lnTo>
                    <a:pt x="827" y="242"/>
                  </a:lnTo>
                  <a:lnTo>
                    <a:pt x="827" y="244"/>
                  </a:lnTo>
                  <a:lnTo>
                    <a:pt x="827" y="244"/>
                  </a:lnTo>
                  <a:lnTo>
                    <a:pt x="827" y="244"/>
                  </a:lnTo>
                  <a:lnTo>
                    <a:pt x="825" y="244"/>
                  </a:lnTo>
                  <a:lnTo>
                    <a:pt x="827" y="246"/>
                  </a:lnTo>
                  <a:lnTo>
                    <a:pt x="827" y="246"/>
                  </a:lnTo>
                  <a:close/>
                  <a:moveTo>
                    <a:pt x="802" y="269"/>
                  </a:moveTo>
                  <a:lnTo>
                    <a:pt x="804" y="269"/>
                  </a:lnTo>
                  <a:lnTo>
                    <a:pt x="804" y="269"/>
                  </a:lnTo>
                  <a:lnTo>
                    <a:pt x="804" y="269"/>
                  </a:lnTo>
                  <a:lnTo>
                    <a:pt x="804" y="269"/>
                  </a:lnTo>
                  <a:lnTo>
                    <a:pt x="806" y="267"/>
                  </a:lnTo>
                  <a:lnTo>
                    <a:pt x="811" y="265"/>
                  </a:lnTo>
                  <a:lnTo>
                    <a:pt x="811" y="263"/>
                  </a:lnTo>
                  <a:lnTo>
                    <a:pt x="811" y="263"/>
                  </a:lnTo>
                  <a:lnTo>
                    <a:pt x="809" y="261"/>
                  </a:lnTo>
                  <a:lnTo>
                    <a:pt x="809" y="261"/>
                  </a:lnTo>
                  <a:lnTo>
                    <a:pt x="806" y="263"/>
                  </a:lnTo>
                  <a:lnTo>
                    <a:pt x="806" y="263"/>
                  </a:lnTo>
                  <a:lnTo>
                    <a:pt x="806" y="265"/>
                  </a:lnTo>
                  <a:lnTo>
                    <a:pt x="804" y="265"/>
                  </a:lnTo>
                  <a:lnTo>
                    <a:pt x="802" y="267"/>
                  </a:lnTo>
                  <a:lnTo>
                    <a:pt x="802" y="267"/>
                  </a:lnTo>
                  <a:lnTo>
                    <a:pt x="802" y="267"/>
                  </a:lnTo>
                  <a:lnTo>
                    <a:pt x="802" y="267"/>
                  </a:lnTo>
                  <a:lnTo>
                    <a:pt x="802" y="267"/>
                  </a:lnTo>
                  <a:lnTo>
                    <a:pt x="802" y="269"/>
                  </a:lnTo>
                  <a:close/>
                  <a:moveTo>
                    <a:pt x="853" y="280"/>
                  </a:moveTo>
                  <a:lnTo>
                    <a:pt x="855" y="280"/>
                  </a:lnTo>
                  <a:lnTo>
                    <a:pt x="855" y="280"/>
                  </a:lnTo>
                  <a:lnTo>
                    <a:pt x="855" y="280"/>
                  </a:lnTo>
                  <a:lnTo>
                    <a:pt x="855" y="280"/>
                  </a:lnTo>
                  <a:lnTo>
                    <a:pt x="855" y="280"/>
                  </a:lnTo>
                  <a:lnTo>
                    <a:pt x="855" y="278"/>
                  </a:lnTo>
                  <a:lnTo>
                    <a:pt x="855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80"/>
                  </a:lnTo>
                  <a:lnTo>
                    <a:pt x="853" y="280"/>
                  </a:lnTo>
                  <a:lnTo>
                    <a:pt x="853" y="280"/>
                  </a:lnTo>
                  <a:lnTo>
                    <a:pt x="853" y="280"/>
                  </a:lnTo>
                  <a:close/>
                  <a:moveTo>
                    <a:pt x="802" y="257"/>
                  </a:moveTo>
                  <a:lnTo>
                    <a:pt x="802" y="261"/>
                  </a:lnTo>
                  <a:lnTo>
                    <a:pt x="802" y="261"/>
                  </a:lnTo>
                  <a:lnTo>
                    <a:pt x="802" y="261"/>
                  </a:lnTo>
                  <a:lnTo>
                    <a:pt x="804" y="259"/>
                  </a:lnTo>
                  <a:lnTo>
                    <a:pt x="804" y="257"/>
                  </a:lnTo>
                  <a:lnTo>
                    <a:pt x="804" y="257"/>
                  </a:lnTo>
                  <a:lnTo>
                    <a:pt x="804" y="255"/>
                  </a:lnTo>
                  <a:lnTo>
                    <a:pt x="802" y="255"/>
                  </a:lnTo>
                  <a:lnTo>
                    <a:pt x="802" y="257"/>
                  </a:lnTo>
                  <a:lnTo>
                    <a:pt x="802" y="257"/>
                  </a:lnTo>
                  <a:lnTo>
                    <a:pt x="802" y="257"/>
                  </a:lnTo>
                  <a:lnTo>
                    <a:pt x="802" y="257"/>
                  </a:lnTo>
                  <a:close/>
                  <a:moveTo>
                    <a:pt x="519" y="431"/>
                  </a:moveTo>
                  <a:lnTo>
                    <a:pt x="519" y="431"/>
                  </a:lnTo>
                  <a:lnTo>
                    <a:pt x="517" y="431"/>
                  </a:lnTo>
                  <a:lnTo>
                    <a:pt x="519" y="433"/>
                  </a:lnTo>
                  <a:lnTo>
                    <a:pt x="524" y="433"/>
                  </a:lnTo>
                  <a:lnTo>
                    <a:pt x="524" y="431"/>
                  </a:lnTo>
                  <a:lnTo>
                    <a:pt x="526" y="431"/>
                  </a:lnTo>
                  <a:lnTo>
                    <a:pt x="526" y="429"/>
                  </a:lnTo>
                  <a:lnTo>
                    <a:pt x="526" y="429"/>
                  </a:lnTo>
                  <a:lnTo>
                    <a:pt x="526" y="429"/>
                  </a:lnTo>
                  <a:lnTo>
                    <a:pt x="526" y="429"/>
                  </a:lnTo>
                  <a:lnTo>
                    <a:pt x="524" y="429"/>
                  </a:lnTo>
                  <a:lnTo>
                    <a:pt x="524" y="429"/>
                  </a:lnTo>
                  <a:lnTo>
                    <a:pt x="524" y="427"/>
                  </a:lnTo>
                  <a:lnTo>
                    <a:pt x="522" y="427"/>
                  </a:lnTo>
                  <a:lnTo>
                    <a:pt x="522" y="427"/>
                  </a:lnTo>
                  <a:lnTo>
                    <a:pt x="519" y="429"/>
                  </a:lnTo>
                  <a:lnTo>
                    <a:pt x="519" y="431"/>
                  </a:lnTo>
                  <a:close/>
                  <a:moveTo>
                    <a:pt x="499" y="444"/>
                  </a:moveTo>
                  <a:lnTo>
                    <a:pt x="501" y="444"/>
                  </a:lnTo>
                  <a:lnTo>
                    <a:pt x="503" y="444"/>
                  </a:lnTo>
                  <a:lnTo>
                    <a:pt x="505" y="444"/>
                  </a:lnTo>
                  <a:lnTo>
                    <a:pt x="503" y="444"/>
                  </a:lnTo>
                  <a:lnTo>
                    <a:pt x="503" y="446"/>
                  </a:lnTo>
                  <a:lnTo>
                    <a:pt x="503" y="446"/>
                  </a:lnTo>
                  <a:lnTo>
                    <a:pt x="503" y="446"/>
                  </a:lnTo>
                  <a:lnTo>
                    <a:pt x="505" y="446"/>
                  </a:lnTo>
                  <a:lnTo>
                    <a:pt x="505" y="446"/>
                  </a:lnTo>
                  <a:lnTo>
                    <a:pt x="505" y="446"/>
                  </a:lnTo>
                  <a:lnTo>
                    <a:pt x="507" y="444"/>
                  </a:lnTo>
                  <a:lnTo>
                    <a:pt x="507" y="444"/>
                  </a:lnTo>
                  <a:lnTo>
                    <a:pt x="509" y="442"/>
                  </a:lnTo>
                  <a:lnTo>
                    <a:pt x="509" y="442"/>
                  </a:lnTo>
                  <a:lnTo>
                    <a:pt x="513" y="437"/>
                  </a:lnTo>
                  <a:lnTo>
                    <a:pt x="515" y="437"/>
                  </a:lnTo>
                  <a:lnTo>
                    <a:pt x="515" y="437"/>
                  </a:lnTo>
                  <a:lnTo>
                    <a:pt x="513" y="435"/>
                  </a:lnTo>
                  <a:lnTo>
                    <a:pt x="513" y="435"/>
                  </a:lnTo>
                  <a:lnTo>
                    <a:pt x="513" y="435"/>
                  </a:lnTo>
                  <a:lnTo>
                    <a:pt x="513" y="435"/>
                  </a:lnTo>
                  <a:lnTo>
                    <a:pt x="513" y="435"/>
                  </a:lnTo>
                  <a:lnTo>
                    <a:pt x="511" y="435"/>
                  </a:lnTo>
                  <a:lnTo>
                    <a:pt x="511" y="435"/>
                  </a:lnTo>
                  <a:lnTo>
                    <a:pt x="509" y="437"/>
                  </a:lnTo>
                  <a:lnTo>
                    <a:pt x="503" y="437"/>
                  </a:lnTo>
                  <a:lnTo>
                    <a:pt x="503" y="437"/>
                  </a:lnTo>
                  <a:lnTo>
                    <a:pt x="501" y="437"/>
                  </a:lnTo>
                  <a:lnTo>
                    <a:pt x="501" y="437"/>
                  </a:lnTo>
                  <a:lnTo>
                    <a:pt x="499" y="437"/>
                  </a:lnTo>
                  <a:lnTo>
                    <a:pt x="499" y="437"/>
                  </a:lnTo>
                  <a:lnTo>
                    <a:pt x="496" y="440"/>
                  </a:lnTo>
                  <a:lnTo>
                    <a:pt x="496" y="442"/>
                  </a:lnTo>
                  <a:lnTo>
                    <a:pt x="496" y="444"/>
                  </a:lnTo>
                  <a:lnTo>
                    <a:pt x="499" y="444"/>
                  </a:lnTo>
                  <a:close/>
                  <a:moveTo>
                    <a:pt x="543" y="389"/>
                  </a:moveTo>
                  <a:lnTo>
                    <a:pt x="545" y="389"/>
                  </a:lnTo>
                  <a:lnTo>
                    <a:pt x="545" y="387"/>
                  </a:lnTo>
                  <a:lnTo>
                    <a:pt x="545" y="385"/>
                  </a:lnTo>
                  <a:lnTo>
                    <a:pt x="545" y="385"/>
                  </a:lnTo>
                  <a:lnTo>
                    <a:pt x="545" y="385"/>
                  </a:lnTo>
                  <a:lnTo>
                    <a:pt x="543" y="385"/>
                  </a:lnTo>
                  <a:lnTo>
                    <a:pt x="543" y="387"/>
                  </a:lnTo>
                  <a:lnTo>
                    <a:pt x="540" y="389"/>
                  </a:lnTo>
                  <a:lnTo>
                    <a:pt x="540" y="389"/>
                  </a:lnTo>
                  <a:lnTo>
                    <a:pt x="540" y="389"/>
                  </a:lnTo>
                  <a:lnTo>
                    <a:pt x="543" y="389"/>
                  </a:lnTo>
                  <a:close/>
                  <a:moveTo>
                    <a:pt x="507" y="463"/>
                  </a:moveTo>
                  <a:lnTo>
                    <a:pt x="507" y="463"/>
                  </a:lnTo>
                  <a:lnTo>
                    <a:pt x="509" y="461"/>
                  </a:lnTo>
                  <a:lnTo>
                    <a:pt x="509" y="456"/>
                  </a:lnTo>
                  <a:lnTo>
                    <a:pt x="509" y="456"/>
                  </a:lnTo>
                  <a:lnTo>
                    <a:pt x="509" y="456"/>
                  </a:lnTo>
                  <a:lnTo>
                    <a:pt x="507" y="458"/>
                  </a:lnTo>
                  <a:lnTo>
                    <a:pt x="507" y="458"/>
                  </a:lnTo>
                  <a:lnTo>
                    <a:pt x="507" y="458"/>
                  </a:lnTo>
                  <a:lnTo>
                    <a:pt x="505" y="458"/>
                  </a:lnTo>
                  <a:lnTo>
                    <a:pt x="505" y="458"/>
                  </a:lnTo>
                  <a:lnTo>
                    <a:pt x="505" y="458"/>
                  </a:lnTo>
                  <a:lnTo>
                    <a:pt x="505" y="458"/>
                  </a:lnTo>
                  <a:lnTo>
                    <a:pt x="503" y="458"/>
                  </a:lnTo>
                  <a:lnTo>
                    <a:pt x="501" y="458"/>
                  </a:lnTo>
                  <a:lnTo>
                    <a:pt x="499" y="461"/>
                  </a:lnTo>
                  <a:lnTo>
                    <a:pt x="496" y="461"/>
                  </a:lnTo>
                  <a:lnTo>
                    <a:pt x="496" y="461"/>
                  </a:lnTo>
                  <a:lnTo>
                    <a:pt x="496" y="461"/>
                  </a:lnTo>
                  <a:lnTo>
                    <a:pt x="494" y="465"/>
                  </a:lnTo>
                  <a:lnTo>
                    <a:pt x="496" y="465"/>
                  </a:lnTo>
                  <a:lnTo>
                    <a:pt x="501" y="465"/>
                  </a:lnTo>
                  <a:lnTo>
                    <a:pt x="501" y="463"/>
                  </a:lnTo>
                  <a:lnTo>
                    <a:pt x="503" y="463"/>
                  </a:lnTo>
                  <a:lnTo>
                    <a:pt x="507" y="463"/>
                  </a:lnTo>
                  <a:close/>
                  <a:moveTo>
                    <a:pt x="279" y="408"/>
                  </a:moveTo>
                  <a:lnTo>
                    <a:pt x="279" y="406"/>
                  </a:lnTo>
                  <a:lnTo>
                    <a:pt x="276" y="406"/>
                  </a:lnTo>
                  <a:lnTo>
                    <a:pt x="276" y="406"/>
                  </a:lnTo>
                  <a:lnTo>
                    <a:pt x="274" y="406"/>
                  </a:lnTo>
                  <a:lnTo>
                    <a:pt x="274" y="404"/>
                  </a:lnTo>
                  <a:lnTo>
                    <a:pt x="272" y="404"/>
                  </a:lnTo>
                  <a:lnTo>
                    <a:pt x="270" y="404"/>
                  </a:lnTo>
                  <a:lnTo>
                    <a:pt x="268" y="406"/>
                  </a:lnTo>
                  <a:lnTo>
                    <a:pt x="266" y="408"/>
                  </a:lnTo>
                  <a:lnTo>
                    <a:pt x="264" y="410"/>
                  </a:lnTo>
                  <a:lnTo>
                    <a:pt x="264" y="412"/>
                  </a:lnTo>
                  <a:lnTo>
                    <a:pt x="266" y="412"/>
                  </a:lnTo>
                  <a:lnTo>
                    <a:pt x="270" y="414"/>
                  </a:lnTo>
                  <a:lnTo>
                    <a:pt x="272" y="419"/>
                  </a:lnTo>
                  <a:lnTo>
                    <a:pt x="274" y="419"/>
                  </a:lnTo>
                  <a:lnTo>
                    <a:pt x="279" y="414"/>
                  </a:lnTo>
                  <a:lnTo>
                    <a:pt x="279" y="414"/>
                  </a:lnTo>
                  <a:lnTo>
                    <a:pt x="276" y="412"/>
                  </a:lnTo>
                  <a:lnTo>
                    <a:pt x="276" y="412"/>
                  </a:lnTo>
                  <a:lnTo>
                    <a:pt x="279" y="410"/>
                  </a:lnTo>
                  <a:lnTo>
                    <a:pt x="279" y="410"/>
                  </a:lnTo>
                  <a:lnTo>
                    <a:pt x="281" y="410"/>
                  </a:lnTo>
                  <a:lnTo>
                    <a:pt x="281" y="408"/>
                  </a:lnTo>
                  <a:lnTo>
                    <a:pt x="279" y="408"/>
                  </a:lnTo>
                  <a:close/>
                  <a:moveTo>
                    <a:pt x="517" y="116"/>
                  </a:moveTo>
                  <a:lnTo>
                    <a:pt x="519" y="118"/>
                  </a:lnTo>
                  <a:lnTo>
                    <a:pt x="519" y="118"/>
                  </a:lnTo>
                  <a:lnTo>
                    <a:pt x="522" y="118"/>
                  </a:lnTo>
                  <a:lnTo>
                    <a:pt x="522" y="118"/>
                  </a:lnTo>
                  <a:lnTo>
                    <a:pt x="522" y="116"/>
                  </a:lnTo>
                  <a:lnTo>
                    <a:pt x="522" y="114"/>
                  </a:lnTo>
                  <a:lnTo>
                    <a:pt x="519" y="114"/>
                  </a:lnTo>
                  <a:lnTo>
                    <a:pt x="519" y="114"/>
                  </a:lnTo>
                  <a:lnTo>
                    <a:pt x="519" y="114"/>
                  </a:lnTo>
                  <a:lnTo>
                    <a:pt x="517" y="112"/>
                  </a:lnTo>
                  <a:lnTo>
                    <a:pt x="517" y="114"/>
                  </a:lnTo>
                  <a:lnTo>
                    <a:pt x="517" y="116"/>
                  </a:lnTo>
                  <a:close/>
                  <a:moveTo>
                    <a:pt x="199" y="24"/>
                  </a:moveTo>
                  <a:lnTo>
                    <a:pt x="207" y="24"/>
                  </a:lnTo>
                  <a:lnTo>
                    <a:pt x="207" y="24"/>
                  </a:lnTo>
                  <a:lnTo>
                    <a:pt x="209" y="21"/>
                  </a:lnTo>
                  <a:lnTo>
                    <a:pt x="209" y="21"/>
                  </a:lnTo>
                  <a:lnTo>
                    <a:pt x="212" y="19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4" y="15"/>
                  </a:lnTo>
                  <a:lnTo>
                    <a:pt x="214" y="15"/>
                  </a:lnTo>
                  <a:lnTo>
                    <a:pt x="214" y="15"/>
                  </a:lnTo>
                  <a:lnTo>
                    <a:pt x="214" y="13"/>
                  </a:lnTo>
                  <a:lnTo>
                    <a:pt x="212" y="13"/>
                  </a:lnTo>
                  <a:lnTo>
                    <a:pt x="209" y="13"/>
                  </a:lnTo>
                  <a:lnTo>
                    <a:pt x="207" y="13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7" y="17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3" y="19"/>
                  </a:lnTo>
                  <a:lnTo>
                    <a:pt x="203" y="19"/>
                  </a:lnTo>
                  <a:lnTo>
                    <a:pt x="201" y="19"/>
                  </a:lnTo>
                  <a:lnTo>
                    <a:pt x="201" y="19"/>
                  </a:lnTo>
                  <a:lnTo>
                    <a:pt x="199" y="21"/>
                  </a:lnTo>
                  <a:lnTo>
                    <a:pt x="199" y="21"/>
                  </a:lnTo>
                  <a:lnTo>
                    <a:pt x="199" y="24"/>
                  </a:lnTo>
                  <a:lnTo>
                    <a:pt x="199" y="24"/>
                  </a:lnTo>
                  <a:close/>
                  <a:moveTo>
                    <a:pt x="534" y="118"/>
                  </a:moveTo>
                  <a:lnTo>
                    <a:pt x="534" y="118"/>
                  </a:lnTo>
                  <a:lnTo>
                    <a:pt x="536" y="120"/>
                  </a:lnTo>
                  <a:lnTo>
                    <a:pt x="538" y="120"/>
                  </a:lnTo>
                  <a:lnTo>
                    <a:pt x="540" y="120"/>
                  </a:lnTo>
                  <a:lnTo>
                    <a:pt x="538" y="118"/>
                  </a:lnTo>
                  <a:lnTo>
                    <a:pt x="538" y="116"/>
                  </a:lnTo>
                  <a:lnTo>
                    <a:pt x="538" y="114"/>
                  </a:lnTo>
                  <a:lnTo>
                    <a:pt x="536" y="110"/>
                  </a:lnTo>
                  <a:lnTo>
                    <a:pt x="534" y="110"/>
                  </a:lnTo>
                  <a:lnTo>
                    <a:pt x="532" y="110"/>
                  </a:lnTo>
                  <a:lnTo>
                    <a:pt x="532" y="112"/>
                  </a:lnTo>
                  <a:lnTo>
                    <a:pt x="532" y="112"/>
                  </a:lnTo>
                  <a:lnTo>
                    <a:pt x="532" y="114"/>
                  </a:lnTo>
                  <a:lnTo>
                    <a:pt x="534" y="118"/>
                  </a:lnTo>
                  <a:close/>
                  <a:moveTo>
                    <a:pt x="524" y="122"/>
                  </a:moveTo>
                  <a:lnTo>
                    <a:pt x="524" y="124"/>
                  </a:lnTo>
                  <a:lnTo>
                    <a:pt x="526" y="124"/>
                  </a:lnTo>
                  <a:lnTo>
                    <a:pt x="526" y="127"/>
                  </a:lnTo>
                  <a:lnTo>
                    <a:pt x="530" y="127"/>
                  </a:lnTo>
                  <a:lnTo>
                    <a:pt x="534" y="129"/>
                  </a:lnTo>
                  <a:lnTo>
                    <a:pt x="534" y="129"/>
                  </a:lnTo>
                  <a:lnTo>
                    <a:pt x="534" y="129"/>
                  </a:lnTo>
                  <a:lnTo>
                    <a:pt x="532" y="127"/>
                  </a:lnTo>
                  <a:lnTo>
                    <a:pt x="528" y="122"/>
                  </a:lnTo>
                  <a:lnTo>
                    <a:pt x="526" y="122"/>
                  </a:lnTo>
                  <a:lnTo>
                    <a:pt x="526" y="120"/>
                  </a:lnTo>
                  <a:lnTo>
                    <a:pt x="526" y="120"/>
                  </a:lnTo>
                  <a:lnTo>
                    <a:pt x="524" y="120"/>
                  </a:lnTo>
                  <a:lnTo>
                    <a:pt x="524" y="120"/>
                  </a:lnTo>
                  <a:lnTo>
                    <a:pt x="524" y="120"/>
                  </a:lnTo>
                  <a:lnTo>
                    <a:pt x="524" y="122"/>
                  </a:lnTo>
                  <a:lnTo>
                    <a:pt x="524" y="122"/>
                  </a:lnTo>
                  <a:lnTo>
                    <a:pt x="524" y="122"/>
                  </a:lnTo>
                  <a:close/>
                  <a:moveTo>
                    <a:pt x="404" y="332"/>
                  </a:moveTo>
                  <a:lnTo>
                    <a:pt x="404" y="332"/>
                  </a:lnTo>
                  <a:lnTo>
                    <a:pt x="402" y="332"/>
                  </a:lnTo>
                  <a:lnTo>
                    <a:pt x="402" y="332"/>
                  </a:lnTo>
                  <a:lnTo>
                    <a:pt x="404" y="334"/>
                  </a:lnTo>
                  <a:lnTo>
                    <a:pt x="404" y="334"/>
                  </a:lnTo>
                  <a:lnTo>
                    <a:pt x="404" y="334"/>
                  </a:lnTo>
                  <a:lnTo>
                    <a:pt x="406" y="332"/>
                  </a:lnTo>
                  <a:lnTo>
                    <a:pt x="404" y="332"/>
                  </a:lnTo>
                  <a:close/>
                  <a:moveTo>
                    <a:pt x="829" y="374"/>
                  </a:moveTo>
                  <a:lnTo>
                    <a:pt x="827" y="374"/>
                  </a:lnTo>
                  <a:lnTo>
                    <a:pt x="827" y="374"/>
                  </a:lnTo>
                  <a:lnTo>
                    <a:pt x="827" y="372"/>
                  </a:lnTo>
                  <a:lnTo>
                    <a:pt x="827" y="372"/>
                  </a:lnTo>
                  <a:lnTo>
                    <a:pt x="827" y="372"/>
                  </a:lnTo>
                  <a:lnTo>
                    <a:pt x="827" y="372"/>
                  </a:lnTo>
                  <a:lnTo>
                    <a:pt x="827" y="370"/>
                  </a:lnTo>
                  <a:lnTo>
                    <a:pt x="827" y="370"/>
                  </a:lnTo>
                  <a:lnTo>
                    <a:pt x="827" y="370"/>
                  </a:lnTo>
                  <a:lnTo>
                    <a:pt x="827" y="368"/>
                  </a:lnTo>
                  <a:lnTo>
                    <a:pt x="827" y="368"/>
                  </a:lnTo>
                  <a:lnTo>
                    <a:pt x="827" y="366"/>
                  </a:lnTo>
                  <a:lnTo>
                    <a:pt x="827" y="366"/>
                  </a:lnTo>
                  <a:lnTo>
                    <a:pt x="825" y="368"/>
                  </a:lnTo>
                  <a:lnTo>
                    <a:pt x="825" y="368"/>
                  </a:lnTo>
                  <a:lnTo>
                    <a:pt x="825" y="370"/>
                  </a:lnTo>
                  <a:lnTo>
                    <a:pt x="825" y="370"/>
                  </a:lnTo>
                  <a:lnTo>
                    <a:pt x="825" y="370"/>
                  </a:lnTo>
                  <a:lnTo>
                    <a:pt x="825" y="370"/>
                  </a:lnTo>
                  <a:lnTo>
                    <a:pt x="825" y="370"/>
                  </a:lnTo>
                  <a:lnTo>
                    <a:pt x="825" y="372"/>
                  </a:lnTo>
                  <a:lnTo>
                    <a:pt x="825" y="372"/>
                  </a:lnTo>
                  <a:lnTo>
                    <a:pt x="825" y="372"/>
                  </a:lnTo>
                  <a:lnTo>
                    <a:pt x="825" y="374"/>
                  </a:lnTo>
                  <a:lnTo>
                    <a:pt x="823" y="374"/>
                  </a:lnTo>
                  <a:lnTo>
                    <a:pt x="825" y="377"/>
                  </a:lnTo>
                  <a:lnTo>
                    <a:pt x="825" y="377"/>
                  </a:lnTo>
                  <a:lnTo>
                    <a:pt x="825" y="374"/>
                  </a:lnTo>
                  <a:lnTo>
                    <a:pt x="825" y="374"/>
                  </a:lnTo>
                  <a:lnTo>
                    <a:pt x="827" y="374"/>
                  </a:lnTo>
                  <a:lnTo>
                    <a:pt x="827" y="377"/>
                  </a:lnTo>
                  <a:lnTo>
                    <a:pt x="827" y="377"/>
                  </a:lnTo>
                  <a:lnTo>
                    <a:pt x="827" y="377"/>
                  </a:lnTo>
                  <a:lnTo>
                    <a:pt x="827" y="377"/>
                  </a:lnTo>
                  <a:lnTo>
                    <a:pt x="827" y="379"/>
                  </a:lnTo>
                  <a:lnTo>
                    <a:pt x="827" y="377"/>
                  </a:lnTo>
                  <a:lnTo>
                    <a:pt x="829" y="377"/>
                  </a:lnTo>
                  <a:lnTo>
                    <a:pt x="829" y="374"/>
                  </a:lnTo>
                  <a:lnTo>
                    <a:pt x="829" y="374"/>
                  </a:lnTo>
                  <a:lnTo>
                    <a:pt x="829" y="374"/>
                  </a:lnTo>
                  <a:lnTo>
                    <a:pt x="829" y="374"/>
                  </a:lnTo>
                  <a:close/>
                  <a:moveTo>
                    <a:pt x="825" y="366"/>
                  </a:moveTo>
                  <a:lnTo>
                    <a:pt x="825" y="366"/>
                  </a:lnTo>
                  <a:lnTo>
                    <a:pt x="827" y="364"/>
                  </a:lnTo>
                  <a:lnTo>
                    <a:pt x="827" y="362"/>
                  </a:lnTo>
                  <a:lnTo>
                    <a:pt x="827" y="362"/>
                  </a:lnTo>
                  <a:lnTo>
                    <a:pt x="829" y="360"/>
                  </a:lnTo>
                  <a:lnTo>
                    <a:pt x="829" y="360"/>
                  </a:lnTo>
                  <a:lnTo>
                    <a:pt x="829" y="360"/>
                  </a:lnTo>
                  <a:lnTo>
                    <a:pt x="829" y="360"/>
                  </a:lnTo>
                  <a:lnTo>
                    <a:pt x="829" y="358"/>
                  </a:lnTo>
                  <a:lnTo>
                    <a:pt x="829" y="358"/>
                  </a:lnTo>
                  <a:lnTo>
                    <a:pt x="827" y="358"/>
                  </a:lnTo>
                  <a:lnTo>
                    <a:pt x="827" y="358"/>
                  </a:lnTo>
                  <a:lnTo>
                    <a:pt x="825" y="358"/>
                  </a:lnTo>
                  <a:lnTo>
                    <a:pt x="825" y="353"/>
                  </a:lnTo>
                  <a:lnTo>
                    <a:pt x="825" y="353"/>
                  </a:lnTo>
                  <a:lnTo>
                    <a:pt x="825" y="353"/>
                  </a:lnTo>
                  <a:lnTo>
                    <a:pt x="827" y="353"/>
                  </a:lnTo>
                  <a:lnTo>
                    <a:pt x="827" y="351"/>
                  </a:lnTo>
                  <a:lnTo>
                    <a:pt x="827" y="351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5" y="351"/>
                  </a:lnTo>
                  <a:lnTo>
                    <a:pt x="823" y="347"/>
                  </a:lnTo>
                  <a:lnTo>
                    <a:pt x="823" y="347"/>
                  </a:lnTo>
                  <a:lnTo>
                    <a:pt x="823" y="347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3" y="345"/>
                  </a:lnTo>
                  <a:lnTo>
                    <a:pt x="821" y="345"/>
                  </a:lnTo>
                  <a:lnTo>
                    <a:pt x="821" y="345"/>
                  </a:lnTo>
                  <a:lnTo>
                    <a:pt x="821" y="345"/>
                  </a:lnTo>
                  <a:lnTo>
                    <a:pt x="821" y="345"/>
                  </a:lnTo>
                  <a:lnTo>
                    <a:pt x="819" y="345"/>
                  </a:lnTo>
                  <a:lnTo>
                    <a:pt x="819" y="343"/>
                  </a:lnTo>
                  <a:lnTo>
                    <a:pt x="819" y="343"/>
                  </a:lnTo>
                  <a:lnTo>
                    <a:pt x="817" y="343"/>
                  </a:lnTo>
                  <a:lnTo>
                    <a:pt x="817" y="343"/>
                  </a:lnTo>
                  <a:lnTo>
                    <a:pt x="813" y="341"/>
                  </a:lnTo>
                  <a:lnTo>
                    <a:pt x="811" y="341"/>
                  </a:lnTo>
                  <a:lnTo>
                    <a:pt x="811" y="341"/>
                  </a:lnTo>
                  <a:lnTo>
                    <a:pt x="811" y="339"/>
                  </a:lnTo>
                  <a:lnTo>
                    <a:pt x="806" y="337"/>
                  </a:lnTo>
                  <a:lnTo>
                    <a:pt x="806" y="334"/>
                  </a:lnTo>
                  <a:lnTo>
                    <a:pt x="809" y="334"/>
                  </a:lnTo>
                  <a:lnTo>
                    <a:pt x="809" y="332"/>
                  </a:lnTo>
                  <a:lnTo>
                    <a:pt x="809" y="332"/>
                  </a:lnTo>
                  <a:lnTo>
                    <a:pt x="809" y="332"/>
                  </a:lnTo>
                  <a:lnTo>
                    <a:pt x="809" y="332"/>
                  </a:lnTo>
                  <a:lnTo>
                    <a:pt x="809" y="332"/>
                  </a:lnTo>
                  <a:lnTo>
                    <a:pt x="809" y="332"/>
                  </a:lnTo>
                  <a:lnTo>
                    <a:pt x="809" y="332"/>
                  </a:lnTo>
                  <a:lnTo>
                    <a:pt x="809" y="332"/>
                  </a:lnTo>
                  <a:lnTo>
                    <a:pt x="809" y="330"/>
                  </a:lnTo>
                  <a:lnTo>
                    <a:pt x="809" y="330"/>
                  </a:lnTo>
                  <a:lnTo>
                    <a:pt x="809" y="330"/>
                  </a:lnTo>
                  <a:lnTo>
                    <a:pt x="806" y="330"/>
                  </a:lnTo>
                  <a:lnTo>
                    <a:pt x="806" y="330"/>
                  </a:lnTo>
                  <a:lnTo>
                    <a:pt x="804" y="328"/>
                  </a:lnTo>
                  <a:lnTo>
                    <a:pt x="802" y="326"/>
                  </a:lnTo>
                  <a:lnTo>
                    <a:pt x="800" y="326"/>
                  </a:lnTo>
                  <a:lnTo>
                    <a:pt x="800" y="326"/>
                  </a:lnTo>
                  <a:lnTo>
                    <a:pt x="800" y="326"/>
                  </a:lnTo>
                  <a:lnTo>
                    <a:pt x="800" y="326"/>
                  </a:lnTo>
                  <a:lnTo>
                    <a:pt x="798" y="324"/>
                  </a:lnTo>
                  <a:lnTo>
                    <a:pt x="798" y="324"/>
                  </a:lnTo>
                  <a:lnTo>
                    <a:pt x="796" y="324"/>
                  </a:lnTo>
                  <a:lnTo>
                    <a:pt x="796" y="322"/>
                  </a:lnTo>
                  <a:lnTo>
                    <a:pt x="794" y="322"/>
                  </a:lnTo>
                  <a:lnTo>
                    <a:pt x="794" y="322"/>
                  </a:lnTo>
                  <a:lnTo>
                    <a:pt x="794" y="322"/>
                  </a:lnTo>
                  <a:lnTo>
                    <a:pt x="794" y="322"/>
                  </a:lnTo>
                  <a:lnTo>
                    <a:pt x="794" y="322"/>
                  </a:lnTo>
                  <a:lnTo>
                    <a:pt x="794" y="320"/>
                  </a:lnTo>
                  <a:lnTo>
                    <a:pt x="794" y="320"/>
                  </a:lnTo>
                  <a:lnTo>
                    <a:pt x="794" y="320"/>
                  </a:lnTo>
                  <a:lnTo>
                    <a:pt x="794" y="320"/>
                  </a:lnTo>
                  <a:lnTo>
                    <a:pt x="792" y="320"/>
                  </a:lnTo>
                  <a:lnTo>
                    <a:pt x="792" y="320"/>
                  </a:lnTo>
                  <a:lnTo>
                    <a:pt x="792" y="320"/>
                  </a:lnTo>
                  <a:lnTo>
                    <a:pt x="792" y="320"/>
                  </a:lnTo>
                  <a:lnTo>
                    <a:pt x="790" y="320"/>
                  </a:lnTo>
                  <a:lnTo>
                    <a:pt x="790" y="322"/>
                  </a:lnTo>
                  <a:lnTo>
                    <a:pt x="790" y="324"/>
                  </a:lnTo>
                  <a:lnTo>
                    <a:pt x="792" y="330"/>
                  </a:lnTo>
                  <a:lnTo>
                    <a:pt x="792" y="334"/>
                  </a:lnTo>
                  <a:lnTo>
                    <a:pt x="792" y="343"/>
                  </a:lnTo>
                  <a:lnTo>
                    <a:pt x="794" y="345"/>
                  </a:lnTo>
                  <a:lnTo>
                    <a:pt x="794" y="345"/>
                  </a:lnTo>
                  <a:lnTo>
                    <a:pt x="794" y="345"/>
                  </a:lnTo>
                  <a:lnTo>
                    <a:pt x="798" y="345"/>
                  </a:lnTo>
                  <a:lnTo>
                    <a:pt x="798" y="347"/>
                  </a:lnTo>
                  <a:lnTo>
                    <a:pt x="800" y="349"/>
                  </a:lnTo>
                  <a:lnTo>
                    <a:pt x="800" y="351"/>
                  </a:lnTo>
                  <a:lnTo>
                    <a:pt x="798" y="349"/>
                  </a:lnTo>
                  <a:lnTo>
                    <a:pt x="798" y="349"/>
                  </a:lnTo>
                  <a:lnTo>
                    <a:pt x="798" y="349"/>
                  </a:lnTo>
                  <a:lnTo>
                    <a:pt x="792" y="349"/>
                  </a:lnTo>
                  <a:lnTo>
                    <a:pt x="792" y="347"/>
                  </a:lnTo>
                  <a:lnTo>
                    <a:pt x="792" y="347"/>
                  </a:lnTo>
                  <a:lnTo>
                    <a:pt x="792" y="347"/>
                  </a:lnTo>
                  <a:lnTo>
                    <a:pt x="792" y="345"/>
                  </a:lnTo>
                  <a:lnTo>
                    <a:pt x="790" y="347"/>
                  </a:lnTo>
                  <a:lnTo>
                    <a:pt x="790" y="349"/>
                  </a:lnTo>
                  <a:lnTo>
                    <a:pt x="788" y="364"/>
                  </a:lnTo>
                  <a:lnTo>
                    <a:pt x="788" y="372"/>
                  </a:lnTo>
                  <a:lnTo>
                    <a:pt x="786" y="374"/>
                  </a:lnTo>
                  <a:lnTo>
                    <a:pt x="786" y="377"/>
                  </a:lnTo>
                  <a:lnTo>
                    <a:pt x="786" y="377"/>
                  </a:lnTo>
                  <a:lnTo>
                    <a:pt x="786" y="379"/>
                  </a:lnTo>
                  <a:lnTo>
                    <a:pt x="788" y="381"/>
                  </a:lnTo>
                  <a:lnTo>
                    <a:pt x="790" y="383"/>
                  </a:lnTo>
                  <a:lnTo>
                    <a:pt x="790" y="383"/>
                  </a:lnTo>
                  <a:lnTo>
                    <a:pt x="792" y="383"/>
                  </a:lnTo>
                  <a:lnTo>
                    <a:pt x="792" y="383"/>
                  </a:lnTo>
                  <a:lnTo>
                    <a:pt x="794" y="385"/>
                  </a:lnTo>
                  <a:lnTo>
                    <a:pt x="794" y="385"/>
                  </a:lnTo>
                  <a:lnTo>
                    <a:pt x="796" y="385"/>
                  </a:lnTo>
                  <a:lnTo>
                    <a:pt x="798" y="389"/>
                  </a:lnTo>
                  <a:lnTo>
                    <a:pt x="798" y="389"/>
                  </a:lnTo>
                  <a:lnTo>
                    <a:pt x="798" y="389"/>
                  </a:lnTo>
                  <a:lnTo>
                    <a:pt x="800" y="389"/>
                  </a:lnTo>
                  <a:lnTo>
                    <a:pt x="804" y="387"/>
                  </a:lnTo>
                  <a:lnTo>
                    <a:pt x="811" y="385"/>
                  </a:lnTo>
                  <a:lnTo>
                    <a:pt x="815" y="381"/>
                  </a:lnTo>
                  <a:lnTo>
                    <a:pt x="815" y="381"/>
                  </a:lnTo>
                  <a:lnTo>
                    <a:pt x="815" y="379"/>
                  </a:lnTo>
                  <a:lnTo>
                    <a:pt x="813" y="379"/>
                  </a:lnTo>
                  <a:lnTo>
                    <a:pt x="817" y="372"/>
                  </a:lnTo>
                  <a:lnTo>
                    <a:pt x="819" y="370"/>
                  </a:lnTo>
                  <a:lnTo>
                    <a:pt x="821" y="370"/>
                  </a:lnTo>
                  <a:lnTo>
                    <a:pt x="821" y="368"/>
                  </a:lnTo>
                  <a:lnTo>
                    <a:pt x="821" y="368"/>
                  </a:lnTo>
                  <a:lnTo>
                    <a:pt x="821" y="368"/>
                  </a:lnTo>
                  <a:lnTo>
                    <a:pt x="819" y="366"/>
                  </a:lnTo>
                  <a:lnTo>
                    <a:pt x="819" y="366"/>
                  </a:lnTo>
                  <a:lnTo>
                    <a:pt x="819" y="366"/>
                  </a:lnTo>
                  <a:lnTo>
                    <a:pt x="819" y="366"/>
                  </a:lnTo>
                  <a:lnTo>
                    <a:pt x="819" y="366"/>
                  </a:lnTo>
                  <a:lnTo>
                    <a:pt x="821" y="366"/>
                  </a:lnTo>
                  <a:lnTo>
                    <a:pt x="823" y="366"/>
                  </a:lnTo>
                  <a:lnTo>
                    <a:pt x="823" y="366"/>
                  </a:lnTo>
                  <a:lnTo>
                    <a:pt x="825" y="366"/>
                  </a:lnTo>
                  <a:lnTo>
                    <a:pt x="825" y="366"/>
                  </a:lnTo>
                  <a:close/>
                  <a:moveTo>
                    <a:pt x="827" y="393"/>
                  </a:moveTo>
                  <a:lnTo>
                    <a:pt x="827" y="393"/>
                  </a:lnTo>
                  <a:lnTo>
                    <a:pt x="827" y="393"/>
                  </a:lnTo>
                  <a:lnTo>
                    <a:pt x="827" y="391"/>
                  </a:lnTo>
                  <a:lnTo>
                    <a:pt x="825" y="391"/>
                  </a:lnTo>
                  <a:lnTo>
                    <a:pt x="825" y="391"/>
                  </a:lnTo>
                  <a:lnTo>
                    <a:pt x="825" y="391"/>
                  </a:lnTo>
                  <a:lnTo>
                    <a:pt x="825" y="391"/>
                  </a:lnTo>
                  <a:lnTo>
                    <a:pt x="825" y="393"/>
                  </a:lnTo>
                  <a:lnTo>
                    <a:pt x="827" y="393"/>
                  </a:lnTo>
                  <a:lnTo>
                    <a:pt x="827" y="393"/>
                  </a:lnTo>
                  <a:close/>
                  <a:moveTo>
                    <a:pt x="704" y="238"/>
                  </a:moveTo>
                  <a:lnTo>
                    <a:pt x="702" y="238"/>
                  </a:lnTo>
                  <a:lnTo>
                    <a:pt x="702" y="236"/>
                  </a:lnTo>
                  <a:lnTo>
                    <a:pt x="700" y="236"/>
                  </a:lnTo>
                  <a:lnTo>
                    <a:pt x="698" y="236"/>
                  </a:lnTo>
                  <a:lnTo>
                    <a:pt x="695" y="238"/>
                  </a:lnTo>
                  <a:lnTo>
                    <a:pt x="695" y="242"/>
                  </a:lnTo>
                  <a:lnTo>
                    <a:pt x="695" y="244"/>
                  </a:lnTo>
                  <a:lnTo>
                    <a:pt x="693" y="246"/>
                  </a:lnTo>
                  <a:lnTo>
                    <a:pt x="689" y="257"/>
                  </a:lnTo>
                  <a:lnTo>
                    <a:pt x="689" y="261"/>
                  </a:lnTo>
                  <a:lnTo>
                    <a:pt x="687" y="263"/>
                  </a:lnTo>
                  <a:lnTo>
                    <a:pt x="687" y="265"/>
                  </a:lnTo>
                  <a:lnTo>
                    <a:pt x="687" y="269"/>
                  </a:lnTo>
                  <a:lnTo>
                    <a:pt x="685" y="269"/>
                  </a:lnTo>
                  <a:lnTo>
                    <a:pt x="685" y="269"/>
                  </a:lnTo>
                  <a:lnTo>
                    <a:pt x="683" y="269"/>
                  </a:lnTo>
                  <a:lnTo>
                    <a:pt x="679" y="276"/>
                  </a:lnTo>
                  <a:lnTo>
                    <a:pt x="679" y="276"/>
                  </a:lnTo>
                  <a:lnTo>
                    <a:pt x="679" y="282"/>
                  </a:lnTo>
                  <a:lnTo>
                    <a:pt x="679" y="284"/>
                  </a:lnTo>
                  <a:lnTo>
                    <a:pt x="677" y="286"/>
                  </a:lnTo>
                  <a:lnTo>
                    <a:pt x="670" y="301"/>
                  </a:lnTo>
                  <a:lnTo>
                    <a:pt x="670" y="303"/>
                  </a:lnTo>
                  <a:lnTo>
                    <a:pt x="672" y="303"/>
                  </a:lnTo>
                  <a:lnTo>
                    <a:pt x="681" y="290"/>
                  </a:lnTo>
                  <a:lnTo>
                    <a:pt x="683" y="290"/>
                  </a:lnTo>
                  <a:lnTo>
                    <a:pt x="683" y="288"/>
                  </a:lnTo>
                  <a:lnTo>
                    <a:pt x="681" y="286"/>
                  </a:lnTo>
                  <a:lnTo>
                    <a:pt x="681" y="284"/>
                  </a:lnTo>
                  <a:lnTo>
                    <a:pt x="683" y="280"/>
                  </a:lnTo>
                  <a:lnTo>
                    <a:pt x="683" y="278"/>
                  </a:lnTo>
                  <a:lnTo>
                    <a:pt x="685" y="276"/>
                  </a:lnTo>
                  <a:lnTo>
                    <a:pt x="687" y="274"/>
                  </a:lnTo>
                  <a:lnTo>
                    <a:pt x="689" y="271"/>
                  </a:lnTo>
                  <a:lnTo>
                    <a:pt x="689" y="271"/>
                  </a:lnTo>
                  <a:lnTo>
                    <a:pt x="691" y="269"/>
                  </a:lnTo>
                  <a:lnTo>
                    <a:pt x="691" y="269"/>
                  </a:lnTo>
                  <a:lnTo>
                    <a:pt x="693" y="269"/>
                  </a:lnTo>
                  <a:lnTo>
                    <a:pt x="693" y="269"/>
                  </a:lnTo>
                  <a:lnTo>
                    <a:pt x="695" y="265"/>
                  </a:lnTo>
                  <a:lnTo>
                    <a:pt x="698" y="265"/>
                  </a:lnTo>
                  <a:lnTo>
                    <a:pt x="700" y="259"/>
                  </a:lnTo>
                  <a:lnTo>
                    <a:pt x="702" y="244"/>
                  </a:lnTo>
                  <a:lnTo>
                    <a:pt x="702" y="244"/>
                  </a:lnTo>
                  <a:lnTo>
                    <a:pt x="704" y="242"/>
                  </a:lnTo>
                  <a:lnTo>
                    <a:pt x="704" y="242"/>
                  </a:lnTo>
                  <a:lnTo>
                    <a:pt x="704" y="240"/>
                  </a:lnTo>
                  <a:lnTo>
                    <a:pt x="704" y="238"/>
                  </a:lnTo>
                  <a:close/>
                  <a:moveTo>
                    <a:pt x="827" y="404"/>
                  </a:moveTo>
                  <a:lnTo>
                    <a:pt x="827" y="404"/>
                  </a:lnTo>
                  <a:lnTo>
                    <a:pt x="825" y="404"/>
                  </a:lnTo>
                  <a:lnTo>
                    <a:pt x="825" y="404"/>
                  </a:lnTo>
                  <a:lnTo>
                    <a:pt x="825" y="404"/>
                  </a:lnTo>
                  <a:lnTo>
                    <a:pt x="825" y="404"/>
                  </a:lnTo>
                  <a:lnTo>
                    <a:pt x="823" y="404"/>
                  </a:lnTo>
                  <a:lnTo>
                    <a:pt x="823" y="406"/>
                  </a:lnTo>
                  <a:lnTo>
                    <a:pt x="823" y="406"/>
                  </a:lnTo>
                  <a:lnTo>
                    <a:pt x="823" y="406"/>
                  </a:lnTo>
                  <a:lnTo>
                    <a:pt x="825" y="406"/>
                  </a:lnTo>
                  <a:lnTo>
                    <a:pt x="825" y="406"/>
                  </a:lnTo>
                  <a:lnTo>
                    <a:pt x="825" y="406"/>
                  </a:lnTo>
                  <a:lnTo>
                    <a:pt x="827" y="406"/>
                  </a:lnTo>
                  <a:lnTo>
                    <a:pt x="827" y="408"/>
                  </a:lnTo>
                  <a:lnTo>
                    <a:pt x="827" y="406"/>
                  </a:lnTo>
                  <a:lnTo>
                    <a:pt x="829" y="406"/>
                  </a:lnTo>
                  <a:lnTo>
                    <a:pt x="829" y="404"/>
                  </a:lnTo>
                  <a:lnTo>
                    <a:pt x="827" y="404"/>
                  </a:lnTo>
                  <a:close/>
                  <a:moveTo>
                    <a:pt x="610" y="278"/>
                  </a:moveTo>
                  <a:lnTo>
                    <a:pt x="610" y="276"/>
                  </a:lnTo>
                  <a:lnTo>
                    <a:pt x="610" y="278"/>
                  </a:lnTo>
                  <a:lnTo>
                    <a:pt x="607" y="278"/>
                  </a:lnTo>
                  <a:lnTo>
                    <a:pt x="607" y="278"/>
                  </a:lnTo>
                  <a:lnTo>
                    <a:pt x="607" y="278"/>
                  </a:lnTo>
                  <a:lnTo>
                    <a:pt x="607" y="280"/>
                  </a:lnTo>
                  <a:lnTo>
                    <a:pt x="607" y="280"/>
                  </a:lnTo>
                  <a:lnTo>
                    <a:pt x="607" y="282"/>
                  </a:lnTo>
                  <a:lnTo>
                    <a:pt x="607" y="282"/>
                  </a:lnTo>
                  <a:lnTo>
                    <a:pt x="607" y="282"/>
                  </a:lnTo>
                  <a:lnTo>
                    <a:pt x="610" y="282"/>
                  </a:lnTo>
                  <a:lnTo>
                    <a:pt x="610" y="280"/>
                  </a:lnTo>
                  <a:lnTo>
                    <a:pt x="610" y="278"/>
                  </a:lnTo>
                  <a:lnTo>
                    <a:pt x="610" y="278"/>
                  </a:lnTo>
                  <a:lnTo>
                    <a:pt x="610" y="278"/>
                  </a:lnTo>
                  <a:close/>
                  <a:moveTo>
                    <a:pt x="666" y="269"/>
                  </a:moveTo>
                  <a:lnTo>
                    <a:pt x="666" y="267"/>
                  </a:lnTo>
                  <a:lnTo>
                    <a:pt x="666" y="267"/>
                  </a:lnTo>
                  <a:lnTo>
                    <a:pt x="668" y="263"/>
                  </a:lnTo>
                  <a:lnTo>
                    <a:pt x="668" y="261"/>
                  </a:lnTo>
                  <a:lnTo>
                    <a:pt x="668" y="261"/>
                  </a:lnTo>
                  <a:lnTo>
                    <a:pt x="666" y="261"/>
                  </a:lnTo>
                  <a:lnTo>
                    <a:pt x="666" y="261"/>
                  </a:lnTo>
                  <a:lnTo>
                    <a:pt x="666" y="261"/>
                  </a:lnTo>
                  <a:lnTo>
                    <a:pt x="666" y="261"/>
                  </a:lnTo>
                  <a:lnTo>
                    <a:pt x="666" y="261"/>
                  </a:lnTo>
                  <a:lnTo>
                    <a:pt x="666" y="259"/>
                  </a:lnTo>
                  <a:lnTo>
                    <a:pt x="666" y="259"/>
                  </a:lnTo>
                  <a:lnTo>
                    <a:pt x="664" y="261"/>
                  </a:lnTo>
                  <a:lnTo>
                    <a:pt x="662" y="263"/>
                  </a:lnTo>
                  <a:lnTo>
                    <a:pt x="662" y="265"/>
                  </a:lnTo>
                  <a:lnTo>
                    <a:pt x="662" y="269"/>
                  </a:lnTo>
                  <a:lnTo>
                    <a:pt x="664" y="271"/>
                  </a:lnTo>
                  <a:lnTo>
                    <a:pt x="664" y="274"/>
                  </a:lnTo>
                  <a:lnTo>
                    <a:pt x="664" y="274"/>
                  </a:lnTo>
                  <a:lnTo>
                    <a:pt x="666" y="274"/>
                  </a:lnTo>
                  <a:lnTo>
                    <a:pt x="666" y="271"/>
                  </a:lnTo>
                  <a:lnTo>
                    <a:pt x="666" y="271"/>
                  </a:lnTo>
                  <a:lnTo>
                    <a:pt x="666" y="271"/>
                  </a:lnTo>
                  <a:lnTo>
                    <a:pt x="666" y="274"/>
                  </a:lnTo>
                  <a:lnTo>
                    <a:pt x="666" y="274"/>
                  </a:lnTo>
                  <a:lnTo>
                    <a:pt x="668" y="274"/>
                  </a:lnTo>
                  <a:lnTo>
                    <a:pt x="668" y="274"/>
                  </a:lnTo>
                  <a:lnTo>
                    <a:pt x="668" y="271"/>
                  </a:lnTo>
                  <a:lnTo>
                    <a:pt x="668" y="271"/>
                  </a:lnTo>
                  <a:lnTo>
                    <a:pt x="666" y="269"/>
                  </a:lnTo>
                  <a:close/>
                  <a:moveTo>
                    <a:pt x="624" y="259"/>
                  </a:moveTo>
                  <a:lnTo>
                    <a:pt x="622" y="257"/>
                  </a:lnTo>
                  <a:lnTo>
                    <a:pt x="620" y="259"/>
                  </a:lnTo>
                  <a:lnTo>
                    <a:pt x="620" y="259"/>
                  </a:lnTo>
                  <a:lnTo>
                    <a:pt x="622" y="261"/>
                  </a:lnTo>
                  <a:lnTo>
                    <a:pt x="622" y="263"/>
                  </a:lnTo>
                  <a:lnTo>
                    <a:pt x="624" y="263"/>
                  </a:lnTo>
                  <a:lnTo>
                    <a:pt x="624" y="263"/>
                  </a:lnTo>
                  <a:lnTo>
                    <a:pt x="624" y="263"/>
                  </a:lnTo>
                  <a:lnTo>
                    <a:pt x="626" y="263"/>
                  </a:lnTo>
                  <a:lnTo>
                    <a:pt x="626" y="261"/>
                  </a:lnTo>
                  <a:lnTo>
                    <a:pt x="626" y="261"/>
                  </a:lnTo>
                  <a:lnTo>
                    <a:pt x="628" y="259"/>
                  </a:lnTo>
                  <a:lnTo>
                    <a:pt x="626" y="259"/>
                  </a:lnTo>
                  <a:lnTo>
                    <a:pt x="624" y="259"/>
                  </a:lnTo>
                  <a:close/>
                  <a:moveTo>
                    <a:pt x="668" y="284"/>
                  </a:moveTo>
                  <a:lnTo>
                    <a:pt x="666" y="282"/>
                  </a:lnTo>
                  <a:lnTo>
                    <a:pt x="666" y="280"/>
                  </a:lnTo>
                  <a:lnTo>
                    <a:pt x="664" y="278"/>
                  </a:lnTo>
                  <a:lnTo>
                    <a:pt x="664" y="276"/>
                  </a:lnTo>
                  <a:lnTo>
                    <a:pt x="664" y="276"/>
                  </a:lnTo>
                  <a:lnTo>
                    <a:pt x="664" y="278"/>
                  </a:lnTo>
                  <a:lnTo>
                    <a:pt x="664" y="278"/>
                  </a:lnTo>
                  <a:lnTo>
                    <a:pt x="664" y="278"/>
                  </a:lnTo>
                  <a:lnTo>
                    <a:pt x="662" y="274"/>
                  </a:lnTo>
                  <a:lnTo>
                    <a:pt x="662" y="271"/>
                  </a:lnTo>
                  <a:lnTo>
                    <a:pt x="662" y="271"/>
                  </a:lnTo>
                  <a:lnTo>
                    <a:pt x="660" y="271"/>
                  </a:lnTo>
                  <a:lnTo>
                    <a:pt x="660" y="271"/>
                  </a:lnTo>
                  <a:lnTo>
                    <a:pt x="658" y="271"/>
                  </a:lnTo>
                  <a:lnTo>
                    <a:pt x="658" y="271"/>
                  </a:lnTo>
                  <a:lnTo>
                    <a:pt x="658" y="269"/>
                  </a:lnTo>
                  <a:lnTo>
                    <a:pt x="658" y="269"/>
                  </a:lnTo>
                  <a:lnTo>
                    <a:pt x="658" y="269"/>
                  </a:lnTo>
                  <a:lnTo>
                    <a:pt x="658" y="267"/>
                  </a:lnTo>
                  <a:lnTo>
                    <a:pt x="658" y="265"/>
                  </a:lnTo>
                  <a:lnTo>
                    <a:pt x="656" y="265"/>
                  </a:lnTo>
                  <a:lnTo>
                    <a:pt x="656" y="267"/>
                  </a:lnTo>
                  <a:lnTo>
                    <a:pt x="654" y="267"/>
                  </a:lnTo>
                  <a:lnTo>
                    <a:pt x="654" y="267"/>
                  </a:lnTo>
                  <a:lnTo>
                    <a:pt x="649" y="265"/>
                  </a:lnTo>
                  <a:lnTo>
                    <a:pt x="649" y="267"/>
                  </a:lnTo>
                  <a:lnTo>
                    <a:pt x="651" y="267"/>
                  </a:lnTo>
                  <a:lnTo>
                    <a:pt x="651" y="269"/>
                  </a:lnTo>
                  <a:lnTo>
                    <a:pt x="651" y="269"/>
                  </a:lnTo>
                  <a:lnTo>
                    <a:pt x="651" y="269"/>
                  </a:lnTo>
                  <a:lnTo>
                    <a:pt x="651" y="271"/>
                  </a:lnTo>
                  <a:lnTo>
                    <a:pt x="651" y="274"/>
                  </a:lnTo>
                  <a:lnTo>
                    <a:pt x="654" y="274"/>
                  </a:lnTo>
                  <a:lnTo>
                    <a:pt x="654" y="274"/>
                  </a:lnTo>
                  <a:lnTo>
                    <a:pt x="654" y="274"/>
                  </a:lnTo>
                  <a:lnTo>
                    <a:pt x="654" y="274"/>
                  </a:lnTo>
                  <a:lnTo>
                    <a:pt x="654" y="274"/>
                  </a:lnTo>
                  <a:lnTo>
                    <a:pt x="654" y="276"/>
                  </a:lnTo>
                  <a:lnTo>
                    <a:pt x="654" y="276"/>
                  </a:lnTo>
                  <a:lnTo>
                    <a:pt x="654" y="276"/>
                  </a:lnTo>
                  <a:lnTo>
                    <a:pt x="654" y="276"/>
                  </a:lnTo>
                  <a:lnTo>
                    <a:pt x="656" y="276"/>
                  </a:lnTo>
                  <a:lnTo>
                    <a:pt x="656" y="276"/>
                  </a:lnTo>
                  <a:lnTo>
                    <a:pt x="656" y="280"/>
                  </a:lnTo>
                  <a:lnTo>
                    <a:pt x="656" y="280"/>
                  </a:lnTo>
                  <a:lnTo>
                    <a:pt x="656" y="280"/>
                  </a:lnTo>
                  <a:lnTo>
                    <a:pt x="656" y="282"/>
                  </a:lnTo>
                  <a:lnTo>
                    <a:pt x="656" y="288"/>
                  </a:lnTo>
                  <a:lnTo>
                    <a:pt x="656" y="288"/>
                  </a:lnTo>
                  <a:lnTo>
                    <a:pt x="656" y="288"/>
                  </a:lnTo>
                  <a:lnTo>
                    <a:pt x="654" y="288"/>
                  </a:lnTo>
                  <a:lnTo>
                    <a:pt x="654" y="288"/>
                  </a:lnTo>
                  <a:lnTo>
                    <a:pt x="654" y="290"/>
                  </a:lnTo>
                  <a:lnTo>
                    <a:pt x="654" y="290"/>
                  </a:lnTo>
                  <a:lnTo>
                    <a:pt x="654" y="290"/>
                  </a:lnTo>
                  <a:lnTo>
                    <a:pt x="656" y="290"/>
                  </a:lnTo>
                  <a:lnTo>
                    <a:pt x="656" y="292"/>
                  </a:lnTo>
                  <a:lnTo>
                    <a:pt x="656" y="295"/>
                  </a:lnTo>
                  <a:lnTo>
                    <a:pt x="656" y="295"/>
                  </a:lnTo>
                  <a:lnTo>
                    <a:pt x="656" y="295"/>
                  </a:lnTo>
                  <a:lnTo>
                    <a:pt x="656" y="297"/>
                  </a:lnTo>
                  <a:lnTo>
                    <a:pt x="658" y="297"/>
                  </a:lnTo>
                  <a:lnTo>
                    <a:pt x="658" y="297"/>
                  </a:lnTo>
                  <a:lnTo>
                    <a:pt x="658" y="297"/>
                  </a:lnTo>
                  <a:lnTo>
                    <a:pt x="660" y="295"/>
                  </a:lnTo>
                  <a:lnTo>
                    <a:pt x="660" y="295"/>
                  </a:lnTo>
                  <a:lnTo>
                    <a:pt x="660" y="295"/>
                  </a:lnTo>
                  <a:lnTo>
                    <a:pt x="660" y="295"/>
                  </a:lnTo>
                  <a:lnTo>
                    <a:pt x="660" y="297"/>
                  </a:lnTo>
                  <a:lnTo>
                    <a:pt x="662" y="299"/>
                  </a:lnTo>
                  <a:lnTo>
                    <a:pt x="664" y="299"/>
                  </a:lnTo>
                  <a:lnTo>
                    <a:pt x="664" y="297"/>
                  </a:lnTo>
                  <a:lnTo>
                    <a:pt x="666" y="295"/>
                  </a:lnTo>
                  <a:lnTo>
                    <a:pt x="666" y="292"/>
                  </a:lnTo>
                  <a:lnTo>
                    <a:pt x="668" y="290"/>
                  </a:lnTo>
                  <a:lnTo>
                    <a:pt x="668" y="286"/>
                  </a:lnTo>
                  <a:lnTo>
                    <a:pt x="668" y="284"/>
                  </a:lnTo>
                  <a:lnTo>
                    <a:pt x="668" y="284"/>
                  </a:lnTo>
                  <a:close/>
                  <a:moveTo>
                    <a:pt x="842" y="383"/>
                  </a:moveTo>
                  <a:lnTo>
                    <a:pt x="840" y="385"/>
                  </a:lnTo>
                  <a:lnTo>
                    <a:pt x="840" y="385"/>
                  </a:lnTo>
                  <a:lnTo>
                    <a:pt x="838" y="385"/>
                  </a:lnTo>
                  <a:lnTo>
                    <a:pt x="838" y="385"/>
                  </a:lnTo>
                  <a:lnTo>
                    <a:pt x="838" y="385"/>
                  </a:lnTo>
                  <a:lnTo>
                    <a:pt x="838" y="387"/>
                  </a:lnTo>
                  <a:lnTo>
                    <a:pt x="836" y="387"/>
                  </a:lnTo>
                  <a:lnTo>
                    <a:pt x="836" y="387"/>
                  </a:lnTo>
                  <a:lnTo>
                    <a:pt x="836" y="387"/>
                  </a:lnTo>
                  <a:lnTo>
                    <a:pt x="836" y="387"/>
                  </a:lnTo>
                  <a:lnTo>
                    <a:pt x="836" y="387"/>
                  </a:lnTo>
                  <a:lnTo>
                    <a:pt x="834" y="387"/>
                  </a:lnTo>
                  <a:lnTo>
                    <a:pt x="834" y="387"/>
                  </a:lnTo>
                  <a:lnTo>
                    <a:pt x="836" y="389"/>
                  </a:lnTo>
                  <a:lnTo>
                    <a:pt x="836" y="389"/>
                  </a:lnTo>
                  <a:lnTo>
                    <a:pt x="840" y="385"/>
                  </a:lnTo>
                  <a:lnTo>
                    <a:pt x="842" y="385"/>
                  </a:lnTo>
                  <a:lnTo>
                    <a:pt x="842" y="383"/>
                  </a:lnTo>
                  <a:lnTo>
                    <a:pt x="842" y="383"/>
                  </a:lnTo>
                  <a:lnTo>
                    <a:pt x="842" y="383"/>
                  </a:lnTo>
                  <a:close/>
                  <a:moveTo>
                    <a:pt x="850" y="343"/>
                  </a:moveTo>
                  <a:lnTo>
                    <a:pt x="848" y="339"/>
                  </a:lnTo>
                  <a:lnTo>
                    <a:pt x="848" y="339"/>
                  </a:lnTo>
                  <a:lnTo>
                    <a:pt x="848" y="339"/>
                  </a:lnTo>
                  <a:lnTo>
                    <a:pt x="848" y="341"/>
                  </a:lnTo>
                  <a:lnTo>
                    <a:pt x="846" y="343"/>
                  </a:lnTo>
                  <a:lnTo>
                    <a:pt x="848" y="345"/>
                  </a:lnTo>
                  <a:lnTo>
                    <a:pt x="848" y="345"/>
                  </a:lnTo>
                  <a:lnTo>
                    <a:pt x="850" y="343"/>
                  </a:lnTo>
                  <a:close/>
                  <a:moveTo>
                    <a:pt x="857" y="349"/>
                  </a:moveTo>
                  <a:lnTo>
                    <a:pt x="855" y="349"/>
                  </a:lnTo>
                  <a:lnTo>
                    <a:pt x="853" y="351"/>
                  </a:lnTo>
                  <a:lnTo>
                    <a:pt x="853" y="351"/>
                  </a:lnTo>
                  <a:lnTo>
                    <a:pt x="850" y="353"/>
                  </a:lnTo>
                  <a:lnTo>
                    <a:pt x="850" y="353"/>
                  </a:lnTo>
                  <a:lnTo>
                    <a:pt x="853" y="356"/>
                  </a:lnTo>
                  <a:lnTo>
                    <a:pt x="853" y="356"/>
                  </a:lnTo>
                  <a:lnTo>
                    <a:pt x="853" y="356"/>
                  </a:lnTo>
                  <a:lnTo>
                    <a:pt x="855" y="356"/>
                  </a:lnTo>
                  <a:lnTo>
                    <a:pt x="855" y="356"/>
                  </a:lnTo>
                  <a:lnTo>
                    <a:pt x="855" y="356"/>
                  </a:lnTo>
                  <a:lnTo>
                    <a:pt x="855" y="358"/>
                  </a:lnTo>
                  <a:lnTo>
                    <a:pt x="857" y="353"/>
                  </a:lnTo>
                  <a:lnTo>
                    <a:pt x="859" y="351"/>
                  </a:lnTo>
                  <a:lnTo>
                    <a:pt x="859" y="349"/>
                  </a:lnTo>
                  <a:lnTo>
                    <a:pt x="857" y="349"/>
                  </a:lnTo>
                  <a:lnTo>
                    <a:pt x="857" y="349"/>
                  </a:lnTo>
                  <a:close/>
                  <a:moveTo>
                    <a:pt x="850" y="322"/>
                  </a:moveTo>
                  <a:lnTo>
                    <a:pt x="850" y="320"/>
                  </a:lnTo>
                  <a:lnTo>
                    <a:pt x="853" y="320"/>
                  </a:lnTo>
                  <a:lnTo>
                    <a:pt x="853" y="320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0" y="320"/>
                  </a:lnTo>
                  <a:lnTo>
                    <a:pt x="846" y="322"/>
                  </a:lnTo>
                  <a:lnTo>
                    <a:pt x="846" y="320"/>
                  </a:lnTo>
                  <a:lnTo>
                    <a:pt x="846" y="320"/>
                  </a:lnTo>
                  <a:lnTo>
                    <a:pt x="846" y="318"/>
                  </a:lnTo>
                  <a:lnTo>
                    <a:pt x="846" y="318"/>
                  </a:lnTo>
                  <a:lnTo>
                    <a:pt x="846" y="318"/>
                  </a:lnTo>
                  <a:lnTo>
                    <a:pt x="848" y="318"/>
                  </a:lnTo>
                  <a:lnTo>
                    <a:pt x="848" y="320"/>
                  </a:lnTo>
                  <a:lnTo>
                    <a:pt x="848" y="320"/>
                  </a:lnTo>
                  <a:lnTo>
                    <a:pt x="848" y="320"/>
                  </a:lnTo>
                  <a:lnTo>
                    <a:pt x="850" y="318"/>
                  </a:lnTo>
                  <a:lnTo>
                    <a:pt x="853" y="316"/>
                  </a:lnTo>
                  <a:lnTo>
                    <a:pt x="853" y="313"/>
                  </a:lnTo>
                  <a:lnTo>
                    <a:pt x="853" y="311"/>
                  </a:lnTo>
                  <a:lnTo>
                    <a:pt x="853" y="311"/>
                  </a:lnTo>
                  <a:lnTo>
                    <a:pt x="848" y="305"/>
                  </a:lnTo>
                  <a:lnTo>
                    <a:pt x="848" y="305"/>
                  </a:lnTo>
                  <a:lnTo>
                    <a:pt x="848" y="305"/>
                  </a:lnTo>
                  <a:lnTo>
                    <a:pt x="844" y="303"/>
                  </a:lnTo>
                  <a:lnTo>
                    <a:pt x="842" y="301"/>
                  </a:lnTo>
                  <a:lnTo>
                    <a:pt x="842" y="299"/>
                  </a:lnTo>
                  <a:lnTo>
                    <a:pt x="842" y="299"/>
                  </a:lnTo>
                  <a:lnTo>
                    <a:pt x="842" y="299"/>
                  </a:lnTo>
                  <a:lnTo>
                    <a:pt x="840" y="299"/>
                  </a:lnTo>
                  <a:lnTo>
                    <a:pt x="838" y="299"/>
                  </a:lnTo>
                  <a:lnTo>
                    <a:pt x="838" y="299"/>
                  </a:lnTo>
                  <a:lnTo>
                    <a:pt x="838" y="297"/>
                  </a:lnTo>
                  <a:lnTo>
                    <a:pt x="840" y="297"/>
                  </a:lnTo>
                  <a:lnTo>
                    <a:pt x="840" y="297"/>
                  </a:lnTo>
                  <a:lnTo>
                    <a:pt x="842" y="297"/>
                  </a:lnTo>
                  <a:lnTo>
                    <a:pt x="842" y="297"/>
                  </a:lnTo>
                  <a:lnTo>
                    <a:pt x="842" y="297"/>
                  </a:lnTo>
                  <a:lnTo>
                    <a:pt x="842" y="297"/>
                  </a:lnTo>
                  <a:lnTo>
                    <a:pt x="844" y="299"/>
                  </a:lnTo>
                  <a:lnTo>
                    <a:pt x="844" y="299"/>
                  </a:lnTo>
                  <a:lnTo>
                    <a:pt x="844" y="299"/>
                  </a:lnTo>
                  <a:lnTo>
                    <a:pt x="844" y="299"/>
                  </a:lnTo>
                  <a:lnTo>
                    <a:pt x="844" y="299"/>
                  </a:lnTo>
                  <a:lnTo>
                    <a:pt x="844" y="299"/>
                  </a:lnTo>
                  <a:lnTo>
                    <a:pt x="846" y="299"/>
                  </a:lnTo>
                  <a:lnTo>
                    <a:pt x="848" y="301"/>
                  </a:lnTo>
                  <a:lnTo>
                    <a:pt x="848" y="301"/>
                  </a:lnTo>
                  <a:lnTo>
                    <a:pt x="848" y="301"/>
                  </a:lnTo>
                  <a:lnTo>
                    <a:pt x="850" y="301"/>
                  </a:lnTo>
                  <a:lnTo>
                    <a:pt x="848" y="299"/>
                  </a:lnTo>
                  <a:lnTo>
                    <a:pt x="848" y="299"/>
                  </a:lnTo>
                  <a:lnTo>
                    <a:pt x="848" y="299"/>
                  </a:lnTo>
                  <a:lnTo>
                    <a:pt x="850" y="299"/>
                  </a:lnTo>
                  <a:lnTo>
                    <a:pt x="848" y="297"/>
                  </a:lnTo>
                  <a:lnTo>
                    <a:pt x="846" y="297"/>
                  </a:lnTo>
                  <a:lnTo>
                    <a:pt x="846" y="295"/>
                  </a:lnTo>
                  <a:lnTo>
                    <a:pt x="846" y="295"/>
                  </a:lnTo>
                  <a:lnTo>
                    <a:pt x="846" y="292"/>
                  </a:lnTo>
                  <a:lnTo>
                    <a:pt x="848" y="295"/>
                  </a:lnTo>
                  <a:lnTo>
                    <a:pt x="848" y="295"/>
                  </a:lnTo>
                  <a:lnTo>
                    <a:pt x="848" y="295"/>
                  </a:lnTo>
                  <a:lnTo>
                    <a:pt x="848" y="295"/>
                  </a:lnTo>
                  <a:lnTo>
                    <a:pt x="850" y="295"/>
                  </a:lnTo>
                  <a:lnTo>
                    <a:pt x="850" y="295"/>
                  </a:lnTo>
                  <a:lnTo>
                    <a:pt x="853" y="292"/>
                  </a:lnTo>
                  <a:lnTo>
                    <a:pt x="853" y="292"/>
                  </a:lnTo>
                  <a:lnTo>
                    <a:pt x="853" y="292"/>
                  </a:lnTo>
                  <a:lnTo>
                    <a:pt x="853" y="292"/>
                  </a:lnTo>
                  <a:lnTo>
                    <a:pt x="853" y="292"/>
                  </a:lnTo>
                  <a:lnTo>
                    <a:pt x="850" y="292"/>
                  </a:lnTo>
                  <a:lnTo>
                    <a:pt x="850" y="292"/>
                  </a:lnTo>
                  <a:lnTo>
                    <a:pt x="850" y="290"/>
                  </a:lnTo>
                  <a:lnTo>
                    <a:pt x="850" y="288"/>
                  </a:lnTo>
                  <a:lnTo>
                    <a:pt x="848" y="288"/>
                  </a:lnTo>
                  <a:lnTo>
                    <a:pt x="848" y="288"/>
                  </a:lnTo>
                  <a:lnTo>
                    <a:pt x="848" y="288"/>
                  </a:lnTo>
                  <a:lnTo>
                    <a:pt x="846" y="288"/>
                  </a:lnTo>
                  <a:lnTo>
                    <a:pt x="848" y="286"/>
                  </a:lnTo>
                  <a:lnTo>
                    <a:pt x="848" y="284"/>
                  </a:lnTo>
                  <a:lnTo>
                    <a:pt x="850" y="284"/>
                  </a:lnTo>
                  <a:lnTo>
                    <a:pt x="850" y="282"/>
                  </a:lnTo>
                  <a:lnTo>
                    <a:pt x="850" y="282"/>
                  </a:lnTo>
                  <a:lnTo>
                    <a:pt x="850" y="280"/>
                  </a:lnTo>
                  <a:lnTo>
                    <a:pt x="850" y="280"/>
                  </a:lnTo>
                  <a:lnTo>
                    <a:pt x="850" y="280"/>
                  </a:lnTo>
                  <a:lnTo>
                    <a:pt x="850" y="280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78"/>
                  </a:lnTo>
                  <a:lnTo>
                    <a:pt x="848" y="276"/>
                  </a:lnTo>
                  <a:lnTo>
                    <a:pt x="850" y="274"/>
                  </a:lnTo>
                  <a:lnTo>
                    <a:pt x="853" y="271"/>
                  </a:lnTo>
                  <a:lnTo>
                    <a:pt x="850" y="269"/>
                  </a:lnTo>
                  <a:lnTo>
                    <a:pt x="848" y="267"/>
                  </a:lnTo>
                  <a:lnTo>
                    <a:pt x="846" y="267"/>
                  </a:lnTo>
                  <a:lnTo>
                    <a:pt x="846" y="267"/>
                  </a:lnTo>
                  <a:lnTo>
                    <a:pt x="846" y="265"/>
                  </a:lnTo>
                  <a:lnTo>
                    <a:pt x="844" y="265"/>
                  </a:lnTo>
                  <a:lnTo>
                    <a:pt x="844" y="265"/>
                  </a:lnTo>
                  <a:lnTo>
                    <a:pt x="842" y="265"/>
                  </a:lnTo>
                  <a:lnTo>
                    <a:pt x="840" y="265"/>
                  </a:lnTo>
                  <a:lnTo>
                    <a:pt x="840" y="263"/>
                  </a:lnTo>
                  <a:lnTo>
                    <a:pt x="842" y="263"/>
                  </a:lnTo>
                  <a:lnTo>
                    <a:pt x="844" y="263"/>
                  </a:lnTo>
                  <a:lnTo>
                    <a:pt x="844" y="263"/>
                  </a:lnTo>
                  <a:lnTo>
                    <a:pt x="844" y="263"/>
                  </a:lnTo>
                  <a:lnTo>
                    <a:pt x="844" y="263"/>
                  </a:lnTo>
                  <a:lnTo>
                    <a:pt x="844" y="263"/>
                  </a:lnTo>
                  <a:lnTo>
                    <a:pt x="844" y="261"/>
                  </a:lnTo>
                  <a:lnTo>
                    <a:pt x="844" y="261"/>
                  </a:lnTo>
                  <a:lnTo>
                    <a:pt x="844" y="261"/>
                  </a:lnTo>
                  <a:lnTo>
                    <a:pt x="846" y="259"/>
                  </a:lnTo>
                  <a:lnTo>
                    <a:pt x="846" y="259"/>
                  </a:lnTo>
                  <a:lnTo>
                    <a:pt x="846" y="259"/>
                  </a:lnTo>
                  <a:lnTo>
                    <a:pt x="842" y="257"/>
                  </a:lnTo>
                  <a:lnTo>
                    <a:pt x="842" y="257"/>
                  </a:lnTo>
                  <a:lnTo>
                    <a:pt x="842" y="255"/>
                  </a:lnTo>
                  <a:lnTo>
                    <a:pt x="840" y="253"/>
                  </a:lnTo>
                  <a:lnTo>
                    <a:pt x="840" y="250"/>
                  </a:lnTo>
                  <a:lnTo>
                    <a:pt x="840" y="250"/>
                  </a:lnTo>
                  <a:lnTo>
                    <a:pt x="840" y="250"/>
                  </a:lnTo>
                  <a:lnTo>
                    <a:pt x="836" y="248"/>
                  </a:lnTo>
                  <a:lnTo>
                    <a:pt x="834" y="248"/>
                  </a:lnTo>
                  <a:lnTo>
                    <a:pt x="832" y="250"/>
                  </a:lnTo>
                  <a:lnTo>
                    <a:pt x="829" y="250"/>
                  </a:lnTo>
                  <a:lnTo>
                    <a:pt x="829" y="250"/>
                  </a:lnTo>
                  <a:lnTo>
                    <a:pt x="829" y="250"/>
                  </a:lnTo>
                  <a:lnTo>
                    <a:pt x="829" y="250"/>
                  </a:lnTo>
                  <a:lnTo>
                    <a:pt x="829" y="250"/>
                  </a:lnTo>
                  <a:lnTo>
                    <a:pt x="829" y="250"/>
                  </a:lnTo>
                  <a:lnTo>
                    <a:pt x="829" y="250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7" y="250"/>
                  </a:lnTo>
                  <a:lnTo>
                    <a:pt x="827" y="255"/>
                  </a:lnTo>
                  <a:lnTo>
                    <a:pt x="827" y="257"/>
                  </a:lnTo>
                  <a:lnTo>
                    <a:pt x="827" y="257"/>
                  </a:lnTo>
                  <a:lnTo>
                    <a:pt x="827" y="257"/>
                  </a:lnTo>
                  <a:lnTo>
                    <a:pt x="827" y="259"/>
                  </a:lnTo>
                  <a:lnTo>
                    <a:pt x="827" y="261"/>
                  </a:lnTo>
                  <a:lnTo>
                    <a:pt x="827" y="261"/>
                  </a:lnTo>
                  <a:lnTo>
                    <a:pt x="827" y="261"/>
                  </a:lnTo>
                  <a:lnTo>
                    <a:pt x="827" y="261"/>
                  </a:lnTo>
                  <a:lnTo>
                    <a:pt x="827" y="261"/>
                  </a:lnTo>
                  <a:lnTo>
                    <a:pt x="827" y="261"/>
                  </a:lnTo>
                  <a:lnTo>
                    <a:pt x="825" y="261"/>
                  </a:lnTo>
                  <a:lnTo>
                    <a:pt x="825" y="261"/>
                  </a:lnTo>
                  <a:lnTo>
                    <a:pt x="823" y="261"/>
                  </a:lnTo>
                  <a:lnTo>
                    <a:pt x="823" y="259"/>
                  </a:lnTo>
                  <a:lnTo>
                    <a:pt x="823" y="259"/>
                  </a:lnTo>
                  <a:lnTo>
                    <a:pt x="823" y="259"/>
                  </a:lnTo>
                  <a:lnTo>
                    <a:pt x="819" y="267"/>
                  </a:lnTo>
                  <a:lnTo>
                    <a:pt x="819" y="267"/>
                  </a:lnTo>
                  <a:lnTo>
                    <a:pt x="819" y="269"/>
                  </a:lnTo>
                  <a:lnTo>
                    <a:pt x="817" y="271"/>
                  </a:lnTo>
                  <a:lnTo>
                    <a:pt x="817" y="271"/>
                  </a:lnTo>
                  <a:lnTo>
                    <a:pt x="815" y="271"/>
                  </a:lnTo>
                  <a:lnTo>
                    <a:pt x="815" y="274"/>
                  </a:lnTo>
                  <a:lnTo>
                    <a:pt x="815" y="276"/>
                  </a:lnTo>
                  <a:lnTo>
                    <a:pt x="813" y="276"/>
                  </a:lnTo>
                  <a:lnTo>
                    <a:pt x="811" y="276"/>
                  </a:lnTo>
                  <a:lnTo>
                    <a:pt x="811" y="276"/>
                  </a:lnTo>
                  <a:lnTo>
                    <a:pt x="809" y="276"/>
                  </a:lnTo>
                  <a:lnTo>
                    <a:pt x="809" y="274"/>
                  </a:lnTo>
                  <a:lnTo>
                    <a:pt x="806" y="274"/>
                  </a:lnTo>
                  <a:lnTo>
                    <a:pt x="804" y="274"/>
                  </a:lnTo>
                  <a:lnTo>
                    <a:pt x="802" y="274"/>
                  </a:lnTo>
                  <a:lnTo>
                    <a:pt x="800" y="274"/>
                  </a:lnTo>
                  <a:lnTo>
                    <a:pt x="800" y="276"/>
                  </a:lnTo>
                  <a:lnTo>
                    <a:pt x="800" y="278"/>
                  </a:lnTo>
                  <a:lnTo>
                    <a:pt x="802" y="280"/>
                  </a:lnTo>
                  <a:lnTo>
                    <a:pt x="802" y="280"/>
                  </a:lnTo>
                  <a:lnTo>
                    <a:pt x="802" y="280"/>
                  </a:lnTo>
                  <a:lnTo>
                    <a:pt x="802" y="280"/>
                  </a:lnTo>
                  <a:lnTo>
                    <a:pt x="804" y="280"/>
                  </a:lnTo>
                  <a:lnTo>
                    <a:pt x="804" y="282"/>
                  </a:lnTo>
                  <a:lnTo>
                    <a:pt x="806" y="282"/>
                  </a:lnTo>
                  <a:lnTo>
                    <a:pt x="809" y="282"/>
                  </a:lnTo>
                  <a:lnTo>
                    <a:pt x="811" y="282"/>
                  </a:lnTo>
                  <a:lnTo>
                    <a:pt x="811" y="282"/>
                  </a:lnTo>
                  <a:lnTo>
                    <a:pt x="811" y="284"/>
                  </a:lnTo>
                  <a:lnTo>
                    <a:pt x="811" y="284"/>
                  </a:lnTo>
                  <a:lnTo>
                    <a:pt x="811" y="284"/>
                  </a:lnTo>
                  <a:lnTo>
                    <a:pt x="813" y="284"/>
                  </a:lnTo>
                  <a:lnTo>
                    <a:pt x="813" y="284"/>
                  </a:lnTo>
                  <a:lnTo>
                    <a:pt x="815" y="282"/>
                  </a:lnTo>
                  <a:lnTo>
                    <a:pt x="817" y="284"/>
                  </a:lnTo>
                  <a:lnTo>
                    <a:pt x="815" y="284"/>
                  </a:lnTo>
                  <a:lnTo>
                    <a:pt x="813" y="286"/>
                  </a:lnTo>
                  <a:lnTo>
                    <a:pt x="813" y="288"/>
                  </a:lnTo>
                  <a:lnTo>
                    <a:pt x="815" y="288"/>
                  </a:lnTo>
                  <a:lnTo>
                    <a:pt x="811" y="290"/>
                  </a:lnTo>
                  <a:lnTo>
                    <a:pt x="811" y="292"/>
                  </a:lnTo>
                  <a:lnTo>
                    <a:pt x="811" y="295"/>
                  </a:lnTo>
                  <a:lnTo>
                    <a:pt x="809" y="295"/>
                  </a:lnTo>
                  <a:lnTo>
                    <a:pt x="809" y="295"/>
                  </a:lnTo>
                  <a:lnTo>
                    <a:pt x="806" y="297"/>
                  </a:lnTo>
                  <a:lnTo>
                    <a:pt x="811" y="299"/>
                  </a:lnTo>
                  <a:lnTo>
                    <a:pt x="811" y="301"/>
                  </a:lnTo>
                  <a:lnTo>
                    <a:pt x="811" y="301"/>
                  </a:lnTo>
                  <a:lnTo>
                    <a:pt x="809" y="303"/>
                  </a:lnTo>
                  <a:lnTo>
                    <a:pt x="809" y="305"/>
                  </a:lnTo>
                  <a:lnTo>
                    <a:pt x="809" y="305"/>
                  </a:lnTo>
                  <a:lnTo>
                    <a:pt x="809" y="305"/>
                  </a:lnTo>
                  <a:lnTo>
                    <a:pt x="809" y="305"/>
                  </a:lnTo>
                  <a:lnTo>
                    <a:pt x="811" y="305"/>
                  </a:lnTo>
                  <a:lnTo>
                    <a:pt x="811" y="305"/>
                  </a:lnTo>
                  <a:lnTo>
                    <a:pt x="811" y="305"/>
                  </a:lnTo>
                  <a:lnTo>
                    <a:pt x="813" y="305"/>
                  </a:lnTo>
                  <a:lnTo>
                    <a:pt x="815" y="305"/>
                  </a:lnTo>
                  <a:lnTo>
                    <a:pt x="815" y="307"/>
                  </a:lnTo>
                  <a:lnTo>
                    <a:pt x="813" y="307"/>
                  </a:lnTo>
                  <a:lnTo>
                    <a:pt x="813" y="307"/>
                  </a:lnTo>
                  <a:lnTo>
                    <a:pt x="811" y="307"/>
                  </a:lnTo>
                  <a:lnTo>
                    <a:pt x="811" y="307"/>
                  </a:lnTo>
                  <a:lnTo>
                    <a:pt x="809" y="309"/>
                  </a:lnTo>
                  <a:lnTo>
                    <a:pt x="806" y="311"/>
                  </a:lnTo>
                  <a:lnTo>
                    <a:pt x="806" y="316"/>
                  </a:lnTo>
                  <a:lnTo>
                    <a:pt x="809" y="318"/>
                  </a:lnTo>
                  <a:lnTo>
                    <a:pt x="811" y="322"/>
                  </a:lnTo>
                  <a:lnTo>
                    <a:pt x="811" y="322"/>
                  </a:lnTo>
                  <a:lnTo>
                    <a:pt x="811" y="324"/>
                  </a:lnTo>
                  <a:lnTo>
                    <a:pt x="811" y="324"/>
                  </a:lnTo>
                  <a:lnTo>
                    <a:pt x="811" y="324"/>
                  </a:lnTo>
                  <a:lnTo>
                    <a:pt x="811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3" y="324"/>
                  </a:lnTo>
                  <a:lnTo>
                    <a:pt x="815" y="324"/>
                  </a:lnTo>
                  <a:lnTo>
                    <a:pt x="815" y="324"/>
                  </a:lnTo>
                  <a:lnTo>
                    <a:pt x="815" y="324"/>
                  </a:lnTo>
                  <a:lnTo>
                    <a:pt x="815" y="326"/>
                  </a:lnTo>
                  <a:lnTo>
                    <a:pt x="815" y="326"/>
                  </a:lnTo>
                  <a:lnTo>
                    <a:pt x="815" y="326"/>
                  </a:lnTo>
                  <a:lnTo>
                    <a:pt x="815" y="326"/>
                  </a:lnTo>
                  <a:lnTo>
                    <a:pt x="815" y="326"/>
                  </a:lnTo>
                  <a:lnTo>
                    <a:pt x="817" y="326"/>
                  </a:lnTo>
                  <a:lnTo>
                    <a:pt x="819" y="326"/>
                  </a:lnTo>
                  <a:lnTo>
                    <a:pt x="821" y="328"/>
                  </a:lnTo>
                  <a:lnTo>
                    <a:pt x="823" y="328"/>
                  </a:lnTo>
                  <a:lnTo>
                    <a:pt x="823" y="330"/>
                  </a:lnTo>
                  <a:lnTo>
                    <a:pt x="823" y="330"/>
                  </a:lnTo>
                  <a:lnTo>
                    <a:pt x="827" y="332"/>
                  </a:lnTo>
                  <a:lnTo>
                    <a:pt x="827" y="332"/>
                  </a:lnTo>
                  <a:lnTo>
                    <a:pt x="829" y="332"/>
                  </a:lnTo>
                  <a:lnTo>
                    <a:pt x="829" y="332"/>
                  </a:lnTo>
                  <a:lnTo>
                    <a:pt x="832" y="334"/>
                  </a:lnTo>
                  <a:lnTo>
                    <a:pt x="832" y="334"/>
                  </a:lnTo>
                  <a:lnTo>
                    <a:pt x="832" y="334"/>
                  </a:lnTo>
                  <a:lnTo>
                    <a:pt x="832" y="337"/>
                  </a:lnTo>
                  <a:lnTo>
                    <a:pt x="832" y="337"/>
                  </a:lnTo>
                  <a:lnTo>
                    <a:pt x="832" y="337"/>
                  </a:lnTo>
                  <a:lnTo>
                    <a:pt x="834" y="337"/>
                  </a:lnTo>
                  <a:lnTo>
                    <a:pt x="834" y="337"/>
                  </a:lnTo>
                  <a:lnTo>
                    <a:pt x="836" y="337"/>
                  </a:lnTo>
                  <a:lnTo>
                    <a:pt x="838" y="339"/>
                  </a:lnTo>
                  <a:lnTo>
                    <a:pt x="838" y="339"/>
                  </a:lnTo>
                  <a:lnTo>
                    <a:pt x="838" y="339"/>
                  </a:lnTo>
                  <a:lnTo>
                    <a:pt x="840" y="337"/>
                  </a:lnTo>
                  <a:lnTo>
                    <a:pt x="846" y="334"/>
                  </a:lnTo>
                  <a:lnTo>
                    <a:pt x="848" y="332"/>
                  </a:lnTo>
                  <a:lnTo>
                    <a:pt x="848" y="330"/>
                  </a:lnTo>
                  <a:lnTo>
                    <a:pt x="850" y="326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50" y="322"/>
                  </a:lnTo>
                  <a:lnTo>
                    <a:pt x="850" y="322"/>
                  </a:lnTo>
                  <a:close/>
                  <a:moveTo>
                    <a:pt x="863" y="332"/>
                  </a:moveTo>
                  <a:lnTo>
                    <a:pt x="863" y="330"/>
                  </a:lnTo>
                  <a:lnTo>
                    <a:pt x="863" y="330"/>
                  </a:lnTo>
                  <a:lnTo>
                    <a:pt x="863" y="330"/>
                  </a:lnTo>
                  <a:lnTo>
                    <a:pt x="863" y="330"/>
                  </a:lnTo>
                  <a:lnTo>
                    <a:pt x="861" y="330"/>
                  </a:lnTo>
                  <a:lnTo>
                    <a:pt x="861" y="330"/>
                  </a:lnTo>
                  <a:lnTo>
                    <a:pt x="861" y="330"/>
                  </a:lnTo>
                  <a:lnTo>
                    <a:pt x="859" y="330"/>
                  </a:lnTo>
                  <a:lnTo>
                    <a:pt x="859" y="330"/>
                  </a:lnTo>
                  <a:lnTo>
                    <a:pt x="859" y="332"/>
                  </a:lnTo>
                  <a:lnTo>
                    <a:pt x="859" y="337"/>
                  </a:lnTo>
                  <a:lnTo>
                    <a:pt x="857" y="337"/>
                  </a:lnTo>
                  <a:lnTo>
                    <a:pt x="855" y="339"/>
                  </a:lnTo>
                  <a:lnTo>
                    <a:pt x="855" y="341"/>
                  </a:lnTo>
                  <a:lnTo>
                    <a:pt x="857" y="343"/>
                  </a:lnTo>
                  <a:lnTo>
                    <a:pt x="857" y="345"/>
                  </a:lnTo>
                  <a:lnTo>
                    <a:pt x="855" y="345"/>
                  </a:lnTo>
                  <a:lnTo>
                    <a:pt x="855" y="345"/>
                  </a:lnTo>
                  <a:lnTo>
                    <a:pt x="857" y="347"/>
                  </a:lnTo>
                  <a:lnTo>
                    <a:pt x="857" y="347"/>
                  </a:lnTo>
                  <a:lnTo>
                    <a:pt x="857" y="347"/>
                  </a:lnTo>
                  <a:lnTo>
                    <a:pt x="859" y="347"/>
                  </a:lnTo>
                  <a:lnTo>
                    <a:pt x="859" y="347"/>
                  </a:lnTo>
                  <a:lnTo>
                    <a:pt x="859" y="347"/>
                  </a:lnTo>
                  <a:lnTo>
                    <a:pt x="859" y="347"/>
                  </a:lnTo>
                  <a:lnTo>
                    <a:pt x="861" y="341"/>
                  </a:lnTo>
                  <a:lnTo>
                    <a:pt x="863" y="337"/>
                  </a:lnTo>
                  <a:lnTo>
                    <a:pt x="863" y="334"/>
                  </a:lnTo>
                  <a:lnTo>
                    <a:pt x="865" y="332"/>
                  </a:lnTo>
                  <a:lnTo>
                    <a:pt x="863" y="332"/>
                  </a:lnTo>
                  <a:close/>
                  <a:moveTo>
                    <a:pt x="840" y="351"/>
                  </a:moveTo>
                  <a:lnTo>
                    <a:pt x="840" y="351"/>
                  </a:lnTo>
                  <a:lnTo>
                    <a:pt x="840" y="351"/>
                  </a:lnTo>
                  <a:lnTo>
                    <a:pt x="842" y="353"/>
                  </a:lnTo>
                  <a:lnTo>
                    <a:pt x="842" y="356"/>
                  </a:lnTo>
                  <a:lnTo>
                    <a:pt x="842" y="356"/>
                  </a:lnTo>
                  <a:lnTo>
                    <a:pt x="844" y="356"/>
                  </a:lnTo>
                  <a:lnTo>
                    <a:pt x="844" y="356"/>
                  </a:lnTo>
                  <a:lnTo>
                    <a:pt x="846" y="356"/>
                  </a:lnTo>
                  <a:lnTo>
                    <a:pt x="846" y="356"/>
                  </a:lnTo>
                  <a:lnTo>
                    <a:pt x="846" y="356"/>
                  </a:lnTo>
                  <a:lnTo>
                    <a:pt x="848" y="356"/>
                  </a:lnTo>
                  <a:lnTo>
                    <a:pt x="848" y="356"/>
                  </a:lnTo>
                  <a:lnTo>
                    <a:pt x="850" y="353"/>
                  </a:lnTo>
                  <a:lnTo>
                    <a:pt x="850" y="353"/>
                  </a:lnTo>
                  <a:lnTo>
                    <a:pt x="850" y="353"/>
                  </a:lnTo>
                  <a:lnTo>
                    <a:pt x="850" y="353"/>
                  </a:lnTo>
                  <a:lnTo>
                    <a:pt x="848" y="351"/>
                  </a:lnTo>
                  <a:lnTo>
                    <a:pt x="848" y="351"/>
                  </a:lnTo>
                  <a:lnTo>
                    <a:pt x="848" y="349"/>
                  </a:lnTo>
                  <a:lnTo>
                    <a:pt x="848" y="349"/>
                  </a:lnTo>
                  <a:lnTo>
                    <a:pt x="846" y="347"/>
                  </a:lnTo>
                  <a:lnTo>
                    <a:pt x="844" y="347"/>
                  </a:lnTo>
                  <a:lnTo>
                    <a:pt x="844" y="347"/>
                  </a:lnTo>
                  <a:lnTo>
                    <a:pt x="842" y="347"/>
                  </a:lnTo>
                  <a:lnTo>
                    <a:pt x="842" y="347"/>
                  </a:lnTo>
                  <a:lnTo>
                    <a:pt x="842" y="347"/>
                  </a:lnTo>
                  <a:lnTo>
                    <a:pt x="840" y="347"/>
                  </a:lnTo>
                  <a:lnTo>
                    <a:pt x="840" y="349"/>
                  </a:lnTo>
                  <a:lnTo>
                    <a:pt x="840" y="349"/>
                  </a:lnTo>
                  <a:lnTo>
                    <a:pt x="840" y="349"/>
                  </a:lnTo>
                  <a:lnTo>
                    <a:pt x="840" y="349"/>
                  </a:lnTo>
                  <a:lnTo>
                    <a:pt x="840" y="349"/>
                  </a:lnTo>
                  <a:lnTo>
                    <a:pt x="840" y="351"/>
                  </a:lnTo>
                  <a:close/>
                  <a:moveTo>
                    <a:pt x="591" y="238"/>
                  </a:moveTo>
                  <a:lnTo>
                    <a:pt x="591" y="238"/>
                  </a:lnTo>
                  <a:lnTo>
                    <a:pt x="589" y="240"/>
                  </a:lnTo>
                  <a:lnTo>
                    <a:pt x="589" y="242"/>
                  </a:lnTo>
                  <a:lnTo>
                    <a:pt x="589" y="244"/>
                  </a:lnTo>
                  <a:lnTo>
                    <a:pt x="589" y="246"/>
                  </a:lnTo>
                  <a:lnTo>
                    <a:pt x="589" y="246"/>
                  </a:lnTo>
                  <a:lnTo>
                    <a:pt x="591" y="244"/>
                  </a:lnTo>
                  <a:lnTo>
                    <a:pt x="591" y="244"/>
                  </a:lnTo>
                  <a:lnTo>
                    <a:pt x="591" y="244"/>
                  </a:lnTo>
                  <a:lnTo>
                    <a:pt x="591" y="244"/>
                  </a:lnTo>
                  <a:lnTo>
                    <a:pt x="593" y="240"/>
                  </a:lnTo>
                  <a:lnTo>
                    <a:pt x="593" y="238"/>
                  </a:lnTo>
                  <a:lnTo>
                    <a:pt x="591" y="238"/>
                  </a:lnTo>
                  <a:close/>
                  <a:moveTo>
                    <a:pt x="848" y="360"/>
                  </a:moveTo>
                  <a:lnTo>
                    <a:pt x="848" y="360"/>
                  </a:lnTo>
                  <a:lnTo>
                    <a:pt x="848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4" y="360"/>
                  </a:lnTo>
                  <a:lnTo>
                    <a:pt x="844" y="360"/>
                  </a:lnTo>
                  <a:lnTo>
                    <a:pt x="844" y="362"/>
                  </a:lnTo>
                  <a:lnTo>
                    <a:pt x="842" y="364"/>
                  </a:lnTo>
                  <a:lnTo>
                    <a:pt x="840" y="370"/>
                  </a:lnTo>
                  <a:lnTo>
                    <a:pt x="840" y="370"/>
                  </a:lnTo>
                  <a:lnTo>
                    <a:pt x="840" y="372"/>
                  </a:lnTo>
                  <a:lnTo>
                    <a:pt x="840" y="372"/>
                  </a:lnTo>
                  <a:lnTo>
                    <a:pt x="838" y="374"/>
                  </a:lnTo>
                  <a:lnTo>
                    <a:pt x="842" y="377"/>
                  </a:lnTo>
                  <a:lnTo>
                    <a:pt x="842" y="377"/>
                  </a:lnTo>
                  <a:lnTo>
                    <a:pt x="842" y="377"/>
                  </a:lnTo>
                  <a:lnTo>
                    <a:pt x="844" y="377"/>
                  </a:lnTo>
                  <a:lnTo>
                    <a:pt x="844" y="374"/>
                  </a:lnTo>
                  <a:lnTo>
                    <a:pt x="844" y="374"/>
                  </a:lnTo>
                  <a:lnTo>
                    <a:pt x="846" y="370"/>
                  </a:lnTo>
                  <a:lnTo>
                    <a:pt x="848" y="368"/>
                  </a:lnTo>
                  <a:lnTo>
                    <a:pt x="848" y="368"/>
                  </a:lnTo>
                  <a:lnTo>
                    <a:pt x="848" y="366"/>
                  </a:lnTo>
                  <a:lnTo>
                    <a:pt x="850" y="364"/>
                  </a:lnTo>
                  <a:lnTo>
                    <a:pt x="850" y="362"/>
                  </a:lnTo>
                  <a:lnTo>
                    <a:pt x="848" y="360"/>
                  </a:lnTo>
                  <a:close/>
                  <a:moveTo>
                    <a:pt x="836" y="347"/>
                  </a:moveTo>
                  <a:lnTo>
                    <a:pt x="838" y="345"/>
                  </a:lnTo>
                  <a:lnTo>
                    <a:pt x="838" y="343"/>
                  </a:lnTo>
                  <a:lnTo>
                    <a:pt x="838" y="341"/>
                  </a:lnTo>
                  <a:lnTo>
                    <a:pt x="836" y="341"/>
                  </a:lnTo>
                  <a:lnTo>
                    <a:pt x="836" y="341"/>
                  </a:lnTo>
                  <a:lnTo>
                    <a:pt x="836" y="341"/>
                  </a:lnTo>
                  <a:lnTo>
                    <a:pt x="836" y="341"/>
                  </a:lnTo>
                  <a:lnTo>
                    <a:pt x="834" y="339"/>
                  </a:lnTo>
                  <a:lnTo>
                    <a:pt x="834" y="339"/>
                  </a:lnTo>
                  <a:lnTo>
                    <a:pt x="834" y="339"/>
                  </a:lnTo>
                  <a:lnTo>
                    <a:pt x="832" y="339"/>
                  </a:lnTo>
                  <a:lnTo>
                    <a:pt x="829" y="337"/>
                  </a:lnTo>
                  <a:lnTo>
                    <a:pt x="827" y="334"/>
                  </a:lnTo>
                  <a:lnTo>
                    <a:pt x="827" y="332"/>
                  </a:lnTo>
                  <a:lnTo>
                    <a:pt x="823" y="332"/>
                  </a:lnTo>
                  <a:lnTo>
                    <a:pt x="823" y="330"/>
                  </a:lnTo>
                  <a:lnTo>
                    <a:pt x="823" y="330"/>
                  </a:lnTo>
                  <a:lnTo>
                    <a:pt x="823" y="330"/>
                  </a:lnTo>
                  <a:lnTo>
                    <a:pt x="821" y="330"/>
                  </a:lnTo>
                  <a:lnTo>
                    <a:pt x="821" y="330"/>
                  </a:lnTo>
                  <a:lnTo>
                    <a:pt x="819" y="330"/>
                  </a:lnTo>
                  <a:lnTo>
                    <a:pt x="819" y="330"/>
                  </a:lnTo>
                  <a:lnTo>
                    <a:pt x="819" y="332"/>
                  </a:lnTo>
                  <a:lnTo>
                    <a:pt x="817" y="332"/>
                  </a:lnTo>
                  <a:lnTo>
                    <a:pt x="817" y="334"/>
                  </a:lnTo>
                  <a:lnTo>
                    <a:pt x="815" y="334"/>
                  </a:lnTo>
                  <a:lnTo>
                    <a:pt x="815" y="334"/>
                  </a:lnTo>
                  <a:lnTo>
                    <a:pt x="815" y="337"/>
                  </a:lnTo>
                  <a:lnTo>
                    <a:pt x="813" y="337"/>
                  </a:lnTo>
                  <a:lnTo>
                    <a:pt x="813" y="337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5" y="339"/>
                  </a:lnTo>
                  <a:lnTo>
                    <a:pt x="815" y="339"/>
                  </a:lnTo>
                  <a:lnTo>
                    <a:pt x="815" y="339"/>
                  </a:lnTo>
                  <a:lnTo>
                    <a:pt x="819" y="341"/>
                  </a:lnTo>
                  <a:lnTo>
                    <a:pt x="819" y="341"/>
                  </a:lnTo>
                  <a:lnTo>
                    <a:pt x="821" y="343"/>
                  </a:lnTo>
                  <a:lnTo>
                    <a:pt x="821" y="343"/>
                  </a:lnTo>
                  <a:lnTo>
                    <a:pt x="821" y="343"/>
                  </a:lnTo>
                  <a:lnTo>
                    <a:pt x="821" y="343"/>
                  </a:lnTo>
                  <a:lnTo>
                    <a:pt x="823" y="343"/>
                  </a:lnTo>
                  <a:lnTo>
                    <a:pt x="823" y="343"/>
                  </a:lnTo>
                  <a:lnTo>
                    <a:pt x="823" y="343"/>
                  </a:lnTo>
                  <a:lnTo>
                    <a:pt x="825" y="347"/>
                  </a:lnTo>
                  <a:lnTo>
                    <a:pt x="827" y="347"/>
                  </a:lnTo>
                  <a:lnTo>
                    <a:pt x="827" y="347"/>
                  </a:lnTo>
                  <a:lnTo>
                    <a:pt x="827" y="349"/>
                  </a:lnTo>
                  <a:lnTo>
                    <a:pt x="827" y="351"/>
                  </a:lnTo>
                  <a:lnTo>
                    <a:pt x="827" y="351"/>
                  </a:lnTo>
                  <a:lnTo>
                    <a:pt x="827" y="351"/>
                  </a:lnTo>
                  <a:lnTo>
                    <a:pt x="827" y="351"/>
                  </a:lnTo>
                  <a:lnTo>
                    <a:pt x="829" y="351"/>
                  </a:lnTo>
                  <a:lnTo>
                    <a:pt x="829" y="351"/>
                  </a:lnTo>
                  <a:lnTo>
                    <a:pt x="829" y="351"/>
                  </a:lnTo>
                  <a:lnTo>
                    <a:pt x="832" y="353"/>
                  </a:lnTo>
                  <a:lnTo>
                    <a:pt x="832" y="353"/>
                  </a:lnTo>
                  <a:lnTo>
                    <a:pt x="832" y="353"/>
                  </a:lnTo>
                  <a:lnTo>
                    <a:pt x="832" y="353"/>
                  </a:lnTo>
                  <a:lnTo>
                    <a:pt x="834" y="351"/>
                  </a:lnTo>
                  <a:lnTo>
                    <a:pt x="834" y="349"/>
                  </a:lnTo>
                  <a:lnTo>
                    <a:pt x="832" y="347"/>
                  </a:lnTo>
                  <a:lnTo>
                    <a:pt x="836" y="347"/>
                  </a:lnTo>
                  <a:close/>
                  <a:moveTo>
                    <a:pt x="390" y="488"/>
                  </a:moveTo>
                  <a:lnTo>
                    <a:pt x="390" y="486"/>
                  </a:lnTo>
                  <a:lnTo>
                    <a:pt x="390" y="486"/>
                  </a:lnTo>
                  <a:lnTo>
                    <a:pt x="390" y="484"/>
                  </a:lnTo>
                  <a:lnTo>
                    <a:pt x="390" y="482"/>
                  </a:lnTo>
                  <a:lnTo>
                    <a:pt x="388" y="482"/>
                  </a:lnTo>
                  <a:lnTo>
                    <a:pt x="388" y="482"/>
                  </a:lnTo>
                  <a:lnTo>
                    <a:pt x="388" y="477"/>
                  </a:lnTo>
                  <a:lnTo>
                    <a:pt x="388" y="477"/>
                  </a:lnTo>
                  <a:lnTo>
                    <a:pt x="388" y="477"/>
                  </a:lnTo>
                  <a:lnTo>
                    <a:pt x="388" y="475"/>
                  </a:lnTo>
                  <a:lnTo>
                    <a:pt x="385" y="475"/>
                  </a:lnTo>
                  <a:lnTo>
                    <a:pt x="385" y="475"/>
                  </a:lnTo>
                  <a:lnTo>
                    <a:pt x="381" y="475"/>
                  </a:lnTo>
                  <a:lnTo>
                    <a:pt x="381" y="475"/>
                  </a:lnTo>
                  <a:lnTo>
                    <a:pt x="381" y="475"/>
                  </a:lnTo>
                  <a:lnTo>
                    <a:pt x="377" y="473"/>
                  </a:lnTo>
                  <a:lnTo>
                    <a:pt x="377" y="473"/>
                  </a:lnTo>
                  <a:lnTo>
                    <a:pt x="369" y="473"/>
                  </a:lnTo>
                  <a:lnTo>
                    <a:pt x="364" y="475"/>
                  </a:lnTo>
                  <a:lnTo>
                    <a:pt x="364" y="477"/>
                  </a:lnTo>
                  <a:lnTo>
                    <a:pt x="364" y="484"/>
                  </a:lnTo>
                  <a:lnTo>
                    <a:pt x="364" y="486"/>
                  </a:lnTo>
                  <a:lnTo>
                    <a:pt x="373" y="496"/>
                  </a:lnTo>
                  <a:lnTo>
                    <a:pt x="375" y="496"/>
                  </a:lnTo>
                  <a:lnTo>
                    <a:pt x="381" y="498"/>
                  </a:lnTo>
                  <a:lnTo>
                    <a:pt x="381" y="498"/>
                  </a:lnTo>
                  <a:lnTo>
                    <a:pt x="383" y="496"/>
                  </a:lnTo>
                  <a:lnTo>
                    <a:pt x="385" y="492"/>
                  </a:lnTo>
                  <a:lnTo>
                    <a:pt x="390" y="488"/>
                  </a:lnTo>
                  <a:close/>
                  <a:moveTo>
                    <a:pt x="591" y="398"/>
                  </a:moveTo>
                  <a:lnTo>
                    <a:pt x="587" y="402"/>
                  </a:lnTo>
                  <a:lnTo>
                    <a:pt x="584" y="402"/>
                  </a:lnTo>
                  <a:lnTo>
                    <a:pt x="584" y="402"/>
                  </a:lnTo>
                  <a:lnTo>
                    <a:pt x="582" y="404"/>
                  </a:lnTo>
                  <a:lnTo>
                    <a:pt x="584" y="406"/>
                  </a:lnTo>
                  <a:lnTo>
                    <a:pt x="587" y="404"/>
                  </a:lnTo>
                  <a:lnTo>
                    <a:pt x="587" y="404"/>
                  </a:lnTo>
                  <a:lnTo>
                    <a:pt x="591" y="398"/>
                  </a:lnTo>
                  <a:lnTo>
                    <a:pt x="593" y="398"/>
                  </a:lnTo>
                  <a:lnTo>
                    <a:pt x="593" y="398"/>
                  </a:lnTo>
                  <a:lnTo>
                    <a:pt x="591" y="398"/>
                  </a:lnTo>
                  <a:lnTo>
                    <a:pt x="591" y="398"/>
                  </a:lnTo>
                  <a:close/>
                  <a:moveTo>
                    <a:pt x="381" y="164"/>
                  </a:moveTo>
                  <a:lnTo>
                    <a:pt x="381" y="164"/>
                  </a:lnTo>
                  <a:lnTo>
                    <a:pt x="381" y="164"/>
                  </a:lnTo>
                  <a:lnTo>
                    <a:pt x="381" y="166"/>
                  </a:lnTo>
                  <a:lnTo>
                    <a:pt x="381" y="164"/>
                  </a:lnTo>
                  <a:close/>
                  <a:moveTo>
                    <a:pt x="358" y="374"/>
                  </a:moveTo>
                  <a:lnTo>
                    <a:pt x="358" y="372"/>
                  </a:lnTo>
                  <a:lnTo>
                    <a:pt x="358" y="372"/>
                  </a:lnTo>
                  <a:lnTo>
                    <a:pt x="358" y="372"/>
                  </a:lnTo>
                  <a:lnTo>
                    <a:pt x="358" y="372"/>
                  </a:lnTo>
                  <a:lnTo>
                    <a:pt x="356" y="372"/>
                  </a:lnTo>
                  <a:lnTo>
                    <a:pt x="356" y="372"/>
                  </a:lnTo>
                  <a:lnTo>
                    <a:pt x="354" y="372"/>
                  </a:lnTo>
                  <a:lnTo>
                    <a:pt x="354" y="374"/>
                  </a:lnTo>
                  <a:lnTo>
                    <a:pt x="354" y="374"/>
                  </a:lnTo>
                  <a:lnTo>
                    <a:pt x="354" y="374"/>
                  </a:lnTo>
                  <a:lnTo>
                    <a:pt x="354" y="374"/>
                  </a:lnTo>
                  <a:lnTo>
                    <a:pt x="354" y="374"/>
                  </a:lnTo>
                  <a:lnTo>
                    <a:pt x="354" y="374"/>
                  </a:lnTo>
                  <a:lnTo>
                    <a:pt x="356" y="377"/>
                  </a:lnTo>
                  <a:lnTo>
                    <a:pt x="356" y="377"/>
                  </a:lnTo>
                  <a:lnTo>
                    <a:pt x="356" y="377"/>
                  </a:lnTo>
                  <a:lnTo>
                    <a:pt x="358" y="374"/>
                  </a:lnTo>
                  <a:close/>
                  <a:moveTo>
                    <a:pt x="373" y="452"/>
                  </a:moveTo>
                  <a:lnTo>
                    <a:pt x="375" y="452"/>
                  </a:lnTo>
                  <a:lnTo>
                    <a:pt x="375" y="452"/>
                  </a:lnTo>
                  <a:lnTo>
                    <a:pt x="377" y="450"/>
                  </a:lnTo>
                  <a:lnTo>
                    <a:pt x="375" y="450"/>
                  </a:lnTo>
                  <a:lnTo>
                    <a:pt x="375" y="450"/>
                  </a:lnTo>
                  <a:lnTo>
                    <a:pt x="373" y="450"/>
                  </a:lnTo>
                  <a:lnTo>
                    <a:pt x="373" y="450"/>
                  </a:lnTo>
                  <a:lnTo>
                    <a:pt x="371" y="448"/>
                  </a:lnTo>
                  <a:lnTo>
                    <a:pt x="371" y="448"/>
                  </a:lnTo>
                  <a:lnTo>
                    <a:pt x="371" y="450"/>
                  </a:lnTo>
                  <a:lnTo>
                    <a:pt x="371" y="450"/>
                  </a:lnTo>
                  <a:lnTo>
                    <a:pt x="373" y="452"/>
                  </a:lnTo>
                  <a:lnTo>
                    <a:pt x="373" y="452"/>
                  </a:lnTo>
                  <a:close/>
                  <a:moveTo>
                    <a:pt x="360" y="482"/>
                  </a:moveTo>
                  <a:lnTo>
                    <a:pt x="360" y="482"/>
                  </a:lnTo>
                  <a:lnTo>
                    <a:pt x="358" y="479"/>
                  </a:lnTo>
                  <a:lnTo>
                    <a:pt x="356" y="479"/>
                  </a:lnTo>
                  <a:lnTo>
                    <a:pt x="356" y="479"/>
                  </a:lnTo>
                  <a:lnTo>
                    <a:pt x="356" y="479"/>
                  </a:lnTo>
                  <a:lnTo>
                    <a:pt x="358" y="479"/>
                  </a:lnTo>
                  <a:lnTo>
                    <a:pt x="358" y="482"/>
                  </a:lnTo>
                  <a:lnTo>
                    <a:pt x="356" y="482"/>
                  </a:lnTo>
                  <a:lnTo>
                    <a:pt x="358" y="488"/>
                  </a:lnTo>
                  <a:lnTo>
                    <a:pt x="358" y="488"/>
                  </a:lnTo>
                  <a:lnTo>
                    <a:pt x="360" y="488"/>
                  </a:lnTo>
                  <a:lnTo>
                    <a:pt x="360" y="486"/>
                  </a:lnTo>
                  <a:lnTo>
                    <a:pt x="362" y="486"/>
                  </a:lnTo>
                  <a:lnTo>
                    <a:pt x="362" y="484"/>
                  </a:lnTo>
                  <a:lnTo>
                    <a:pt x="360" y="482"/>
                  </a:lnTo>
                  <a:close/>
                  <a:moveTo>
                    <a:pt x="289" y="82"/>
                  </a:moveTo>
                  <a:lnTo>
                    <a:pt x="289" y="82"/>
                  </a:lnTo>
                  <a:lnTo>
                    <a:pt x="289" y="80"/>
                  </a:lnTo>
                  <a:lnTo>
                    <a:pt x="287" y="80"/>
                  </a:lnTo>
                  <a:lnTo>
                    <a:pt x="287" y="80"/>
                  </a:lnTo>
                  <a:lnTo>
                    <a:pt x="285" y="82"/>
                  </a:lnTo>
                  <a:lnTo>
                    <a:pt x="285" y="84"/>
                  </a:lnTo>
                  <a:lnTo>
                    <a:pt x="287" y="87"/>
                  </a:lnTo>
                  <a:lnTo>
                    <a:pt x="287" y="87"/>
                  </a:lnTo>
                  <a:lnTo>
                    <a:pt x="289" y="87"/>
                  </a:lnTo>
                  <a:lnTo>
                    <a:pt x="291" y="84"/>
                  </a:lnTo>
                  <a:lnTo>
                    <a:pt x="291" y="84"/>
                  </a:lnTo>
                  <a:lnTo>
                    <a:pt x="289" y="82"/>
                  </a:lnTo>
                  <a:close/>
                  <a:moveTo>
                    <a:pt x="320" y="393"/>
                  </a:moveTo>
                  <a:lnTo>
                    <a:pt x="320" y="395"/>
                  </a:lnTo>
                  <a:lnTo>
                    <a:pt x="320" y="395"/>
                  </a:lnTo>
                  <a:lnTo>
                    <a:pt x="320" y="395"/>
                  </a:lnTo>
                  <a:lnTo>
                    <a:pt x="320" y="398"/>
                  </a:lnTo>
                  <a:lnTo>
                    <a:pt x="320" y="398"/>
                  </a:lnTo>
                  <a:lnTo>
                    <a:pt x="323" y="398"/>
                  </a:lnTo>
                  <a:lnTo>
                    <a:pt x="323" y="398"/>
                  </a:lnTo>
                  <a:lnTo>
                    <a:pt x="323" y="395"/>
                  </a:lnTo>
                  <a:lnTo>
                    <a:pt x="323" y="393"/>
                  </a:lnTo>
                  <a:lnTo>
                    <a:pt x="320" y="393"/>
                  </a:lnTo>
                  <a:close/>
                  <a:moveTo>
                    <a:pt x="308" y="511"/>
                  </a:moveTo>
                  <a:lnTo>
                    <a:pt x="308" y="511"/>
                  </a:lnTo>
                  <a:lnTo>
                    <a:pt x="297" y="509"/>
                  </a:lnTo>
                  <a:lnTo>
                    <a:pt x="295" y="511"/>
                  </a:lnTo>
                  <a:lnTo>
                    <a:pt x="293" y="511"/>
                  </a:lnTo>
                  <a:lnTo>
                    <a:pt x="295" y="513"/>
                  </a:lnTo>
                  <a:lnTo>
                    <a:pt x="297" y="515"/>
                  </a:lnTo>
                  <a:lnTo>
                    <a:pt x="302" y="517"/>
                  </a:lnTo>
                  <a:lnTo>
                    <a:pt x="302" y="517"/>
                  </a:lnTo>
                  <a:lnTo>
                    <a:pt x="304" y="515"/>
                  </a:lnTo>
                  <a:lnTo>
                    <a:pt x="304" y="515"/>
                  </a:lnTo>
                  <a:lnTo>
                    <a:pt x="306" y="515"/>
                  </a:lnTo>
                  <a:lnTo>
                    <a:pt x="306" y="517"/>
                  </a:lnTo>
                  <a:lnTo>
                    <a:pt x="308" y="517"/>
                  </a:lnTo>
                  <a:lnTo>
                    <a:pt x="310" y="517"/>
                  </a:lnTo>
                  <a:lnTo>
                    <a:pt x="310" y="517"/>
                  </a:lnTo>
                  <a:lnTo>
                    <a:pt x="312" y="517"/>
                  </a:lnTo>
                  <a:lnTo>
                    <a:pt x="312" y="515"/>
                  </a:lnTo>
                  <a:lnTo>
                    <a:pt x="312" y="513"/>
                  </a:lnTo>
                  <a:lnTo>
                    <a:pt x="312" y="513"/>
                  </a:lnTo>
                  <a:lnTo>
                    <a:pt x="308" y="511"/>
                  </a:lnTo>
                  <a:close/>
                  <a:moveTo>
                    <a:pt x="283" y="70"/>
                  </a:moveTo>
                  <a:lnTo>
                    <a:pt x="281" y="68"/>
                  </a:lnTo>
                  <a:lnTo>
                    <a:pt x="281" y="68"/>
                  </a:lnTo>
                  <a:lnTo>
                    <a:pt x="279" y="70"/>
                  </a:lnTo>
                  <a:lnTo>
                    <a:pt x="279" y="72"/>
                  </a:lnTo>
                  <a:lnTo>
                    <a:pt x="276" y="70"/>
                  </a:lnTo>
                  <a:lnTo>
                    <a:pt x="274" y="70"/>
                  </a:lnTo>
                  <a:lnTo>
                    <a:pt x="272" y="70"/>
                  </a:lnTo>
                  <a:lnTo>
                    <a:pt x="272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70"/>
                  </a:lnTo>
                  <a:lnTo>
                    <a:pt x="270" y="72"/>
                  </a:lnTo>
                  <a:lnTo>
                    <a:pt x="270" y="74"/>
                  </a:lnTo>
                  <a:lnTo>
                    <a:pt x="272" y="76"/>
                  </a:lnTo>
                  <a:lnTo>
                    <a:pt x="272" y="76"/>
                  </a:lnTo>
                  <a:lnTo>
                    <a:pt x="272" y="76"/>
                  </a:lnTo>
                  <a:lnTo>
                    <a:pt x="272" y="78"/>
                  </a:lnTo>
                  <a:lnTo>
                    <a:pt x="274" y="78"/>
                  </a:lnTo>
                  <a:lnTo>
                    <a:pt x="274" y="78"/>
                  </a:lnTo>
                  <a:lnTo>
                    <a:pt x="274" y="78"/>
                  </a:lnTo>
                  <a:lnTo>
                    <a:pt x="276" y="78"/>
                  </a:lnTo>
                  <a:lnTo>
                    <a:pt x="276" y="78"/>
                  </a:lnTo>
                  <a:lnTo>
                    <a:pt x="276" y="76"/>
                  </a:lnTo>
                  <a:lnTo>
                    <a:pt x="276" y="76"/>
                  </a:lnTo>
                  <a:lnTo>
                    <a:pt x="276" y="74"/>
                  </a:lnTo>
                  <a:lnTo>
                    <a:pt x="279" y="76"/>
                  </a:lnTo>
                  <a:lnTo>
                    <a:pt x="281" y="78"/>
                  </a:lnTo>
                  <a:lnTo>
                    <a:pt x="283" y="78"/>
                  </a:lnTo>
                  <a:lnTo>
                    <a:pt x="283" y="72"/>
                  </a:lnTo>
                  <a:lnTo>
                    <a:pt x="283" y="70"/>
                  </a:lnTo>
                  <a:close/>
                  <a:moveTo>
                    <a:pt x="511" y="505"/>
                  </a:moveTo>
                  <a:lnTo>
                    <a:pt x="509" y="505"/>
                  </a:lnTo>
                  <a:lnTo>
                    <a:pt x="507" y="505"/>
                  </a:lnTo>
                  <a:lnTo>
                    <a:pt x="507" y="505"/>
                  </a:lnTo>
                  <a:lnTo>
                    <a:pt x="507" y="507"/>
                  </a:lnTo>
                  <a:lnTo>
                    <a:pt x="505" y="507"/>
                  </a:lnTo>
                  <a:lnTo>
                    <a:pt x="505" y="507"/>
                  </a:lnTo>
                  <a:lnTo>
                    <a:pt x="505" y="507"/>
                  </a:lnTo>
                  <a:lnTo>
                    <a:pt x="505" y="505"/>
                  </a:lnTo>
                  <a:lnTo>
                    <a:pt x="505" y="505"/>
                  </a:lnTo>
                  <a:lnTo>
                    <a:pt x="503" y="500"/>
                  </a:lnTo>
                  <a:lnTo>
                    <a:pt x="501" y="500"/>
                  </a:lnTo>
                  <a:lnTo>
                    <a:pt x="499" y="503"/>
                  </a:lnTo>
                  <a:lnTo>
                    <a:pt x="494" y="507"/>
                  </a:lnTo>
                  <a:lnTo>
                    <a:pt x="492" y="507"/>
                  </a:lnTo>
                  <a:lnTo>
                    <a:pt x="492" y="505"/>
                  </a:lnTo>
                  <a:lnTo>
                    <a:pt x="490" y="505"/>
                  </a:lnTo>
                  <a:lnTo>
                    <a:pt x="490" y="507"/>
                  </a:lnTo>
                  <a:lnTo>
                    <a:pt x="490" y="507"/>
                  </a:lnTo>
                  <a:lnTo>
                    <a:pt x="490" y="509"/>
                  </a:lnTo>
                  <a:lnTo>
                    <a:pt x="490" y="511"/>
                  </a:lnTo>
                  <a:lnTo>
                    <a:pt x="490" y="511"/>
                  </a:lnTo>
                  <a:lnTo>
                    <a:pt x="490" y="513"/>
                  </a:lnTo>
                  <a:lnTo>
                    <a:pt x="488" y="513"/>
                  </a:lnTo>
                  <a:lnTo>
                    <a:pt x="486" y="515"/>
                  </a:lnTo>
                  <a:lnTo>
                    <a:pt x="486" y="515"/>
                  </a:lnTo>
                  <a:lnTo>
                    <a:pt x="484" y="515"/>
                  </a:lnTo>
                  <a:lnTo>
                    <a:pt x="482" y="517"/>
                  </a:lnTo>
                  <a:lnTo>
                    <a:pt x="482" y="517"/>
                  </a:lnTo>
                  <a:lnTo>
                    <a:pt x="480" y="519"/>
                  </a:lnTo>
                  <a:lnTo>
                    <a:pt x="475" y="524"/>
                  </a:lnTo>
                  <a:lnTo>
                    <a:pt x="475" y="526"/>
                  </a:lnTo>
                  <a:lnTo>
                    <a:pt x="480" y="526"/>
                  </a:lnTo>
                  <a:lnTo>
                    <a:pt x="480" y="526"/>
                  </a:lnTo>
                  <a:lnTo>
                    <a:pt x="482" y="524"/>
                  </a:lnTo>
                  <a:lnTo>
                    <a:pt x="486" y="521"/>
                  </a:lnTo>
                  <a:lnTo>
                    <a:pt x="488" y="521"/>
                  </a:lnTo>
                  <a:lnTo>
                    <a:pt x="488" y="519"/>
                  </a:lnTo>
                  <a:lnTo>
                    <a:pt x="488" y="517"/>
                  </a:lnTo>
                  <a:lnTo>
                    <a:pt x="488" y="517"/>
                  </a:lnTo>
                  <a:lnTo>
                    <a:pt x="492" y="515"/>
                  </a:lnTo>
                  <a:lnTo>
                    <a:pt x="496" y="515"/>
                  </a:lnTo>
                  <a:lnTo>
                    <a:pt x="496" y="515"/>
                  </a:lnTo>
                  <a:lnTo>
                    <a:pt x="503" y="513"/>
                  </a:lnTo>
                  <a:lnTo>
                    <a:pt x="507" y="509"/>
                  </a:lnTo>
                  <a:lnTo>
                    <a:pt x="509" y="509"/>
                  </a:lnTo>
                  <a:lnTo>
                    <a:pt x="513" y="507"/>
                  </a:lnTo>
                  <a:lnTo>
                    <a:pt x="515" y="505"/>
                  </a:lnTo>
                  <a:lnTo>
                    <a:pt x="513" y="505"/>
                  </a:lnTo>
                  <a:lnTo>
                    <a:pt x="511" y="505"/>
                  </a:lnTo>
                  <a:close/>
                  <a:moveTo>
                    <a:pt x="566" y="412"/>
                  </a:moveTo>
                  <a:lnTo>
                    <a:pt x="563" y="410"/>
                  </a:lnTo>
                  <a:lnTo>
                    <a:pt x="563" y="410"/>
                  </a:lnTo>
                  <a:lnTo>
                    <a:pt x="563" y="412"/>
                  </a:lnTo>
                  <a:lnTo>
                    <a:pt x="561" y="412"/>
                  </a:lnTo>
                  <a:lnTo>
                    <a:pt x="561" y="414"/>
                  </a:lnTo>
                  <a:lnTo>
                    <a:pt x="559" y="414"/>
                  </a:lnTo>
                  <a:lnTo>
                    <a:pt x="559" y="414"/>
                  </a:lnTo>
                  <a:lnTo>
                    <a:pt x="559" y="410"/>
                  </a:lnTo>
                  <a:lnTo>
                    <a:pt x="559" y="408"/>
                  </a:lnTo>
                  <a:lnTo>
                    <a:pt x="557" y="408"/>
                  </a:lnTo>
                  <a:lnTo>
                    <a:pt x="555" y="408"/>
                  </a:lnTo>
                  <a:lnTo>
                    <a:pt x="553" y="410"/>
                  </a:lnTo>
                  <a:lnTo>
                    <a:pt x="551" y="410"/>
                  </a:lnTo>
                  <a:lnTo>
                    <a:pt x="549" y="412"/>
                  </a:lnTo>
                  <a:lnTo>
                    <a:pt x="547" y="414"/>
                  </a:lnTo>
                  <a:lnTo>
                    <a:pt x="547" y="416"/>
                  </a:lnTo>
                  <a:lnTo>
                    <a:pt x="549" y="419"/>
                  </a:lnTo>
                  <a:lnTo>
                    <a:pt x="549" y="419"/>
                  </a:lnTo>
                  <a:lnTo>
                    <a:pt x="547" y="419"/>
                  </a:lnTo>
                  <a:lnTo>
                    <a:pt x="545" y="419"/>
                  </a:lnTo>
                  <a:lnTo>
                    <a:pt x="545" y="421"/>
                  </a:lnTo>
                  <a:lnTo>
                    <a:pt x="543" y="421"/>
                  </a:lnTo>
                  <a:lnTo>
                    <a:pt x="543" y="421"/>
                  </a:lnTo>
                  <a:lnTo>
                    <a:pt x="543" y="423"/>
                  </a:lnTo>
                  <a:lnTo>
                    <a:pt x="540" y="425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0" y="429"/>
                  </a:lnTo>
                  <a:lnTo>
                    <a:pt x="540" y="429"/>
                  </a:lnTo>
                  <a:lnTo>
                    <a:pt x="540" y="429"/>
                  </a:lnTo>
                  <a:lnTo>
                    <a:pt x="534" y="431"/>
                  </a:lnTo>
                  <a:lnTo>
                    <a:pt x="534" y="431"/>
                  </a:lnTo>
                  <a:lnTo>
                    <a:pt x="534" y="431"/>
                  </a:lnTo>
                  <a:lnTo>
                    <a:pt x="534" y="433"/>
                  </a:lnTo>
                  <a:lnTo>
                    <a:pt x="534" y="433"/>
                  </a:lnTo>
                  <a:lnTo>
                    <a:pt x="534" y="433"/>
                  </a:lnTo>
                  <a:lnTo>
                    <a:pt x="534" y="435"/>
                  </a:lnTo>
                  <a:lnTo>
                    <a:pt x="534" y="435"/>
                  </a:lnTo>
                  <a:lnTo>
                    <a:pt x="532" y="435"/>
                  </a:lnTo>
                  <a:lnTo>
                    <a:pt x="532" y="437"/>
                  </a:lnTo>
                  <a:lnTo>
                    <a:pt x="530" y="440"/>
                  </a:lnTo>
                  <a:lnTo>
                    <a:pt x="530" y="440"/>
                  </a:lnTo>
                  <a:lnTo>
                    <a:pt x="530" y="440"/>
                  </a:lnTo>
                  <a:lnTo>
                    <a:pt x="530" y="437"/>
                  </a:lnTo>
                  <a:lnTo>
                    <a:pt x="528" y="437"/>
                  </a:lnTo>
                  <a:lnTo>
                    <a:pt x="528" y="437"/>
                  </a:lnTo>
                  <a:lnTo>
                    <a:pt x="522" y="442"/>
                  </a:lnTo>
                  <a:lnTo>
                    <a:pt x="519" y="444"/>
                  </a:lnTo>
                  <a:lnTo>
                    <a:pt x="519" y="446"/>
                  </a:lnTo>
                  <a:lnTo>
                    <a:pt x="519" y="448"/>
                  </a:lnTo>
                  <a:lnTo>
                    <a:pt x="519" y="450"/>
                  </a:lnTo>
                  <a:lnTo>
                    <a:pt x="517" y="452"/>
                  </a:lnTo>
                  <a:lnTo>
                    <a:pt x="515" y="454"/>
                  </a:lnTo>
                  <a:lnTo>
                    <a:pt x="515" y="458"/>
                  </a:lnTo>
                  <a:lnTo>
                    <a:pt x="515" y="458"/>
                  </a:lnTo>
                  <a:lnTo>
                    <a:pt x="515" y="458"/>
                  </a:lnTo>
                  <a:lnTo>
                    <a:pt x="515" y="458"/>
                  </a:lnTo>
                  <a:lnTo>
                    <a:pt x="515" y="463"/>
                  </a:lnTo>
                  <a:lnTo>
                    <a:pt x="517" y="465"/>
                  </a:lnTo>
                  <a:lnTo>
                    <a:pt x="519" y="465"/>
                  </a:lnTo>
                  <a:lnTo>
                    <a:pt x="522" y="465"/>
                  </a:lnTo>
                  <a:lnTo>
                    <a:pt x="517" y="465"/>
                  </a:lnTo>
                  <a:lnTo>
                    <a:pt x="517" y="465"/>
                  </a:lnTo>
                  <a:lnTo>
                    <a:pt x="513" y="463"/>
                  </a:lnTo>
                  <a:lnTo>
                    <a:pt x="511" y="463"/>
                  </a:lnTo>
                  <a:lnTo>
                    <a:pt x="509" y="463"/>
                  </a:lnTo>
                  <a:lnTo>
                    <a:pt x="509" y="465"/>
                  </a:lnTo>
                  <a:lnTo>
                    <a:pt x="509" y="467"/>
                  </a:lnTo>
                  <a:lnTo>
                    <a:pt x="509" y="467"/>
                  </a:lnTo>
                  <a:lnTo>
                    <a:pt x="509" y="467"/>
                  </a:lnTo>
                  <a:lnTo>
                    <a:pt x="509" y="467"/>
                  </a:lnTo>
                  <a:lnTo>
                    <a:pt x="509" y="467"/>
                  </a:lnTo>
                  <a:lnTo>
                    <a:pt x="511" y="469"/>
                  </a:lnTo>
                  <a:lnTo>
                    <a:pt x="511" y="469"/>
                  </a:lnTo>
                  <a:lnTo>
                    <a:pt x="511" y="469"/>
                  </a:lnTo>
                  <a:lnTo>
                    <a:pt x="511" y="469"/>
                  </a:lnTo>
                  <a:lnTo>
                    <a:pt x="511" y="471"/>
                  </a:lnTo>
                  <a:lnTo>
                    <a:pt x="513" y="471"/>
                  </a:lnTo>
                  <a:lnTo>
                    <a:pt x="511" y="471"/>
                  </a:lnTo>
                  <a:lnTo>
                    <a:pt x="511" y="471"/>
                  </a:lnTo>
                  <a:lnTo>
                    <a:pt x="511" y="473"/>
                  </a:lnTo>
                  <a:lnTo>
                    <a:pt x="511" y="473"/>
                  </a:lnTo>
                  <a:lnTo>
                    <a:pt x="513" y="473"/>
                  </a:lnTo>
                  <a:lnTo>
                    <a:pt x="513" y="475"/>
                  </a:lnTo>
                  <a:lnTo>
                    <a:pt x="511" y="475"/>
                  </a:lnTo>
                  <a:lnTo>
                    <a:pt x="511" y="475"/>
                  </a:lnTo>
                  <a:lnTo>
                    <a:pt x="509" y="475"/>
                  </a:lnTo>
                  <a:lnTo>
                    <a:pt x="509" y="475"/>
                  </a:lnTo>
                  <a:lnTo>
                    <a:pt x="507" y="477"/>
                  </a:lnTo>
                  <a:lnTo>
                    <a:pt x="507" y="477"/>
                  </a:lnTo>
                  <a:lnTo>
                    <a:pt x="505" y="479"/>
                  </a:lnTo>
                  <a:lnTo>
                    <a:pt x="507" y="482"/>
                  </a:lnTo>
                  <a:lnTo>
                    <a:pt x="507" y="482"/>
                  </a:lnTo>
                  <a:lnTo>
                    <a:pt x="509" y="484"/>
                  </a:lnTo>
                  <a:lnTo>
                    <a:pt x="509" y="484"/>
                  </a:lnTo>
                  <a:lnTo>
                    <a:pt x="509" y="486"/>
                  </a:lnTo>
                  <a:lnTo>
                    <a:pt x="507" y="490"/>
                  </a:lnTo>
                  <a:lnTo>
                    <a:pt x="507" y="492"/>
                  </a:lnTo>
                  <a:lnTo>
                    <a:pt x="509" y="492"/>
                  </a:lnTo>
                  <a:lnTo>
                    <a:pt x="515" y="494"/>
                  </a:lnTo>
                  <a:lnTo>
                    <a:pt x="519" y="492"/>
                  </a:lnTo>
                  <a:lnTo>
                    <a:pt x="522" y="492"/>
                  </a:lnTo>
                  <a:lnTo>
                    <a:pt x="522" y="490"/>
                  </a:lnTo>
                  <a:lnTo>
                    <a:pt x="522" y="488"/>
                  </a:lnTo>
                  <a:lnTo>
                    <a:pt x="524" y="488"/>
                  </a:lnTo>
                  <a:lnTo>
                    <a:pt x="524" y="486"/>
                  </a:lnTo>
                  <a:lnTo>
                    <a:pt x="524" y="486"/>
                  </a:lnTo>
                  <a:lnTo>
                    <a:pt x="526" y="488"/>
                  </a:lnTo>
                  <a:lnTo>
                    <a:pt x="526" y="488"/>
                  </a:lnTo>
                  <a:lnTo>
                    <a:pt x="526" y="488"/>
                  </a:lnTo>
                  <a:lnTo>
                    <a:pt x="526" y="490"/>
                  </a:lnTo>
                  <a:lnTo>
                    <a:pt x="526" y="494"/>
                  </a:lnTo>
                  <a:lnTo>
                    <a:pt x="526" y="494"/>
                  </a:lnTo>
                  <a:lnTo>
                    <a:pt x="528" y="494"/>
                  </a:lnTo>
                  <a:lnTo>
                    <a:pt x="530" y="492"/>
                  </a:lnTo>
                  <a:lnTo>
                    <a:pt x="530" y="492"/>
                  </a:lnTo>
                  <a:lnTo>
                    <a:pt x="530" y="490"/>
                  </a:lnTo>
                  <a:lnTo>
                    <a:pt x="530" y="490"/>
                  </a:lnTo>
                  <a:lnTo>
                    <a:pt x="530" y="490"/>
                  </a:lnTo>
                  <a:lnTo>
                    <a:pt x="530" y="488"/>
                  </a:lnTo>
                  <a:lnTo>
                    <a:pt x="532" y="488"/>
                  </a:lnTo>
                  <a:lnTo>
                    <a:pt x="532" y="488"/>
                  </a:lnTo>
                  <a:lnTo>
                    <a:pt x="530" y="488"/>
                  </a:lnTo>
                  <a:lnTo>
                    <a:pt x="530" y="488"/>
                  </a:lnTo>
                  <a:lnTo>
                    <a:pt x="530" y="486"/>
                  </a:lnTo>
                  <a:lnTo>
                    <a:pt x="532" y="484"/>
                  </a:lnTo>
                  <a:lnTo>
                    <a:pt x="532" y="484"/>
                  </a:lnTo>
                  <a:lnTo>
                    <a:pt x="534" y="482"/>
                  </a:lnTo>
                  <a:lnTo>
                    <a:pt x="534" y="482"/>
                  </a:lnTo>
                  <a:lnTo>
                    <a:pt x="534" y="479"/>
                  </a:lnTo>
                  <a:lnTo>
                    <a:pt x="534" y="477"/>
                  </a:lnTo>
                  <a:lnTo>
                    <a:pt x="538" y="475"/>
                  </a:lnTo>
                  <a:lnTo>
                    <a:pt x="538" y="475"/>
                  </a:lnTo>
                  <a:lnTo>
                    <a:pt x="540" y="473"/>
                  </a:lnTo>
                  <a:lnTo>
                    <a:pt x="540" y="473"/>
                  </a:lnTo>
                  <a:lnTo>
                    <a:pt x="543" y="471"/>
                  </a:lnTo>
                  <a:lnTo>
                    <a:pt x="543" y="471"/>
                  </a:lnTo>
                  <a:lnTo>
                    <a:pt x="543" y="471"/>
                  </a:lnTo>
                  <a:lnTo>
                    <a:pt x="545" y="471"/>
                  </a:lnTo>
                  <a:lnTo>
                    <a:pt x="545" y="469"/>
                  </a:lnTo>
                  <a:lnTo>
                    <a:pt x="545" y="469"/>
                  </a:lnTo>
                  <a:lnTo>
                    <a:pt x="545" y="467"/>
                  </a:lnTo>
                  <a:lnTo>
                    <a:pt x="547" y="465"/>
                  </a:lnTo>
                  <a:lnTo>
                    <a:pt x="549" y="465"/>
                  </a:lnTo>
                  <a:lnTo>
                    <a:pt x="551" y="465"/>
                  </a:lnTo>
                  <a:lnTo>
                    <a:pt x="551" y="465"/>
                  </a:lnTo>
                  <a:lnTo>
                    <a:pt x="553" y="463"/>
                  </a:lnTo>
                  <a:lnTo>
                    <a:pt x="553" y="458"/>
                  </a:lnTo>
                  <a:lnTo>
                    <a:pt x="555" y="458"/>
                  </a:lnTo>
                  <a:lnTo>
                    <a:pt x="555" y="458"/>
                  </a:lnTo>
                  <a:lnTo>
                    <a:pt x="557" y="456"/>
                  </a:lnTo>
                  <a:lnTo>
                    <a:pt x="557" y="454"/>
                  </a:lnTo>
                  <a:lnTo>
                    <a:pt x="559" y="450"/>
                  </a:lnTo>
                  <a:lnTo>
                    <a:pt x="559" y="448"/>
                  </a:lnTo>
                  <a:lnTo>
                    <a:pt x="561" y="446"/>
                  </a:lnTo>
                  <a:lnTo>
                    <a:pt x="559" y="444"/>
                  </a:lnTo>
                  <a:lnTo>
                    <a:pt x="561" y="444"/>
                  </a:lnTo>
                  <a:lnTo>
                    <a:pt x="561" y="444"/>
                  </a:lnTo>
                  <a:lnTo>
                    <a:pt x="561" y="442"/>
                  </a:lnTo>
                  <a:lnTo>
                    <a:pt x="561" y="442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3" y="437"/>
                  </a:lnTo>
                  <a:lnTo>
                    <a:pt x="561" y="435"/>
                  </a:lnTo>
                  <a:lnTo>
                    <a:pt x="561" y="435"/>
                  </a:lnTo>
                  <a:lnTo>
                    <a:pt x="561" y="435"/>
                  </a:lnTo>
                  <a:lnTo>
                    <a:pt x="559" y="433"/>
                  </a:lnTo>
                  <a:lnTo>
                    <a:pt x="561" y="433"/>
                  </a:lnTo>
                  <a:lnTo>
                    <a:pt x="561" y="431"/>
                  </a:lnTo>
                  <a:lnTo>
                    <a:pt x="561" y="431"/>
                  </a:lnTo>
                  <a:lnTo>
                    <a:pt x="559" y="427"/>
                  </a:lnTo>
                  <a:lnTo>
                    <a:pt x="559" y="427"/>
                  </a:lnTo>
                  <a:lnTo>
                    <a:pt x="559" y="427"/>
                  </a:lnTo>
                  <a:lnTo>
                    <a:pt x="559" y="425"/>
                  </a:lnTo>
                  <a:lnTo>
                    <a:pt x="557" y="423"/>
                  </a:lnTo>
                  <a:lnTo>
                    <a:pt x="559" y="421"/>
                  </a:lnTo>
                  <a:lnTo>
                    <a:pt x="559" y="421"/>
                  </a:lnTo>
                  <a:lnTo>
                    <a:pt x="559" y="419"/>
                  </a:lnTo>
                  <a:lnTo>
                    <a:pt x="561" y="419"/>
                  </a:lnTo>
                  <a:lnTo>
                    <a:pt x="561" y="419"/>
                  </a:lnTo>
                  <a:lnTo>
                    <a:pt x="563" y="419"/>
                  </a:lnTo>
                  <a:lnTo>
                    <a:pt x="563" y="419"/>
                  </a:lnTo>
                  <a:lnTo>
                    <a:pt x="566" y="419"/>
                  </a:lnTo>
                  <a:lnTo>
                    <a:pt x="568" y="416"/>
                  </a:lnTo>
                  <a:lnTo>
                    <a:pt x="568" y="416"/>
                  </a:lnTo>
                  <a:lnTo>
                    <a:pt x="568" y="416"/>
                  </a:lnTo>
                  <a:lnTo>
                    <a:pt x="566" y="412"/>
                  </a:lnTo>
                  <a:close/>
                  <a:moveTo>
                    <a:pt x="478" y="101"/>
                  </a:moveTo>
                  <a:lnTo>
                    <a:pt x="480" y="101"/>
                  </a:lnTo>
                  <a:lnTo>
                    <a:pt x="482" y="101"/>
                  </a:lnTo>
                  <a:lnTo>
                    <a:pt x="482" y="101"/>
                  </a:lnTo>
                  <a:lnTo>
                    <a:pt x="482" y="99"/>
                  </a:lnTo>
                  <a:lnTo>
                    <a:pt x="482" y="97"/>
                  </a:lnTo>
                  <a:lnTo>
                    <a:pt x="482" y="87"/>
                  </a:lnTo>
                  <a:lnTo>
                    <a:pt x="482" y="84"/>
                  </a:lnTo>
                  <a:lnTo>
                    <a:pt x="484" y="82"/>
                  </a:lnTo>
                  <a:lnTo>
                    <a:pt x="484" y="82"/>
                  </a:lnTo>
                  <a:lnTo>
                    <a:pt x="484" y="82"/>
                  </a:lnTo>
                  <a:lnTo>
                    <a:pt x="486" y="80"/>
                  </a:lnTo>
                  <a:lnTo>
                    <a:pt x="486" y="78"/>
                  </a:lnTo>
                  <a:lnTo>
                    <a:pt x="486" y="76"/>
                  </a:lnTo>
                  <a:lnTo>
                    <a:pt x="486" y="76"/>
                  </a:lnTo>
                  <a:lnTo>
                    <a:pt x="486" y="74"/>
                  </a:lnTo>
                  <a:lnTo>
                    <a:pt x="484" y="74"/>
                  </a:lnTo>
                  <a:lnTo>
                    <a:pt x="482" y="70"/>
                  </a:lnTo>
                  <a:lnTo>
                    <a:pt x="480" y="68"/>
                  </a:lnTo>
                  <a:lnTo>
                    <a:pt x="480" y="66"/>
                  </a:lnTo>
                  <a:lnTo>
                    <a:pt x="480" y="63"/>
                  </a:lnTo>
                  <a:lnTo>
                    <a:pt x="482" y="63"/>
                  </a:lnTo>
                  <a:lnTo>
                    <a:pt x="480" y="61"/>
                  </a:lnTo>
                  <a:lnTo>
                    <a:pt x="478" y="59"/>
                  </a:lnTo>
                  <a:lnTo>
                    <a:pt x="475" y="59"/>
                  </a:lnTo>
                  <a:lnTo>
                    <a:pt x="471" y="59"/>
                  </a:lnTo>
                  <a:lnTo>
                    <a:pt x="467" y="59"/>
                  </a:lnTo>
                  <a:lnTo>
                    <a:pt x="465" y="59"/>
                  </a:lnTo>
                  <a:lnTo>
                    <a:pt x="465" y="57"/>
                  </a:lnTo>
                  <a:lnTo>
                    <a:pt x="465" y="57"/>
                  </a:lnTo>
                  <a:lnTo>
                    <a:pt x="463" y="53"/>
                  </a:lnTo>
                  <a:lnTo>
                    <a:pt x="463" y="53"/>
                  </a:lnTo>
                  <a:lnTo>
                    <a:pt x="463" y="45"/>
                  </a:lnTo>
                  <a:lnTo>
                    <a:pt x="461" y="40"/>
                  </a:lnTo>
                  <a:lnTo>
                    <a:pt x="461" y="38"/>
                  </a:lnTo>
                  <a:lnTo>
                    <a:pt x="459" y="36"/>
                  </a:lnTo>
                  <a:lnTo>
                    <a:pt x="459" y="34"/>
                  </a:lnTo>
                  <a:lnTo>
                    <a:pt x="459" y="32"/>
                  </a:lnTo>
                  <a:lnTo>
                    <a:pt x="457" y="32"/>
                  </a:lnTo>
                  <a:lnTo>
                    <a:pt x="450" y="30"/>
                  </a:lnTo>
                  <a:lnTo>
                    <a:pt x="448" y="28"/>
                  </a:lnTo>
                  <a:lnTo>
                    <a:pt x="440" y="19"/>
                  </a:lnTo>
                  <a:lnTo>
                    <a:pt x="436" y="19"/>
                  </a:lnTo>
                  <a:lnTo>
                    <a:pt x="431" y="19"/>
                  </a:lnTo>
                  <a:lnTo>
                    <a:pt x="423" y="19"/>
                  </a:lnTo>
                  <a:lnTo>
                    <a:pt x="408" y="19"/>
                  </a:lnTo>
                  <a:lnTo>
                    <a:pt x="400" y="17"/>
                  </a:lnTo>
                  <a:lnTo>
                    <a:pt x="398" y="17"/>
                  </a:lnTo>
                  <a:lnTo>
                    <a:pt x="396" y="15"/>
                  </a:lnTo>
                  <a:lnTo>
                    <a:pt x="394" y="15"/>
                  </a:lnTo>
                  <a:lnTo>
                    <a:pt x="394" y="13"/>
                  </a:lnTo>
                  <a:lnTo>
                    <a:pt x="392" y="15"/>
                  </a:lnTo>
                  <a:lnTo>
                    <a:pt x="392" y="13"/>
                  </a:lnTo>
                  <a:lnTo>
                    <a:pt x="392" y="13"/>
                  </a:lnTo>
                  <a:lnTo>
                    <a:pt x="390" y="11"/>
                  </a:lnTo>
                  <a:lnTo>
                    <a:pt x="390" y="11"/>
                  </a:lnTo>
                  <a:lnTo>
                    <a:pt x="390" y="11"/>
                  </a:lnTo>
                  <a:lnTo>
                    <a:pt x="388" y="13"/>
                  </a:lnTo>
                  <a:lnTo>
                    <a:pt x="388" y="13"/>
                  </a:lnTo>
                  <a:lnTo>
                    <a:pt x="385" y="13"/>
                  </a:lnTo>
                  <a:lnTo>
                    <a:pt x="383" y="11"/>
                  </a:lnTo>
                  <a:lnTo>
                    <a:pt x="381" y="9"/>
                  </a:lnTo>
                  <a:lnTo>
                    <a:pt x="381" y="9"/>
                  </a:lnTo>
                  <a:lnTo>
                    <a:pt x="379" y="9"/>
                  </a:lnTo>
                  <a:lnTo>
                    <a:pt x="367" y="3"/>
                  </a:lnTo>
                  <a:lnTo>
                    <a:pt x="360" y="3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60" y="0"/>
                  </a:lnTo>
                  <a:lnTo>
                    <a:pt x="358" y="0"/>
                  </a:lnTo>
                  <a:lnTo>
                    <a:pt x="358" y="0"/>
                  </a:lnTo>
                  <a:lnTo>
                    <a:pt x="350" y="0"/>
                  </a:lnTo>
                  <a:lnTo>
                    <a:pt x="346" y="0"/>
                  </a:lnTo>
                  <a:lnTo>
                    <a:pt x="344" y="3"/>
                  </a:lnTo>
                  <a:lnTo>
                    <a:pt x="344" y="5"/>
                  </a:lnTo>
                  <a:lnTo>
                    <a:pt x="344" y="5"/>
                  </a:lnTo>
                  <a:lnTo>
                    <a:pt x="344" y="7"/>
                  </a:lnTo>
                  <a:lnTo>
                    <a:pt x="339" y="9"/>
                  </a:lnTo>
                  <a:lnTo>
                    <a:pt x="335" y="11"/>
                  </a:lnTo>
                  <a:lnTo>
                    <a:pt x="331" y="11"/>
                  </a:lnTo>
                  <a:lnTo>
                    <a:pt x="331" y="13"/>
                  </a:lnTo>
                  <a:lnTo>
                    <a:pt x="329" y="13"/>
                  </a:lnTo>
                  <a:lnTo>
                    <a:pt x="329" y="15"/>
                  </a:lnTo>
                  <a:lnTo>
                    <a:pt x="329" y="15"/>
                  </a:lnTo>
                  <a:lnTo>
                    <a:pt x="327" y="13"/>
                  </a:lnTo>
                  <a:lnTo>
                    <a:pt x="327" y="13"/>
                  </a:lnTo>
                  <a:lnTo>
                    <a:pt x="327" y="13"/>
                  </a:lnTo>
                  <a:lnTo>
                    <a:pt x="327" y="13"/>
                  </a:lnTo>
                  <a:lnTo>
                    <a:pt x="325" y="13"/>
                  </a:lnTo>
                  <a:lnTo>
                    <a:pt x="325" y="13"/>
                  </a:lnTo>
                  <a:lnTo>
                    <a:pt x="325" y="15"/>
                  </a:lnTo>
                  <a:lnTo>
                    <a:pt x="327" y="15"/>
                  </a:lnTo>
                  <a:lnTo>
                    <a:pt x="327" y="15"/>
                  </a:lnTo>
                  <a:lnTo>
                    <a:pt x="327" y="15"/>
                  </a:lnTo>
                  <a:lnTo>
                    <a:pt x="327" y="17"/>
                  </a:lnTo>
                  <a:lnTo>
                    <a:pt x="325" y="17"/>
                  </a:lnTo>
                  <a:lnTo>
                    <a:pt x="325" y="17"/>
                  </a:lnTo>
                  <a:lnTo>
                    <a:pt x="325" y="15"/>
                  </a:lnTo>
                  <a:lnTo>
                    <a:pt x="325" y="15"/>
                  </a:lnTo>
                  <a:lnTo>
                    <a:pt x="325" y="15"/>
                  </a:lnTo>
                  <a:lnTo>
                    <a:pt x="323" y="15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18" y="15"/>
                  </a:lnTo>
                  <a:lnTo>
                    <a:pt x="316" y="11"/>
                  </a:lnTo>
                  <a:lnTo>
                    <a:pt x="314" y="11"/>
                  </a:lnTo>
                  <a:lnTo>
                    <a:pt x="316" y="7"/>
                  </a:lnTo>
                  <a:lnTo>
                    <a:pt x="314" y="5"/>
                  </a:lnTo>
                  <a:lnTo>
                    <a:pt x="314" y="3"/>
                  </a:lnTo>
                  <a:lnTo>
                    <a:pt x="310" y="3"/>
                  </a:lnTo>
                  <a:lnTo>
                    <a:pt x="304" y="7"/>
                  </a:lnTo>
                  <a:lnTo>
                    <a:pt x="300" y="7"/>
                  </a:lnTo>
                  <a:lnTo>
                    <a:pt x="295" y="7"/>
                  </a:lnTo>
                  <a:lnTo>
                    <a:pt x="293" y="7"/>
                  </a:lnTo>
                  <a:lnTo>
                    <a:pt x="289" y="7"/>
                  </a:lnTo>
                  <a:lnTo>
                    <a:pt x="270" y="7"/>
                  </a:lnTo>
                  <a:lnTo>
                    <a:pt x="268" y="7"/>
                  </a:lnTo>
                  <a:lnTo>
                    <a:pt x="266" y="5"/>
                  </a:lnTo>
                  <a:lnTo>
                    <a:pt x="264" y="5"/>
                  </a:lnTo>
                  <a:lnTo>
                    <a:pt x="262" y="5"/>
                  </a:lnTo>
                  <a:lnTo>
                    <a:pt x="258" y="7"/>
                  </a:lnTo>
                  <a:lnTo>
                    <a:pt x="253" y="7"/>
                  </a:lnTo>
                  <a:lnTo>
                    <a:pt x="251" y="7"/>
                  </a:lnTo>
                  <a:lnTo>
                    <a:pt x="235" y="7"/>
                  </a:lnTo>
                  <a:lnTo>
                    <a:pt x="232" y="7"/>
                  </a:lnTo>
                  <a:lnTo>
                    <a:pt x="230" y="7"/>
                  </a:lnTo>
                  <a:lnTo>
                    <a:pt x="230" y="7"/>
                  </a:lnTo>
                  <a:lnTo>
                    <a:pt x="230" y="9"/>
                  </a:lnTo>
                  <a:lnTo>
                    <a:pt x="230" y="9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8" y="11"/>
                  </a:lnTo>
                  <a:lnTo>
                    <a:pt x="228" y="13"/>
                  </a:lnTo>
                  <a:lnTo>
                    <a:pt x="228" y="13"/>
                  </a:lnTo>
                  <a:lnTo>
                    <a:pt x="226" y="15"/>
                  </a:lnTo>
                  <a:lnTo>
                    <a:pt x="224" y="15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24" y="17"/>
                  </a:lnTo>
                  <a:lnTo>
                    <a:pt x="226" y="19"/>
                  </a:lnTo>
                  <a:lnTo>
                    <a:pt x="226" y="19"/>
                  </a:lnTo>
                  <a:lnTo>
                    <a:pt x="224" y="21"/>
                  </a:lnTo>
                  <a:lnTo>
                    <a:pt x="222" y="24"/>
                  </a:lnTo>
                  <a:lnTo>
                    <a:pt x="224" y="24"/>
                  </a:lnTo>
                  <a:lnTo>
                    <a:pt x="224" y="28"/>
                  </a:lnTo>
                  <a:lnTo>
                    <a:pt x="222" y="28"/>
                  </a:lnTo>
                  <a:lnTo>
                    <a:pt x="220" y="28"/>
                  </a:lnTo>
                  <a:lnTo>
                    <a:pt x="218" y="26"/>
                  </a:lnTo>
                  <a:lnTo>
                    <a:pt x="218" y="28"/>
                  </a:lnTo>
                  <a:lnTo>
                    <a:pt x="216" y="28"/>
                  </a:lnTo>
                  <a:lnTo>
                    <a:pt x="214" y="28"/>
                  </a:lnTo>
                  <a:lnTo>
                    <a:pt x="212" y="30"/>
                  </a:lnTo>
                  <a:lnTo>
                    <a:pt x="209" y="30"/>
                  </a:lnTo>
                  <a:lnTo>
                    <a:pt x="209" y="32"/>
                  </a:lnTo>
                  <a:lnTo>
                    <a:pt x="207" y="34"/>
                  </a:lnTo>
                  <a:lnTo>
                    <a:pt x="205" y="34"/>
                  </a:lnTo>
                  <a:lnTo>
                    <a:pt x="205" y="34"/>
                  </a:lnTo>
                  <a:lnTo>
                    <a:pt x="203" y="34"/>
                  </a:lnTo>
                  <a:lnTo>
                    <a:pt x="201" y="36"/>
                  </a:lnTo>
                  <a:lnTo>
                    <a:pt x="199" y="36"/>
                  </a:lnTo>
                  <a:lnTo>
                    <a:pt x="199" y="36"/>
                  </a:lnTo>
                  <a:lnTo>
                    <a:pt x="201" y="38"/>
                  </a:lnTo>
                  <a:lnTo>
                    <a:pt x="203" y="40"/>
                  </a:lnTo>
                  <a:lnTo>
                    <a:pt x="203" y="45"/>
                  </a:lnTo>
                  <a:lnTo>
                    <a:pt x="207" y="49"/>
                  </a:lnTo>
                  <a:lnTo>
                    <a:pt x="207" y="51"/>
                  </a:lnTo>
                  <a:lnTo>
                    <a:pt x="207" y="51"/>
                  </a:lnTo>
                  <a:lnTo>
                    <a:pt x="207" y="53"/>
                  </a:lnTo>
                  <a:lnTo>
                    <a:pt x="207" y="57"/>
                  </a:lnTo>
                  <a:lnTo>
                    <a:pt x="205" y="66"/>
                  </a:lnTo>
                  <a:lnTo>
                    <a:pt x="205" y="70"/>
                  </a:lnTo>
                  <a:lnTo>
                    <a:pt x="207" y="72"/>
                  </a:lnTo>
                  <a:lnTo>
                    <a:pt x="207" y="72"/>
                  </a:lnTo>
                  <a:lnTo>
                    <a:pt x="209" y="70"/>
                  </a:lnTo>
                  <a:lnTo>
                    <a:pt x="209" y="70"/>
                  </a:lnTo>
                  <a:lnTo>
                    <a:pt x="209" y="68"/>
                  </a:lnTo>
                  <a:lnTo>
                    <a:pt x="207" y="68"/>
                  </a:lnTo>
                  <a:lnTo>
                    <a:pt x="209" y="66"/>
                  </a:lnTo>
                  <a:lnTo>
                    <a:pt x="209" y="61"/>
                  </a:lnTo>
                  <a:lnTo>
                    <a:pt x="212" y="61"/>
                  </a:lnTo>
                  <a:lnTo>
                    <a:pt x="212" y="59"/>
                  </a:lnTo>
                  <a:lnTo>
                    <a:pt x="214" y="57"/>
                  </a:lnTo>
                  <a:lnTo>
                    <a:pt x="214" y="55"/>
                  </a:lnTo>
                  <a:lnTo>
                    <a:pt x="214" y="55"/>
                  </a:lnTo>
                  <a:lnTo>
                    <a:pt x="216" y="55"/>
                  </a:lnTo>
                  <a:lnTo>
                    <a:pt x="216" y="55"/>
                  </a:lnTo>
                  <a:lnTo>
                    <a:pt x="218" y="55"/>
                  </a:lnTo>
                  <a:lnTo>
                    <a:pt x="218" y="51"/>
                  </a:lnTo>
                  <a:lnTo>
                    <a:pt x="220" y="49"/>
                  </a:lnTo>
                  <a:lnTo>
                    <a:pt x="220" y="49"/>
                  </a:lnTo>
                  <a:lnTo>
                    <a:pt x="220" y="38"/>
                  </a:lnTo>
                  <a:lnTo>
                    <a:pt x="222" y="36"/>
                  </a:lnTo>
                  <a:lnTo>
                    <a:pt x="222" y="32"/>
                  </a:lnTo>
                  <a:lnTo>
                    <a:pt x="224" y="30"/>
                  </a:lnTo>
                  <a:lnTo>
                    <a:pt x="226" y="28"/>
                  </a:lnTo>
                  <a:lnTo>
                    <a:pt x="230" y="28"/>
                  </a:lnTo>
                  <a:lnTo>
                    <a:pt x="232" y="28"/>
                  </a:lnTo>
                  <a:lnTo>
                    <a:pt x="232" y="30"/>
                  </a:lnTo>
                  <a:lnTo>
                    <a:pt x="232" y="32"/>
                  </a:lnTo>
                  <a:lnTo>
                    <a:pt x="232" y="34"/>
                  </a:lnTo>
                  <a:lnTo>
                    <a:pt x="230" y="36"/>
                  </a:lnTo>
                  <a:lnTo>
                    <a:pt x="230" y="38"/>
                  </a:lnTo>
                  <a:lnTo>
                    <a:pt x="230" y="38"/>
                  </a:lnTo>
                  <a:lnTo>
                    <a:pt x="232" y="38"/>
                  </a:lnTo>
                  <a:lnTo>
                    <a:pt x="235" y="40"/>
                  </a:lnTo>
                  <a:lnTo>
                    <a:pt x="237" y="40"/>
                  </a:lnTo>
                  <a:lnTo>
                    <a:pt x="241" y="40"/>
                  </a:lnTo>
                  <a:lnTo>
                    <a:pt x="241" y="40"/>
                  </a:lnTo>
                  <a:lnTo>
                    <a:pt x="251" y="59"/>
                  </a:lnTo>
                  <a:lnTo>
                    <a:pt x="253" y="61"/>
                  </a:lnTo>
                  <a:lnTo>
                    <a:pt x="258" y="61"/>
                  </a:lnTo>
                  <a:lnTo>
                    <a:pt x="258" y="63"/>
                  </a:lnTo>
                  <a:lnTo>
                    <a:pt x="260" y="63"/>
                  </a:lnTo>
                  <a:lnTo>
                    <a:pt x="262" y="63"/>
                  </a:lnTo>
                  <a:lnTo>
                    <a:pt x="266" y="61"/>
                  </a:lnTo>
                  <a:lnTo>
                    <a:pt x="270" y="61"/>
                  </a:lnTo>
                  <a:lnTo>
                    <a:pt x="274" y="61"/>
                  </a:lnTo>
                  <a:lnTo>
                    <a:pt x="279" y="61"/>
                  </a:lnTo>
                  <a:lnTo>
                    <a:pt x="281" y="59"/>
                  </a:lnTo>
                  <a:lnTo>
                    <a:pt x="279" y="59"/>
                  </a:lnTo>
                  <a:lnTo>
                    <a:pt x="279" y="59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81" y="53"/>
                  </a:lnTo>
                  <a:lnTo>
                    <a:pt x="287" y="47"/>
                  </a:lnTo>
                  <a:lnTo>
                    <a:pt x="289" y="47"/>
                  </a:lnTo>
                  <a:lnTo>
                    <a:pt x="289" y="45"/>
                  </a:lnTo>
                  <a:lnTo>
                    <a:pt x="295" y="42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300" y="40"/>
                  </a:lnTo>
                  <a:lnTo>
                    <a:pt x="302" y="40"/>
                  </a:lnTo>
                  <a:lnTo>
                    <a:pt x="304" y="40"/>
                  </a:lnTo>
                  <a:lnTo>
                    <a:pt x="306" y="42"/>
                  </a:lnTo>
                  <a:lnTo>
                    <a:pt x="308" y="45"/>
                  </a:lnTo>
                  <a:lnTo>
                    <a:pt x="304" y="49"/>
                  </a:lnTo>
                  <a:lnTo>
                    <a:pt x="304" y="51"/>
                  </a:lnTo>
                  <a:lnTo>
                    <a:pt x="304" y="51"/>
                  </a:lnTo>
                  <a:lnTo>
                    <a:pt x="306" y="53"/>
                  </a:lnTo>
                  <a:lnTo>
                    <a:pt x="308" y="53"/>
                  </a:lnTo>
                  <a:lnTo>
                    <a:pt x="314" y="53"/>
                  </a:lnTo>
                  <a:lnTo>
                    <a:pt x="316" y="53"/>
                  </a:lnTo>
                  <a:lnTo>
                    <a:pt x="320" y="53"/>
                  </a:lnTo>
                  <a:lnTo>
                    <a:pt x="327" y="57"/>
                  </a:lnTo>
                  <a:lnTo>
                    <a:pt x="331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54" y="63"/>
                  </a:lnTo>
                  <a:lnTo>
                    <a:pt x="358" y="63"/>
                  </a:lnTo>
                  <a:lnTo>
                    <a:pt x="362" y="61"/>
                  </a:lnTo>
                  <a:lnTo>
                    <a:pt x="360" y="59"/>
                  </a:lnTo>
                  <a:lnTo>
                    <a:pt x="356" y="53"/>
                  </a:lnTo>
                  <a:lnTo>
                    <a:pt x="356" y="49"/>
                  </a:lnTo>
                  <a:lnTo>
                    <a:pt x="360" y="49"/>
                  </a:lnTo>
                  <a:lnTo>
                    <a:pt x="392" y="51"/>
                  </a:lnTo>
                  <a:lnTo>
                    <a:pt x="396" y="53"/>
                  </a:lnTo>
                  <a:lnTo>
                    <a:pt x="400" y="57"/>
                  </a:lnTo>
                  <a:lnTo>
                    <a:pt x="400" y="57"/>
                  </a:lnTo>
                  <a:lnTo>
                    <a:pt x="400" y="59"/>
                  </a:lnTo>
                  <a:lnTo>
                    <a:pt x="400" y="61"/>
                  </a:lnTo>
                  <a:lnTo>
                    <a:pt x="400" y="61"/>
                  </a:lnTo>
                  <a:lnTo>
                    <a:pt x="400" y="63"/>
                  </a:lnTo>
                  <a:lnTo>
                    <a:pt x="402" y="63"/>
                  </a:lnTo>
                  <a:lnTo>
                    <a:pt x="402" y="66"/>
                  </a:lnTo>
                  <a:lnTo>
                    <a:pt x="406" y="68"/>
                  </a:lnTo>
                  <a:lnTo>
                    <a:pt x="411" y="68"/>
                  </a:lnTo>
                  <a:lnTo>
                    <a:pt x="413" y="68"/>
                  </a:lnTo>
                  <a:lnTo>
                    <a:pt x="413" y="70"/>
                  </a:lnTo>
                  <a:lnTo>
                    <a:pt x="415" y="70"/>
                  </a:lnTo>
                  <a:lnTo>
                    <a:pt x="431" y="76"/>
                  </a:lnTo>
                  <a:lnTo>
                    <a:pt x="436" y="80"/>
                  </a:lnTo>
                  <a:lnTo>
                    <a:pt x="438" y="80"/>
                  </a:lnTo>
                  <a:lnTo>
                    <a:pt x="440" y="80"/>
                  </a:lnTo>
                  <a:lnTo>
                    <a:pt x="442" y="80"/>
                  </a:lnTo>
                  <a:lnTo>
                    <a:pt x="444" y="80"/>
                  </a:lnTo>
                  <a:lnTo>
                    <a:pt x="446" y="82"/>
                  </a:lnTo>
                  <a:lnTo>
                    <a:pt x="446" y="84"/>
                  </a:lnTo>
                  <a:lnTo>
                    <a:pt x="448" y="87"/>
                  </a:lnTo>
                  <a:lnTo>
                    <a:pt x="450" y="87"/>
                  </a:lnTo>
                  <a:lnTo>
                    <a:pt x="452" y="87"/>
                  </a:lnTo>
                  <a:lnTo>
                    <a:pt x="455" y="87"/>
                  </a:lnTo>
                  <a:lnTo>
                    <a:pt x="455" y="89"/>
                  </a:lnTo>
                  <a:lnTo>
                    <a:pt x="457" y="89"/>
                  </a:lnTo>
                  <a:lnTo>
                    <a:pt x="461" y="93"/>
                  </a:lnTo>
                  <a:lnTo>
                    <a:pt x="461" y="95"/>
                  </a:lnTo>
                  <a:lnTo>
                    <a:pt x="463" y="95"/>
                  </a:lnTo>
                  <a:lnTo>
                    <a:pt x="471" y="99"/>
                  </a:lnTo>
                  <a:lnTo>
                    <a:pt x="473" y="99"/>
                  </a:lnTo>
                  <a:lnTo>
                    <a:pt x="475" y="99"/>
                  </a:lnTo>
                  <a:lnTo>
                    <a:pt x="478" y="101"/>
                  </a:lnTo>
                  <a:close/>
                  <a:moveTo>
                    <a:pt x="589" y="414"/>
                  </a:moveTo>
                  <a:lnTo>
                    <a:pt x="587" y="412"/>
                  </a:lnTo>
                  <a:lnTo>
                    <a:pt x="587" y="412"/>
                  </a:lnTo>
                  <a:lnTo>
                    <a:pt x="587" y="410"/>
                  </a:lnTo>
                  <a:lnTo>
                    <a:pt x="584" y="408"/>
                  </a:lnTo>
                  <a:lnTo>
                    <a:pt x="584" y="408"/>
                  </a:lnTo>
                  <a:lnTo>
                    <a:pt x="582" y="408"/>
                  </a:lnTo>
                  <a:lnTo>
                    <a:pt x="580" y="408"/>
                  </a:lnTo>
                  <a:lnTo>
                    <a:pt x="570" y="408"/>
                  </a:lnTo>
                  <a:lnTo>
                    <a:pt x="566" y="412"/>
                  </a:lnTo>
                  <a:lnTo>
                    <a:pt x="568" y="412"/>
                  </a:lnTo>
                  <a:lnTo>
                    <a:pt x="570" y="414"/>
                  </a:lnTo>
                  <a:lnTo>
                    <a:pt x="576" y="412"/>
                  </a:lnTo>
                  <a:lnTo>
                    <a:pt x="580" y="414"/>
                  </a:lnTo>
                  <a:lnTo>
                    <a:pt x="582" y="414"/>
                  </a:lnTo>
                  <a:lnTo>
                    <a:pt x="584" y="419"/>
                  </a:lnTo>
                  <a:lnTo>
                    <a:pt x="584" y="419"/>
                  </a:lnTo>
                  <a:lnTo>
                    <a:pt x="587" y="421"/>
                  </a:lnTo>
                  <a:lnTo>
                    <a:pt x="589" y="423"/>
                  </a:lnTo>
                  <a:lnTo>
                    <a:pt x="591" y="421"/>
                  </a:lnTo>
                  <a:lnTo>
                    <a:pt x="591" y="419"/>
                  </a:lnTo>
                  <a:lnTo>
                    <a:pt x="591" y="416"/>
                  </a:lnTo>
                  <a:lnTo>
                    <a:pt x="589" y="414"/>
                  </a:lnTo>
                  <a:close/>
                  <a:moveTo>
                    <a:pt x="396" y="503"/>
                  </a:moveTo>
                  <a:lnTo>
                    <a:pt x="394" y="503"/>
                  </a:lnTo>
                  <a:lnTo>
                    <a:pt x="388" y="507"/>
                  </a:lnTo>
                  <a:lnTo>
                    <a:pt x="385" y="511"/>
                  </a:lnTo>
                  <a:lnTo>
                    <a:pt x="385" y="513"/>
                  </a:lnTo>
                  <a:lnTo>
                    <a:pt x="385" y="513"/>
                  </a:lnTo>
                  <a:lnTo>
                    <a:pt x="385" y="513"/>
                  </a:lnTo>
                  <a:lnTo>
                    <a:pt x="385" y="513"/>
                  </a:lnTo>
                  <a:lnTo>
                    <a:pt x="385" y="513"/>
                  </a:lnTo>
                  <a:lnTo>
                    <a:pt x="388" y="513"/>
                  </a:lnTo>
                  <a:lnTo>
                    <a:pt x="388" y="511"/>
                  </a:lnTo>
                  <a:lnTo>
                    <a:pt x="392" y="507"/>
                  </a:lnTo>
                  <a:lnTo>
                    <a:pt x="394" y="507"/>
                  </a:lnTo>
                  <a:lnTo>
                    <a:pt x="394" y="505"/>
                  </a:lnTo>
                  <a:lnTo>
                    <a:pt x="394" y="505"/>
                  </a:lnTo>
                  <a:lnTo>
                    <a:pt x="396" y="505"/>
                  </a:lnTo>
                  <a:lnTo>
                    <a:pt x="396" y="505"/>
                  </a:lnTo>
                  <a:lnTo>
                    <a:pt x="396" y="503"/>
                  </a:lnTo>
                  <a:lnTo>
                    <a:pt x="396" y="503"/>
                  </a:lnTo>
                  <a:lnTo>
                    <a:pt x="396" y="503"/>
                  </a:lnTo>
                  <a:close/>
                  <a:moveTo>
                    <a:pt x="396" y="162"/>
                  </a:moveTo>
                  <a:lnTo>
                    <a:pt x="396" y="164"/>
                  </a:lnTo>
                  <a:lnTo>
                    <a:pt x="396" y="164"/>
                  </a:lnTo>
                  <a:lnTo>
                    <a:pt x="392" y="166"/>
                  </a:lnTo>
                  <a:lnTo>
                    <a:pt x="390" y="166"/>
                  </a:lnTo>
                  <a:lnTo>
                    <a:pt x="392" y="166"/>
                  </a:lnTo>
                  <a:lnTo>
                    <a:pt x="392" y="166"/>
                  </a:lnTo>
                  <a:lnTo>
                    <a:pt x="394" y="166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6" y="169"/>
                  </a:lnTo>
                  <a:lnTo>
                    <a:pt x="398" y="166"/>
                  </a:lnTo>
                  <a:lnTo>
                    <a:pt x="398" y="162"/>
                  </a:lnTo>
                  <a:lnTo>
                    <a:pt x="398" y="162"/>
                  </a:lnTo>
                  <a:lnTo>
                    <a:pt x="396" y="162"/>
                  </a:lnTo>
                  <a:close/>
                  <a:moveTo>
                    <a:pt x="404" y="465"/>
                  </a:moveTo>
                  <a:lnTo>
                    <a:pt x="402" y="465"/>
                  </a:lnTo>
                  <a:lnTo>
                    <a:pt x="402" y="465"/>
                  </a:lnTo>
                  <a:lnTo>
                    <a:pt x="402" y="465"/>
                  </a:lnTo>
                  <a:lnTo>
                    <a:pt x="400" y="465"/>
                  </a:lnTo>
                  <a:lnTo>
                    <a:pt x="402" y="467"/>
                  </a:lnTo>
                  <a:lnTo>
                    <a:pt x="402" y="467"/>
                  </a:lnTo>
                  <a:lnTo>
                    <a:pt x="402" y="467"/>
                  </a:lnTo>
                  <a:lnTo>
                    <a:pt x="402" y="469"/>
                  </a:lnTo>
                  <a:lnTo>
                    <a:pt x="402" y="469"/>
                  </a:lnTo>
                  <a:lnTo>
                    <a:pt x="404" y="469"/>
                  </a:lnTo>
                  <a:lnTo>
                    <a:pt x="404" y="469"/>
                  </a:lnTo>
                  <a:lnTo>
                    <a:pt x="404" y="467"/>
                  </a:lnTo>
                  <a:lnTo>
                    <a:pt x="404" y="465"/>
                  </a:lnTo>
                  <a:close/>
                  <a:moveTo>
                    <a:pt x="408" y="471"/>
                  </a:moveTo>
                  <a:lnTo>
                    <a:pt x="408" y="471"/>
                  </a:lnTo>
                  <a:lnTo>
                    <a:pt x="408" y="471"/>
                  </a:lnTo>
                  <a:lnTo>
                    <a:pt x="406" y="471"/>
                  </a:lnTo>
                  <a:lnTo>
                    <a:pt x="406" y="471"/>
                  </a:lnTo>
                  <a:lnTo>
                    <a:pt x="406" y="471"/>
                  </a:lnTo>
                  <a:lnTo>
                    <a:pt x="406" y="471"/>
                  </a:lnTo>
                  <a:lnTo>
                    <a:pt x="406" y="471"/>
                  </a:lnTo>
                  <a:lnTo>
                    <a:pt x="406" y="471"/>
                  </a:lnTo>
                  <a:lnTo>
                    <a:pt x="408" y="471"/>
                  </a:lnTo>
                  <a:lnTo>
                    <a:pt x="408" y="473"/>
                  </a:lnTo>
                  <a:lnTo>
                    <a:pt x="411" y="473"/>
                  </a:lnTo>
                  <a:lnTo>
                    <a:pt x="411" y="471"/>
                  </a:lnTo>
                  <a:lnTo>
                    <a:pt x="411" y="471"/>
                  </a:lnTo>
                  <a:lnTo>
                    <a:pt x="408" y="471"/>
                  </a:lnTo>
                  <a:close/>
                </a:path>
              </a:pathLst>
            </a:custGeom>
            <a:grpFill/>
            <a:ln w="3175" cap="flat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41B125AB-674B-4B27-9A73-17839F9117EE}"/>
              </a:ext>
            </a:extLst>
          </p:cNvPr>
          <p:cNvGrpSpPr/>
          <p:nvPr/>
        </p:nvGrpSpPr>
        <p:grpSpPr>
          <a:xfrm>
            <a:off x="8144731" y="3914416"/>
            <a:ext cx="549273" cy="748284"/>
            <a:chOff x="6340400" y="446896"/>
            <a:chExt cx="1067991" cy="1454943"/>
          </a:xfrm>
        </p:grpSpPr>
        <p:sp>
          <p:nvSpPr>
            <p:cNvPr id="96" name="Freeform 93">
              <a:extLst>
                <a:ext uri="{FF2B5EF4-FFF2-40B4-BE49-F238E27FC236}">
                  <a16:creationId xmlns:a16="http://schemas.microsoft.com/office/drawing/2014/main" id="{04AED898-1FAC-4259-90A7-8B5A036CCC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416" y="1164843"/>
              <a:ext cx="125016" cy="304800"/>
            </a:xfrm>
            <a:custGeom>
              <a:avLst/>
              <a:gdLst>
                <a:gd name="T0" fmla="*/ 101 w 105"/>
                <a:gd name="T1" fmla="*/ 101 h 256"/>
                <a:gd name="T2" fmla="*/ 103 w 105"/>
                <a:gd name="T3" fmla="*/ 88 h 256"/>
                <a:gd name="T4" fmla="*/ 92 w 105"/>
                <a:gd name="T5" fmla="*/ 71 h 256"/>
                <a:gd name="T6" fmla="*/ 86 w 105"/>
                <a:gd name="T7" fmla="*/ 54 h 256"/>
                <a:gd name="T8" fmla="*/ 69 w 105"/>
                <a:gd name="T9" fmla="*/ 46 h 256"/>
                <a:gd name="T10" fmla="*/ 74 w 105"/>
                <a:gd name="T11" fmla="*/ 35 h 256"/>
                <a:gd name="T12" fmla="*/ 78 w 105"/>
                <a:gd name="T13" fmla="*/ 19 h 256"/>
                <a:gd name="T14" fmla="*/ 78 w 105"/>
                <a:gd name="T15" fmla="*/ 0 h 256"/>
                <a:gd name="T16" fmla="*/ 71 w 105"/>
                <a:gd name="T17" fmla="*/ 8 h 256"/>
                <a:gd name="T18" fmla="*/ 67 w 105"/>
                <a:gd name="T19" fmla="*/ 23 h 256"/>
                <a:gd name="T20" fmla="*/ 61 w 105"/>
                <a:gd name="T21" fmla="*/ 29 h 256"/>
                <a:gd name="T22" fmla="*/ 53 w 105"/>
                <a:gd name="T23" fmla="*/ 37 h 256"/>
                <a:gd name="T24" fmla="*/ 53 w 105"/>
                <a:gd name="T25" fmla="*/ 50 h 256"/>
                <a:gd name="T26" fmla="*/ 53 w 105"/>
                <a:gd name="T27" fmla="*/ 61 h 256"/>
                <a:gd name="T28" fmla="*/ 53 w 105"/>
                <a:gd name="T29" fmla="*/ 75 h 256"/>
                <a:gd name="T30" fmla="*/ 57 w 105"/>
                <a:gd name="T31" fmla="*/ 92 h 256"/>
                <a:gd name="T32" fmla="*/ 57 w 105"/>
                <a:gd name="T33" fmla="*/ 105 h 256"/>
                <a:gd name="T34" fmla="*/ 48 w 105"/>
                <a:gd name="T35" fmla="*/ 105 h 256"/>
                <a:gd name="T36" fmla="*/ 36 w 105"/>
                <a:gd name="T37" fmla="*/ 128 h 256"/>
                <a:gd name="T38" fmla="*/ 36 w 105"/>
                <a:gd name="T39" fmla="*/ 143 h 256"/>
                <a:gd name="T40" fmla="*/ 30 w 105"/>
                <a:gd name="T41" fmla="*/ 155 h 256"/>
                <a:gd name="T42" fmla="*/ 23 w 105"/>
                <a:gd name="T43" fmla="*/ 164 h 256"/>
                <a:gd name="T44" fmla="*/ 11 w 105"/>
                <a:gd name="T45" fmla="*/ 170 h 256"/>
                <a:gd name="T46" fmla="*/ 4 w 105"/>
                <a:gd name="T47" fmla="*/ 170 h 256"/>
                <a:gd name="T48" fmla="*/ 0 w 105"/>
                <a:gd name="T49" fmla="*/ 180 h 256"/>
                <a:gd name="T50" fmla="*/ 7 w 105"/>
                <a:gd name="T51" fmla="*/ 189 h 256"/>
                <a:gd name="T52" fmla="*/ 13 w 105"/>
                <a:gd name="T53" fmla="*/ 191 h 256"/>
                <a:gd name="T54" fmla="*/ 11 w 105"/>
                <a:gd name="T55" fmla="*/ 199 h 256"/>
                <a:gd name="T56" fmla="*/ 4 w 105"/>
                <a:gd name="T57" fmla="*/ 208 h 256"/>
                <a:gd name="T58" fmla="*/ 2 w 105"/>
                <a:gd name="T59" fmla="*/ 212 h 256"/>
                <a:gd name="T60" fmla="*/ 4 w 105"/>
                <a:gd name="T61" fmla="*/ 218 h 256"/>
                <a:gd name="T62" fmla="*/ 11 w 105"/>
                <a:gd name="T63" fmla="*/ 231 h 256"/>
                <a:gd name="T64" fmla="*/ 9 w 105"/>
                <a:gd name="T65" fmla="*/ 239 h 256"/>
                <a:gd name="T66" fmla="*/ 17 w 105"/>
                <a:gd name="T67" fmla="*/ 256 h 256"/>
                <a:gd name="T68" fmla="*/ 23 w 105"/>
                <a:gd name="T69" fmla="*/ 254 h 256"/>
                <a:gd name="T70" fmla="*/ 34 w 105"/>
                <a:gd name="T71" fmla="*/ 250 h 256"/>
                <a:gd name="T72" fmla="*/ 44 w 105"/>
                <a:gd name="T73" fmla="*/ 248 h 256"/>
                <a:gd name="T74" fmla="*/ 53 w 105"/>
                <a:gd name="T75" fmla="*/ 243 h 256"/>
                <a:gd name="T76" fmla="*/ 65 w 105"/>
                <a:gd name="T77" fmla="*/ 248 h 256"/>
                <a:gd name="T78" fmla="*/ 69 w 105"/>
                <a:gd name="T79" fmla="*/ 248 h 256"/>
                <a:gd name="T80" fmla="*/ 67 w 105"/>
                <a:gd name="T81" fmla="*/ 229 h 256"/>
                <a:gd name="T82" fmla="*/ 63 w 105"/>
                <a:gd name="T83" fmla="*/ 222 h 256"/>
                <a:gd name="T84" fmla="*/ 65 w 105"/>
                <a:gd name="T85" fmla="*/ 220 h 256"/>
                <a:gd name="T86" fmla="*/ 76 w 105"/>
                <a:gd name="T87" fmla="*/ 218 h 256"/>
                <a:gd name="T88" fmla="*/ 84 w 105"/>
                <a:gd name="T89" fmla="*/ 212 h 256"/>
                <a:gd name="T90" fmla="*/ 74 w 105"/>
                <a:gd name="T91" fmla="*/ 191 h 256"/>
                <a:gd name="T92" fmla="*/ 71 w 105"/>
                <a:gd name="T93" fmla="*/ 180 h 256"/>
                <a:gd name="T94" fmla="*/ 84 w 105"/>
                <a:gd name="T95" fmla="*/ 180 h 256"/>
                <a:gd name="T96" fmla="*/ 99 w 105"/>
                <a:gd name="T97" fmla="*/ 174 h 256"/>
                <a:gd name="T98" fmla="*/ 97 w 105"/>
                <a:gd name="T99" fmla="*/ 170 h 256"/>
                <a:gd name="T100" fmla="*/ 92 w 105"/>
                <a:gd name="T101" fmla="*/ 157 h 256"/>
                <a:gd name="T102" fmla="*/ 90 w 105"/>
                <a:gd name="T103" fmla="*/ 151 h 256"/>
                <a:gd name="T104" fmla="*/ 92 w 105"/>
                <a:gd name="T105" fmla="*/ 143 h 256"/>
                <a:gd name="T106" fmla="*/ 82 w 105"/>
                <a:gd name="T107" fmla="*/ 136 h 256"/>
                <a:gd name="T108" fmla="*/ 84 w 105"/>
                <a:gd name="T109" fmla="*/ 126 h 256"/>
                <a:gd name="T110" fmla="*/ 99 w 105"/>
                <a:gd name="T111" fmla="*/ 115 h 256"/>
                <a:gd name="T112" fmla="*/ 105 w 105"/>
                <a:gd name="T113" fmla="*/ 105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5" h="256">
                  <a:moveTo>
                    <a:pt x="105" y="105"/>
                  </a:moveTo>
                  <a:lnTo>
                    <a:pt x="103" y="103"/>
                  </a:lnTo>
                  <a:lnTo>
                    <a:pt x="103" y="103"/>
                  </a:lnTo>
                  <a:lnTo>
                    <a:pt x="101" y="101"/>
                  </a:lnTo>
                  <a:lnTo>
                    <a:pt x="101" y="101"/>
                  </a:lnTo>
                  <a:lnTo>
                    <a:pt x="101" y="98"/>
                  </a:lnTo>
                  <a:lnTo>
                    <a:pt x="101" y="96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103" y="88"/>
                  </a:lnTo>
                  <a:lnTo>
                    <a:pt x="103" y="86"/>
                  </a:lnTo>
                  <a:lnTo>
                    <a:pt x="101" y="84"/>
                  </a:lnTo>
                  <a:lnTo>
                    <a:pt x="99" y="80"/>
                  </a:lnTo>
                  <a:lnTo>
                    <a:pt x="97" y="77"/>
                  </a:lnTo>
                  <a:lnTo>
                    <a:pt x="92" y="71"/>
                  </a:lnTo>
                  <a:lnTo>
                    <a:pt x="90" y="71"/>
                  </a:lnTo>
                  <a:lnTo>
                    <a:pt x="90" y="67"/>
                  </a:lnTo>
                  <a:lnTo>
                    <a:pt x="88" y="58"/>
                  </a:lnTo>
                  <a:lnTo>
                    <a:pt x="88" y="54"/>
                  </a:lnTo>
                  <a:lnTo>
                    <a:pt x="86" y="54"/>
                  </a:lnTo>
                  <a:lnTo>
                    <a:pt x="86" y="52"/>
                  </a:lnTo>
                  <a:lnTo>
                    <a:pt x="84" y="52"/>
                  </a:lnTo>
                  <a:lnTo>
                    <a:pt x="74" y="48"/>
                  </a:lnTo>
                  <a:lnTo>
                    <a:pt x="71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69" y="42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4" y="35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29"/>
                  </a:lnTo>
                  <a:lnTo>
                    <a:pt x="80" y="25"/>
                  </a:lnTo>
                  <a:lnTo>
                    <a:pt x="78" y="19"/>
                  </a:lnTo>
                  <a:lnTo>
                    <a:pt x="78" y="16"/>
                  </a:lnTo>
                  <a:lnTo>
                    <a:pt x="78" y="14"/>
                  </a:lnTo>
                  <a:lnTo>
                    <a:pt x="78" y="4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4" y="0"/>
                  </a:lnTo>
                  <a:lnTo>
                    <a:pt x="74" y="2"/>
                  </a:lnTo>
                  <a:lnTo>
                    <a:pt x="71" y="4"/>
                  </a:lnTo>
                  <a:lnTo>
                    <a:pt x="71" y="6"/>
                  </a:lnTo>
                  <a:lnTo>
                    <a:pt x="71" y="8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6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5" y="25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9" y="31"/>
                  </a:lnTo>
                  <a:lnTo>
                    <a:pt x="57" y="33"/>
                  </a:lnTo>
                  <a:lnTo>
                    <a:pt x="55" y="35"/>
                  </a:lnTo>
                  <a:lnTo>
                    <a:pt x="53" y="37"/>
                  </a:lnTo>
                  <a:lnTo>
                    <a:pt x="53" y="42"/>
                  </a:lnTo>
                  <a:lnTo>
                    <a:pt x="55" y="46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3" y="52"/>
                  </a:lnTo>
                  <a:lnTo>
                    <a:pt x="53" y="61"/>
                  </a:lnTo>
                  <a:lnTo>
                    <a:pt x="53" y="63"/>
                  </a:lnTo>
                  <a:lnTo>
                    <a:pt x="55" y="69"/>
                  </a:lnTo>
                  <a:lnTo>
                    <a:pt x="55" y="71"/>
                  </a:lnTo>
                  <a:lnTo>
                    <a:pt x="53" y="73"/>
                  </a:lnTo>
                  <a:lnTo>
                    <a:pt x="53" y="75"/>
                  </a:lnTo>
                  <a:lnTo>
                    <a:pt x="53" y="80"/>
                  </a:lnTo>
                  <a:lnTo>
                    <a:pt x="55" y="88"/>
                  </a:lnTo>
                  <a:lnTo>
                    <a:pt x="55" y="90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4"/>
                  </a:lnTo>
                  <a:lnTo>
                    <a:pt x="57" y="103"/>
                  </a:lnTo>
                  <a:lnTo>
                    <a:pt x="57" y="105"/>
                  </a:lnTo>
                  <a:lnTo>
                    <a:pt x="55" y="105"/>
                  </a:lnTo>
                  <a:lnTo>
                    <a:pt x="55" y="105"/>
                  </a:lnTo>
                  <a:lnTo>
                    <a:pt x="53" y="105"/>
                  </a:lnTo>
                  <a:lnTo>
                    <a:pt x="51" y="105"/>
                  </a:lnTo>
                  <a:lnTo>
                    <a:pt x="48" y="105"/>
                  </a:lnTo>
                  <a:lnTo>
                    <a:pt x="46" y="107"/>
                  </a:lnTo>
                  <a:lnTo>
                    <a:pt x="44" y="109"/>
                  </a:lnTo>
                  <a:lnTo>
                    <a:pt x="42" y="119"/>
                  </a:lnTo>
                  <a:lnTo>
                    <a:pt x="40" y="122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6" y="130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43"/>
                  </a:lnTo>
                  <a:lnTo>
                    <a:pt x="36" y="145"/>
                  </a:lnTo>
                  <a:lnTo>
                    <a:pt x="38" y="151"/>
                  </a:lnTo>
                  <a:lnTo>
                    <a:pt x="36" y="151"/>
                  </a:lnTo>
                  <a:lnTo>
                    <a:pt x="32" y="155"/>
                  </a:lnTo>
                  <a:lnTo>
                    <a:pt x="30" y="155"/>
                  </a:lnTo>
                  <a:lnTo>
                    <a:pt x="27" y="157"/>
                  </a:lnTo>
                  <a:lnTo>
                    <a:pt x="27" y="159"/>
                  </a:lnTo>
                  <a:lnTo>
                    <a:pt x="25" y="161"/>
                  </a:lnTo>
                  <a:lnTo>
                    <a:pt x="25" y="164"/>
                  </a:lnTo>
                  <a:lnTo>
                    <a:pt x="23" y="164"/>
                  </a:lnTo>
                  <a:lnTo>
                    <a:pt x="21" y="166"/>
                  </a:lnTo>
                  <a:lnTo>
                    <a:pt x="19" y="166"/>
                  </a:lnTo>
                  <a:lnTo>
                    <a:pt x="15" y="170"/>
                  </a:lnTo>
                  <a:lnTo>
                    <a:pt x="13" y="170"/>
                  </a:lnTo>
                  <a:lnTo>
                    <a:pt x="11" y="170"/>
                  </a:lnTo>
                  <a:lnTo>
                    <a:pt x="11" y="168"/>
                  </a:lnTo>
                  <a:lnTo>
                    <a:pt x="9" y="168"/>
                  </a:lnTo>
                  <a:lnTo>
                    <a:pt x="7" y="168"/>
                  </a:lnTo>
                  <a:lnTo>
                    <a:pt x="4" y="168"/>
                  </a:lnTo>
                  <a:lnTo>
                    <a:pt x="4" y="170"/>
                  </a:lnTo>
                  <a:lnTo>
                    <a:pt x="2" y="172"/>
                  </a:lnTo>
                  <a:lnTo>
                    <a:pt x="2" y="174"/>
                  </a:lnTo>
                  <a:lnTo>
                    <a:pt x="2" y="178"/>
                  </a:lnTo>
                  <a:lnTo>
                    <a:pt x="2" y="178"/>
                  </a:lnTo>
                  <a:lnTo>
                    <a:pt x="0" y="180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2" y="187"/>
                  </a:lnTo>
                  <a:lnTo>
                    <a:pt x="2" y="189"/>
                  </a:lnTo>
                  <a:lnTo>
                    <a:pt x="7" y="189"/>
                  </a:lnTo>
                  <a:lnTo>
                    <a:pt x="9" y="187"/>
                  </a:lnTo>
                  <a:lnTo>
                    <a:pt x="11" y="189"/>
                  </a:lnTo>
                  <a:lnTo>
                    <a:pt x="11" y="189"/>
                  </a:lnTo>
                  <a:lnTo>
                    <a:pt x="13" y="189"/>
                  </a:lnTo>
                  <a:lnTo>
                    <a:pt x="13" y="191"/>
                  </a:lnTo>
                  <a:lnTo>
                    <a:pt x="13" y="191"/>
                  </a:lnTo>
                  <a:lnTo>
                    <a:pt x="13" y="195"/>
                  </a:lnTo>
                  <a:lnTo>
                    <a:pt x="13" y="195"/>
                  </a:lnTo>
                  <a:lnTo>
                    <a:pt x="11" y="197"/>
                  </a:lnTo>
                  <a:lnTo>
                    <a:pt x="11" y="199"/>
                  </a:lnTo>
                  <a:lnTo>
                    <a:pt x="11" y="208"/>
                  </a:lnTo>
                  <a:lnTo>
                    <a:pt x="9" y="210"/>
                  </a:lnTo>
                  <a:lnTo>
                    <a:pt x="9" y="210"/>
                  </a:lnTo>
                  <a:lnTo>
                    <a:pt x="7" y="210"/>
                  </a:lnTo>
                  <a:lnTo>
                    <a:pt x="4" y="208"/>
                  </a:lnTo>
                  <a:lnTo>
                    <a:pt x="4" y="208"/>
                  </a:lnTo>
                  <a:lnTo>
                    <a:pt x="2" y="208"/>
                  </a:lnTo>
                  <a:lnTo>
                    <a:pt x="2" y="210"/>
                  </a:lnTo>
                  <a:lnTo>
                    <a:pt x="2" y="212"/>
                  </a:lnTo>
                  <a:lnTo>
                    <a:pt x="2" y="212"/>
                  </a:lnTo>
                  <a:lnTo>
                    <a:pt x="2" y="214"/>
                  </a:lnTo>
                  <a:lnTo>
                    <a:pt x="2" y="214"/>
                  </a:lnTo>
                  <a:lnTo>
                    <a:pt x="2" y="216"/>
                  </a:lnTo>
                  <a:lnTo>
                    <a:pt x="4" y="216"/>
                  </a:lnTo>
                  <a:lnTo>
                    <a:pt x="4" y="218"/>
                  </a:lnTo>
                  <a:lnTo>
                    <a:pt x="7" y="218"/>
                  </a:lnTo>
                  <a:lnTo>
                    <a:pt x="7" y="218"/>
                  </a:lnTo>
                  <a:lnTo>
                    <a:pt x="7" y="220"/>
                  </a:lnTo>
                  <a:lnTo>
                    <a:pt x="9" y="227"/>
                  </a:lnTo>
                  <a:lnTo>
                    <a:pt x="11" y="231"/>
                  </a:lnTo>
                  <a:lnTo>
                    <a:pt x="9" y="233"/>
                  </a:lnTo>
                  <a:lnTo>
                    <a:pt x="9" y="233"/>
                  </a:lnTo>
                  <a:lnTo>
                    <a:pt x="9" y="235"/>
                  </a:lnTo>
                  <a:lnTo>
                    <a:pt x="9" y="237"/>
                  </a:lnTo>
                  <a:lnTo>
                    <a:pt x="9" y="239"/>
                  </a:lnTo>
                  <a:lnTo>
                    <a:pt x="11" y="241"/>
                  </a:lnTo>
                  <a:lnTo>
                    <a:pt x="13" y="243"/>
                  </a:lnTo>
                  <a:lnTo>
                    <a:pt x="15" y="254"/>
                  </a:lnTo>
                  <a:lnTo>
                    <a:pt x="17" y="256"/>
                  </a:lnTo>
                  <a:lnTo>
                    <a:pt x="17" y="256"/>
                  </a:lnTo>
                  <a:lnTo>
                    <a:pt x="19" y="256"/>
                  </a:lnTo>
                  <a:lnTo>
                    <a:pt x="19" y="254"/>
                  </a:lnTo>
                  <a:lnTo>
                    <a:pt x="21" y="254"/>
                  </a:lnTo>
                  <a:lnTo>
                    <a:pt x="21" y="254"/>
                  </a:lnTo>
                  <a:lnTo>
                    <a:pt x="23" y="254"/>
                  </a:lnTo>
                  <a:lnTo>
                    <a:pt x="23" y="256"/>
                  </a:lnTo>
                  <a:lnTo>
                    <a:pt x="23" y="252"/>
                  </a:lnTo>
                  <a:lnTo>
                    <a:pt x="25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40" y="248"/>
                  </a:lnTo>
                  <a:lnTo>
                    <a:pt x="42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6" y="248"/>
                  </a:lnTo>
                  <a:lnTo>
                    <a:pt x="51" y="245"/>
                  </a:lnTo>
                  <a:lnTo>
                    <a:pt x="51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7" y="243"/>
                  </a:lnTo>
                  <a:lnTo>
                    <a:pt x="59" y="243"/>
                  </a:lnTo>
                  <a:lnTo>
                    <a:pt x="61" y="245"/>
                  </a:lnTo>
                  <a:lnTo>
                    <a:pt x="65" y="248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3"/>
                  </a:lnTo>
                  <a:lnTo>
                    <a:pt x="67" y="237"/>
                  </a:lnTo>
                  <a:lnTo>
                    <a:pt x="67" y="235"/>
                  </a:lnTo>
                  <a:lnTo>
                    <a:pt x="67" y="233"/>
                  </a:lnTo>
                  <a:lnTo>
                    <a:pt x="67" y="229"/>
                  </a:lnTo>
                  <a:lnTo>
                    <a:pt x="65" y="229"/>
                  </a:lnTo>
                  <a:lnTo>
                    <a:pt x="65" y="227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7" y="220"/>
                  </a:lnTo>
                  <a:lnTo>
                    <a:pt x="69" y="220"/>
                  </a:lnTo>
                  <a:lnTo>
                    <a:pt x="69" y="220"/>
                  </a:lnTo>
                  <a:lnTo>
                    <a:pt x="71" y="220"/>
                  </a:lnTo>
                  <a:lnTo>
                    <a:pt x="76" y="218"/>
                  </a:lnTo>
                  <a:lnTo>
                    <a:pt x="76" y="216"/>
                  </a:lnTo>
                  <a:lnTo>
                    <a:pt x="78" y="216"/>
                  </a:lnTo>
                  <a:lnTo>
                    <a:pt x="82" y="214"/>
                  </a:lnTo>
                  <a:lnTo>
                    <a:pt x="84" y="214"/>
                  </a:lnTo>
                  <a:lnTo>
                    <a:pt x="84" y="212"/>
                  </a:lnTo>
                  <a:lnTo>
                    <a:pt x="84" y="212"/>
                  </a:lnTo>
                  <a:lnTo>
                    <a:pt x="82" y="208"/>
                  </a:lnTo>
                  <a:lnTo>
                    <a:pt x="76" y="193"/>
                  </a:lnTo>
                  <a:lnTo>
                    <a:pt x="74" y="193"/>
                  </a:lnTo>
                  <a:lnTo>
                    <a:pt x="74" y="191"/>
                  </a:lnTo>
                  <a:lnTo>
                    <a:pt x="74" y="189"/>
                  </a:lnTo>
                  <a:lnTo>
                    <a:pt x="76" y="187"/>
                  </a:lnTo>
                  <a:lnTo>
                    <a:pt x="76" y="185"/>
                  </a:lnTo>
                  <a:lnTo>
                    <a:pt x="76" y="185"/>
                  </a:lnTo>
                  <a:lnTo>
                    <a:pt x="71" y="180"/>
                  </a:lnTo>
                  <a:lnTo>
                    <a:pt x="74" y="178"/>
                  </a:lnTo>
                  <a:lnTo>
                    <a:pt x="76" y="178"/>
                  </a:lnTo>
                  <a:lnTo>
                    <a:pt x="78" y="178"/>
                  </a:lnTo>
                  <a:lnTo>
                    <a:pt x="80" y="178"/>
                  </a:lnTo>
                  <a:lnTo>
                    <a:pt x="84" y="180"/>
                  </a:lnTo>
                  <a:lnTo>
                    <a:pt x="86" y="180"/>
                  </a:lnTo>
                  <a:lnTo>
                    <a:pt x="92" y="178"/>
                  </a:lnTo>
                  <a:lnTo>
                    <a:pt x="97" y="176"/>
                  </a:lnTo>
                  <a:lnTo>
                    <a:pt x="97" y="174"/>
                  </a:lnTo>
                  <a:lnTo>
                    <a:pt x="99" y="174"/>
                  </a:lnTo>
                  <a:lnTo>
                    <a:pt x="99" y="174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0"/>
                  </a:lnTo>
                  <a:lnTo>
                    <a:pt x="97" y="170"/>
                  </a:lnTo>
                  <a:lnTo>
                    <a:pt x="97" y="168"/>
                  </a:lnTo>
                  <a:lnTo>
                    <a:pt x="97" y="166"/>
                  </a:lnTo>
                  <a:lnTo>
                    <a:pt x="92" y="161"/>
                  </a:lnTo>
                  <a:lnTo>
                    <a:pt x="92" y="157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3"/>
                  </a:lnTo>
                  <a:lnTo>
                    <a:pt x="92" y="151"/>
                  </a:lnTo>
                  <a:lnTo>
                    <a:pt x="90" y="151"/>
                  </a:lnTo>
                  <a:lnTo>
                    <a:pt x="90" y="149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5"/>
                  </a:lnTo>
                  <a:lnTo>
                    <a:pt x="92" y="143"/>
                  </a:lnTo>
                  <a:lnTo>
                    <a:pt x="90" y="143"/>
                  </a:lnTo>
                  <a:lnTo>
                    <a:pt x="86" y="138"/>
                  </a:lnTo>
                  <a:lnTo>
                    <a:pt x="86" y="138"/>
                  </a:lnTo>
                  <a:lnTo>
                    <a:pt x="84" y="138"/>
                  </a:lnTo>
                  <a:lnTo>
                    <a:pt x="82" y="136"/>
                  </a:lnTo>
                  <a:lnTo>
                    <a:pt x="82" y="136"/>
                  </a:lnTo>
                  <a:lnTo>
                    <a:pt x="82" y="134"/>
                  </a:lnTo>
                  <a:lnTo>
                    <a:pt x="82" y="134"/>
                  </a:lnTo>
                  <a:lnTo>
                    <a:pt x="84" y="128"/>
                  </a:lnTo>
                  <a:lnTo>
                    <a:pt x="84" y="126"/>
                  </a:lnTo>
                  <a:lnTo>
                    <a:pt x="84" y="126"/>
                  </a:lnTo>
                  <a:lnTo>
                    <a:pt x="94" y="115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101" y="113"/>
                  </a:lnTo>
                  <a:lnTo>
                    <a:pt x="101" y="113"/>
                  </a:lnTo>
                  <a:lnTo>
                    <a:pt x="105" y="105"/>
                  </a:lnTo>
                  <a:lnTo>
                    <a:pt x="105" y="105"/>
                  </a:lnTo>
                  <a:close/>
                </a:path>
              </a:pathLst>
            </a:custGeom>
            <a:solidFill>
              <a:schemeClr val="accent4"/>
            </a:solidFill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7" name="Freeform 99">
              <a:extLst>
                <a:ext uri="{FF2B5EF4-FFF2-40B4-BE49-F238E27FC236}">
                  <a16:creationId xmlns:a16="http://schemas.microsoft.com/office/drawing/2014/main" id="{EC5C8E0F-9D3B-4CDD-A76C-CCA6BD3A13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40400" y="1276761"/>
              <a:ext cx="471488" cy="625078"/>
            </a:xfrm>
            <a:custGeom>
              <a:avLst/>
              <a:gdLst>
                <a:gd name="T0" fmla="*/ 281 w 396"/>
                <a:gd name="T1" fmla="*/ 490 h 525"/>
                <a:gd name="T2" fmla="*/ 283 w 396"/>
                <a:gd name="T3" fmla="*/ 498 h 525"/>
                <a:gd name="T4" fmla="*/ 296 w 396"/>
                <a:gd name="T5" fmla="*/ 492 h 525"/>
                <a:gd name="T6" fmla="*/ 153 w 396"/>
                <a:gd name="T7" fmla="*/ 345 h 525"/>
                <a:gd name="T8" fmla="*/ 153 w 396"/>
                <a:gd name="T9" fmla="*/ 347 h 525"/>
                <a:gd name="T10" fmla="*/ 3 w 396"/>
                <a:gd name="T11" fmla="*/ 317 h 525"/>
                <a:gd name="T12" fmla="*/ 28 w 396"/>
                <a:gd name="T13" fmla="*/ 336 h 525"/>
                <a:gd name="T14" fmla="*/ 273 w 396"/>
                <a:gd name="T15" fmla="*/ 380 h 525"/>
                <a:gd name="T16" fmla="*/ 267 w 396"/>
                <a:gd name="T17" fmla="*/ 372 h 525"/>
                <a:gd name="T18" fmla="*/ 264 w 396"/>
                <a:gd name="T19" fmla="*/ 414 h 525"/>
                <a:gd name="T20" fmla="*/ 269 w 396"/>
                <a:gd name="T21" fmla="*/ 435 h 525"/>
                <a:gd name="T22" fmla="*/ 273 w 396"/>
                <a:gd name="T23" fmla="*/ 408 h 525"/>
                <a:gd name="T24" fmla="*/ 386 w 396"/>
                <a:gd name="T25" fmla="*/ 513 h 525"/>
                <a:gd name="T26" fmla="*/ 388 w 396"/>
                <a:gd name="T27" fmla="*/ 521 h 525"/>
                <a:gd name="T28" fmla="*/ 300 w 396"/>
                <a:gd name="T29" fmla="*/ 471 h 525"/>
                <a:gd name="T30" fmla="*/ 392 w 396"/>
                <a:gd name="T31" fmla="*/ 88 h 525"/>
                <a:gd name="T32" fmla="*/ 375 w 396"/>
                <a:gd name="T33" fmla="*/ 65 h 525"/>
                <a:gd name="T34" fmla="*/ 279 w 396"/>
                <a:gd name="T35" fmla="*/ 21 h 525"/>
                <a:gd name="T36" fmla="*/ 256 w 396"/>
                <a:gd name="T37" fmla="*/ 4 h 525"/>
                <a:gd name="T38" fmla="*/ 206 w 396"/>
                <a:gd name="T39" fmla="*/ 19 h 525"/>
                <a:gd name="T40" fmla="*/ 187 w 396"/>
                <a:gd name="T41" fmla="*/ 40 h 525"/>
                <a:gd name="T42" fmla="*/ 197 w 396"/>
                <a:gd name="T43" fmla="*/ 53 h 525"/>
                <a:gd name="T44" fmla="*/ 202 w 396"/>
                <a:gd name="T45" fmla="*/ 72 h 525"/>
                <a:gd name="T46" fmla="*/ 202 w 396"/>
                <a:gd name="T47" fmla="*/ 82 h 525"/>
                <a:gd name="T48" fmla="*/ 181 w 396"/>
                <a:gd name="T49" fmla="*/ 91 h 525"/>
                <a:gd name="T50" fmla="*/ 187 w 396"/>
                <a:gd name="T51" fmla="*/ 120 h 525"/>
                <a:gd name="T52" fmla="*/ 170 w 396"/>
                <a:gd name="T53" fmla="*/ 126 h 525"/>
                <a:gd name="T54" fmla="*/ 172 w 396"/>
                <a:gd name="T55" fmla="*/ 141 h 525"/>
                <a:gd name="T56" fmla="*/ 174 w 396"/>
                <a:gd name="T57" fmla="*/ 164 h 525"/>
                <a:gd name="T58" fmla="*/ 185 w 396"/>
                <a:gd name="T59" fmla="*/ 204 h 525"/>
                <a:gd name="T60" fmla="*/ 187 w 396"/>
                <a:gd name="T61" fmla="*/ 208 h 525"/>
                <a:gd name="T62" fmla="*/ 185 w 396"/>
                <a:gd name="T63" fmla="*/ 223 h 525"/>
                <a:gd name="T64" fmla="*/ 185 w 396"/>
                <a:gd name="T65" fmla="*/ 257 h 525"/>
                <a:gd name="T66" fmla="*/ 179 w 396"/>
                <a:gd name="T67" fmla="*/ 288 h 525"/>
                <a:gd name="T68" fmla="*/ 166 w 396"/>
                <a:gd name="T69" fmla="*/ 311 h 525"/>
                <a:gd name="T70" fmla="*/ 170 w 396"/>
                <a:gd name="T71" fmla="*/ 345 h 525"/>
                <a:gd name="T72" fmla="*/ 174 w 396"/>
                <a:gd name="T73" fmla="*/ 349 h 525"/>
                <a:gd name="T74" fmla="*/ 183 w 396"/>
                <a:gd name="T75" fmla="*/ 359 h 525"/>
                <a:gd name="T76" fmla="*/ 202 w 396"/>
                <a:gd name="T77" fmla="*/ 364 h 525"/>
                <a:gd name="T78" fmla="*/ 218 w 396"/>
                <a:gd name="T79" fmla="*/ 349 h 525"/>
                <a:gd name="T80" fmla="*/ 239 w 396"/>
                <a:gd name="T81" fmla="*/ 351 h 525"/>
                <a:gd name="T82" fmla="*/ 258 w 396"/>
                <a:gd name="T83" fmla="*/ 351 h 525"/>
                <a:gd name="T84" fmla="*/ 260 w 396"/>
                <a:gd name="T85" fmla="*/ 332 h 525"/>
                <a:gd name="T86" fmla="*/ 252 w 396"/>
                <a:gd name="T87" fmla="*/ 296 h 525"/>
                <a:gd name="T88" fmla="*/ 264 w 396"/>
                <a:gd name="T89" fmla="*/ 265 h 525"/>
                <a:gd name="T90" fmla="*/ 260 w 396"/>
                <a:gd name="T91" fmla="*/ 248 h 525"/>
                <a:gd name="T92" fmla="*/ 258 w 396"/>
                <a:gd name="T93" fmla="*/ 223 h 525"/>
                <a:gd name="T94" fmla="*/ 264 w 396"/>
                <a:gd name="T95" fmla="*/ 177 h 525"/>
                <a:gd name="T96" fmla="*/ 262 w 396"/>
                <a:gd name="T97" fmla="*/ 149 h 525"/>
                <a:gd name="T98" fmla="*/ 262 w 396"/>
                <a:gd name="T99" fmla="*/ 135 h 525"/>
                <a:gd name="T100" fmla="*/ 250 w 396"/>
                <a:gd name="T101" fmla="*/ 124 h 525"/>
                <a:gd name="T102" fmla="*/ 246 w 396"/>
                <a:gd name="T103" fmla="*/ 109 h 525"/>
                <a:gd name="T104" fmla="*/ 277 w 396"/>
                <a:gd name="T105" fmla="*/ 82 h 525"/>
                <a:gd name="T106" fmla="*/ 294 w 396"/>
                <a:gd name="T107" fmla="*/ 74 h 525"/>
                <a:gd name="T108" fmla="*/ 306 w 396"/>
                <a:gd name="T109" fmla="*/ 76 h 525"/>
                <a:gd name="T110" fmla="*/ 323 w 396"/>
                <a:gd name="T111" fmla="*/ 86 h 525"/>
                <a:gd name="T112" fmla="*/ 317 w 396"/>
                <a:gd name="T113" fmla="*/ 93 h 525"/>
                <a:gd name="T114" fmla="*/ 323 w 396"/>
                <a:gd name="T115" fmla="*/ 95 h 525"/>
                <a:gd name="T116" fmla="*/ 342 w 396"/>
                <a:gd name="T117" fmla="*/ 97 h 525"/>
                <a:gd name="T118" fmla="*/ 375 w 396"/>
                <a:gd name="T119" fmla="*/ 105 h 525"/>
                <a:gd name="T120" fmla="*/ 298 w 396"/>
                <a:gd name="T121" fmla="*/ 513 h 525"/>
                <a:gd name="T122" fmla="*/ 317 w 396"/>
                <a:gd name="T123" fmla="*/ 517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6" h="525">
                  <a:moveTo>
                    <a:pt x="296" y="492"/>
                  </a:moveTo>
                  <a:lnTo>
                    <a:pt x="294" y="494"/>
                  </a:lnTo>
                  <a:lnTo>
                    <a:pt x="294" y="494"/>
                  </a:lnTo>
                  <a:lnTo>
                    <a:pt x="292" y="492"/>
                  </a:lnTo>
                  <a:lnTo>
                    <a:pt x="287" y="490"/>
                  </a:lnTo>
                  <a:lnTo>
                    <a:pt x="285" y="488"/>
                  </a:lnTo>
                  <a:lnTo>
                    <a:pt x="283" y="486"/>
                  </a:lnTo>
                  <a:lnTo>
                    <a:pt x="281" y="486"/>
                  </a:lnTo>
                  <a:lnTo>
                    <a:pt x="281" y="488"/>
                  </a:lnTo>
                  <a:lnTo>
                    <a:pt x="281" y="490"/>
                  </a:lnTo>
                  <a:lnTo>
                    <a:pt x="281" y="492"/>
                  </a:lnTo>
                  <a:lnTo>
                    <a:pt x="279" y="494"/>
                  </a:lnTo>
                  <a:lnTo>
                    <a:pt x="277" y="492"/>
                  </a:lnTo>
                  <a:lnTo>
                    <a:pt x="275" y="492"/>
                  </a:lnTo>
                  <a:lnTo>
                    <a:pt x="277" y="494"/>
                  </a:lnTo>
                  <a:lnTo>
                    <a:pt x="277" y="494"/>
                  </a:lnTo>
                  <a:lnTo>
                    <a:pt x="279" y="496"/>
                  </a:lnTo>
                  <a:lnTo>
                    <a:pt x="281" y="494"/>
                  </a:lnTo>
                  <a:lnTo>
                    <a:pt x="281" y="496"/>
                  </a:lnTo>
                  <a:lnTo>
                    <a:pt x="283" y="498"/>
                  </a:lnTo>
                  <a:lnTo>
                    <a:pt x="285" y="500"/>
                  </a:lnTo>
                  <a:lnTo>
                    <a:pt x="287" y="498"/>
                  </a:lnTo>
                  <a:lnTo>
                    <a:pt x="287" y="498"/>
                  </a:lnTo>
                  <a:lnTo>
                    <a:pt x="290" y="498"/>
                  </a:lnTo>
                  <a:lnTo>
                    <a:pt x="294" y="498"/>
                  </a:lnTo>
                  <a:lnTo>
                    <a:pt x="296" y="498"/>
                  </a:lnTo>
                  <a:lnTo>
                    <a:pt x="296" y="496"/>
                  </a:lnTo>
                  <a:lnTo>
                    <a:pt x="296" y="494"/>
                  </a:lnTo>
                  <a:lnTo>
                    <a:pt x="298" y="492"/>
                  </a:lnTo>
                  <a:lnTo>
                    <a:pt x="296" y="492"/>
                  </a:lnTo>
                  <a:lnTo>
                    <a:pt x="296" y="492"/>
                  </a:lnTo>
                  <a:close/>
                  <a:moveTo>
                    <a:pt x="158" y="343"/>
                  </a:moveTo>
                  <a:lnTo>
                    <a:pt x="158" y="343"/>
                  </a:lnTo>
                  <a:lnTo>
                    <a:pt x="156" y="343"/>
                  </a:lnTo>
                  <a:lnTo>
                    <a:pt x="156" y="343"/>
                  </a:lnTo>
                  <a:lnTo>
                    <a:pt x="156" y="343"/>
                  </a:lnTo>
                  <a:lnTo>
                    <a:pt x="156" y="343"/>
                  </a:lnTo>
                  <a:lnTo>
                    <a:pt x="153" y="343"/>
                  </a:lnTo>
                  <a:lnTo>
                    <a:pt x="153" y="345"/>
                  </a:lnTo>
                  <a:lnTo>
                    <a:pt x="153" y="345"/>
                  </a:lnTo>
                  <a:lnTo>
                    <a:pt x="153" y="343"/>
                  </a:lnTo>
                  <a:lnTo>
                    <a:pt x="151" y="345"/>
                  </a:lnTo>
                  <a:lnTo>
                    <a:pt x="151" y="345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3" y="347"/>
                  </a:lnTo>
                  <a:lnTo>
                    <a:pt x="156" y="347"/>
                  </a:lnTo>
                  <a:lnTo>
                    <a:pt x="158" y="347"/>
                  </a:lnTo>
                  <a:lnTo>
                    <a:pt x="158" y="345"/>
                  </a:lnTo>
                  <a:lnTo>
                    <a:pt x="158" y="345"/>
                  </a:lnTo>
                  <a:lnTo>
                    <a:pt x="158" y="343"/>
                  </a:lnTo>
                  <a:close/>
                  <a:moveTo>
                    <a:pt x="0" y="315"/>
                  </a:moveTo>
                  <a:lnTo>
                    <a:pt x="3" y="317"/>
                  </a:lnTo>
                  <a:lnTo>
                    <a:pt x="0" y="317"/>
                  </a:lnTo>
                  <a:lnTo>
                    <a:pt x="3" y="317"/>
                  </a:lnTo>
                  <a:lnTo>
                    <a:pt x="5" y="315"/>
                  </a:lnTo>
                  <a:lnTo>
                    <a:pt x="3" y="313"/>
                  </a:lnTo>
                  <a:lnTo>
                    <a:pt x="0" y="315"/>
                  </a:lnTo>
                  <a:close/>
                  <a:moveTo>
                    <a:pt x="28" y="332"/>
                  </a:moveTo>
                  <a:lnTo>
                    <a:pt x="28" y="330"/>
                  </a:lnTo>
                  <a:lnTo>
                    <a:pt x="28" y="330"/>
                  </a:lnTo>
                  <a:lnTo>
                    <a:pt x="28" y="332"/>
                  </a:lnTo>
                  <a:lnTo>
                    <a:pt x="28" y="334"/>
                  </a:lnTo>
                  <a:lnTo>
                    <a:pt x="28" y="334"/>
                  </a:lnTo>
                  <a:lnTo>
                    <a:pt x="28" y="336"/>
                  </a:lnTo>
                  <a:lnTo>
                    <a:pt x="30" y="336"/>
                  </a:lnTo>
                  <a:lnTo>
                    <a:pt x="30" y="334"/>
                  </a:lnTo>
                  <a:lnTo>
                    <a:pt x="30" y="332"/>
                  </a:lnTo>
                  <a:lnTo>
                    <a:pt x="28" y="332"/>
                  </a:lnTo>
                  <a:close/>
                  <a:moveTo>
                    <a:pt x="275" y="401"/>
                  </a:moveTo>
                  <a:lnTo>
                    <a:pt x="275" y="397"/>
                  </a:lnTo>
                  <a:lnTo>
                    <a:pt x="275" y="393"/>
                  </a:lnTo>
                  <a:lnTo>
                    <a:pt x="275" y="389"/>
                  </a:lnTo>
                  <a:lnTo>
                    <a:pt x="275" y="385"/>
                  </a:lnTo>
                  <a:lnTo>
                    <a:pt x="273" y="380"/>
                  </a:lnTo>
                  <a:lnTo>
                    <a:pt x="273" y="378"/>
                  </a:lnTo>
                  <a:lnTo>
                    <a:pt x="271" y="376"/>
                  </a:lnTo>
                  <a:lnTo>
                    <a:pt x="271" y="374"/>
                  </a:lnTo>
                  <a:lnTo>
                    <a:pt x="271" y="372"/>
                  </a:lnTo>
                  <a:lnTo>
                    <a:pt x="271" y="370"/>
                  </a:lnTo>
                  <a:lnTo>
                    <a:pt x="269" y="370"/>
                  </a:lnTo>
                  <a:lnTo>
                    <a:pt x="269" y="370"/>
                  </a:lnTo>
                  <a:lnTo>
                    <a:pt x="269" y="370"/>
                  </a:lnTo>
                  <a:lnTo>
                    <a:pt x="267" y="370"/>
                  </a:lnTo>
                  <a:lnTo>
                    <a:pt x="267" y="372"/>
                  </a:lnTo>
                  <a:lnTo>
                    <a:pt x="264" y="376"/>
                  </a:lnTo>
                  <a:lnTo>
                    <a:pt x="264" y="389"/>
                  </a:lnTo>
                  <a:lnTo>
                    <a:pt x="267" y="399"/>
                  </a:lnTo>
                  <a:lnTo>
                    <a:pt x="264" y="404"/>
                  </a:lnTo>
                  <a:lnTo>
                    <a:pt x="264" y="406"/>
                  </a:lnTo>
                  <a:lnTo>
                    <a:pt x="264" y="408"/>
                  </a:lnTo>
                  <a:lnTo>
                    <a:pt x="264" y="410"/>
                  </a:lnTo>
                  <a:lnTo>
                    <a:pt x="264" y="410"/>
                  </a:lnTo>
                  <a:lnTo>
                    <a:pt x="264" y="412"/>
                  </a:lnTo>
                  <a:lnTo>
                    <a:pt x="264" y="414"/>
                  </a:lnTo>
                  <a:lnTo>
                    <a:pt x="264" y="414"/>
                  </a:lnTo>
                  <a:lnTo>
                    <a:pt x="264" y="416"/>
                  </a:lnTo>
                  <a:lnTo>
                    <a:pt x="267" y="416"/>
                  </a:lnTo>
                  <a:lnTo>
                    <a:pt x="267" y="416"/>
                  </a:lnTo>
                  <a:lnTo>
                    <a:pt x="267" y="418"/>
                  </a:lnTo>
                  <a:lnTo>
                    <a:pt x="267" y="427"/>
                  </a:lnTo>
                  <a:lnTo>
                    <a:pt x="267" y="429"/>
                  </a:lnTo>
                  <a:lnTo>
                    <a:pt x="269" y="433"/>
                  </a:lnTo>
                  <a:lnTo>
                    <a:pt x="269" y="437"/>
                  </a:lnTo>
                  <a:lnTo>
                    <a:pt x="269" y="435"/>
                  </a:lnTo>
                  <a:lnTo>
                    <a:pt x="271" y="433"/>
                  </a:lnTo>
                  <a:lnTo>
                    <a:pt x="271" y="433"/>
                  </a:lnTo>
                  <a:lnTo>
                    <a:pt x="271" y="429"/>
                  </a:lnTo>
                  <a:lnTo>
                    <a:pt x="271" y="427"/>
                  </a:lnTo>
                  <a:lnTo>
                    <a:pt x="271" y="425"/>
                  </a:lnTo>
                  <a:lnTo>
                    <a:pt x="273" y="422"/>
                  </a:lnTo>
                  <a:lnTo>
                    <a:pt x="273" y="418"/>
                  </a:lnTo>
                  <a:lnTo>
                    <a:pt x="273" y="414"/>
                  </a:lnTo>
                  <a:lnTo>
                    <a:pt x="273" y="410"/>
                  </a:lnTo>
                  <a:lnTo>
                    <a:pt x="273" y="408"/>
                  </a:lnTo>
                  <a:lnTo>
                    <a:pt x="275" y="401"/>
                  </a:lnTo>
                  <a:close/>
                  <a:moveTo>
                    <a:pt x="390" y="513"/>
                  </a:moveTo>
                  <a:lnTo>
                    <a:pt x="390" y="511"/>
                  </a:lnTo>
                  <a:lnTo>
                    <a:pt x="390" y="511"/>
                  </a:lnTo>
                  <a:lnTo>
                    <a:pt x="388" y="511"/>
                  </a:lnTo>
                  <a:lnTo>
                    <a:pt x="388" y="511"/>
                  </a:lnTo>
                  <a:lnTo>
                    <a:pt x="388" y="513"/>
                  </a:lnTo>
                  <a:lnTo>
                    <a:pt x="386" y="513"/>
                  </a:lnTo>
                  <a:lnTo>
                    <a:pt x="386" y="513"/>
                  </a:lnTo>
                  <a:lnTo>
                    <a:pt x="386" y="513"/>
                  </a:lnTo>
                  <a:lnTo>
                    <a:pt x="386" y="513"/>
                  </a:lnTo>
                  <a:lnTo>
                    <a:pt x="386" y="513"/>
                  </a:lnTo>
                  <a:lnTo>
                    <a:pt x="386" y="515"/>
                  </a:lnTo>
                  <a:lnTo>
                    <a:pt x="388" y="513"/>
                  </a:lnTo>
                  <a:lnTo>
                    <a:pt x="388" y="513"/>
                  </a:lnTo>
                  <a:lnTo>
                    <a:pt x="390" y="513"/>
                  </a:lnTo>
                  <a:close/>
                  <a:moveTo>
                    <a:pt x="394" y="517"/>
                  </a:moveTo>
                  <a:lnTo>
                    <a:pt x="390" y="519"/>
                  </a:lnTo>
                  <a:lnTo>
                    <a:pt x="390" y="519"/>
                  </a:lnTo>
                  <a:lnTo>
                    <a:pt x="388" y="521"/>
                  </a:lnTo>
                  <a:lnTo>
                    <a:pt x="388" y="521"/>
                  </a:lnTo>
                  <a:lnTo>
                    <a:pt x="388" y="523"/>
                  </a:lnTo>
                  <a:lnTo>
                    <a:pt x="388" y="525"/>
                  </a:lnTo>
                  <a:lnTo>
                    <a:pt x="390" y="525"/>
                  </a:lnTo>
                  <a:lnTo>
                    <a:pt x="394" y="523"/>
                  </a:lnTo>
                  <a:lnTo>
                    <a:pt x="396" y="523"/>
                  </a:lnTo>
                  <a:lnTo>
                    <a:pt x="396" y="519"/>
                  </a:lnTo>
                  <a:lnTo>
                    <a:pt x="394" y="517"/>
                  </a:lnTo>
                  <a:close/>
                  <a:moveTo>
                    <a:pt x="298" y="473"/>
                  </a:moveTo>
                  <a:lnTo>
                    <a:pt x="300" y="471"/>
                  </a:lnTo>
                  <a:lnTo>
                    <a:pt x="300" y="471"/>
                  </a:lnTo>
                  <a:lnTo>
                    <a:pt x="300" y="467"/>
                  </a:lnTo>
                  <a:lnTo>
                    <a:pt x="298" y="467"/>
                  </a:lnTo>
                  <a:lnTo>
                    <a:pt x="298" y="467"/>
                  </a:lnTo>
                  <a:lnTo>
                    <a:pt x="298" y="467"/>
                  </a:lnTo>
                  <a:lnTo>
                    <a:pt x="296" y="469"/>
                  </a:lnTo>
                  <a:lnTo>
                    <a:pt x="298" y="471"/>
                  </a:lnTo>
                  <a:lnTo>
                    <a:pt x="298" y="473"/>
                  </a:lnTo>
                  <a:lnTo>
                    <a:pt x="298" y="473"/>
                  </a:lnTo>
                  <a:close/>
                  <a:moveTo>
                    <a:pt x="392" y="88"/>
                  </a:moveTo>
                  <a:lnTo>
                    <a:pt x="392" y="86"/>
                  </a:lnTo>
                  <a:lnTo>
                    <a:pt x="392" y="84"/>
                  </a:lnTo>
                  <a:lnTo>
                    <a:pt x="392" y="82"/>
                  </a:lnTo>
                  <a:lnTo>
                    <a:pt x="392" y="80"/>
                  </a:lnTo>
                  <a:lnTo>
                    <a:pt x="392" y="78"/>
                  </a:lnTo>
                  <a:lnTo>
                    <a:pt x="390" y="76"/>
                  </a:lnTo>
                  <a:lnTo>
                    <a:pt x="390" y="74"/>
                  </a:lnTo>
                  <a:lnTo>
                    <a:pt x="388" y="72"/>
                  </a:lnTo>
                  <a:lnTo>
                    <a:pt x="378" y="67"/>
                  </a:lnTo>
                  <a:lnTo>
                    <a:pt x="375" y="65"/>
                  </a:lnTo>
                  <a:lnTo>
                    <a:pt x="369" y="59"/>
                  </a:lnTo>
                  <a:lnTo>
                    <a:pt x="363" y="53"/>
                  </a:lnTo>
                  <a:lnTo>
                    <a:pt x="361" y="53"/>
                  </a:lnTo>
                  <a:lnTo>
                    <a:pt x="359" y="51"/>
                  </a:lnTo>
                  <a:lnTo>
                    <a:pt x="355" y="49"/>
                  </a:lnTo>
                  <a:lnTo>
                    <a:pt x="350" y="46"/>
                  </a:lnTo>
                  <a:lnTo>
                    <a:pt x="298" y="36"/>
                  </a:lnTo>
                  <a:lnTo>
                    <a:pt x="296" y="36"/>
                  </a:lnTo>
                  <a:lnTo>
                    <a:pt x="281" y="23"/>
                  </a:lnTo>
                  <a:lnTo>
                    <a:pt x="279" y="21"/>
                  </a:lnTo>
                  <a:lnTo>
                    <a:pt x="275" y="17"/>
                  </a:lnTo>
                  <a:lnTo>
                    <a:pt x="264" y="2"/>
                  </a:lnTo>
                  <a:lnTo>
                    <a:pt x="262" y="0"/>
                  </a:lnTo>
                  <a:lnTo>
                    <a:pt x="260" y="0"/>
                  </a:lnTo>
                  <a:lnTo>
                    <a:pt x="258" y="0"/>
                  </a:lnTo>
                  <a:lnTo>
                    <a:pt x="258" y="0"/>
                  </a:lnTo>
                  <a:lnTo>
                    <a:pt x="258" y="2"/>
                  </a:lnTo>
                  <a:lnTo>
                    <a:pt x="256" y="4"/>
                  </a:lnTo>
                  <a:lnTo>
                    <a:pt x="256" y="4"/>
                  </a:lnTo>
                  <a:lnTo>
                    <a:pt x="256" y="4"/>
                  </a:lnTo>
                  <a:lnTo>
                    <a:pt x="254" y="4"/>
                  </a:lnTo>
                  <a:lnTo>
                    <a:pt x="250" y="4"/>
                  </a:lnTo>
                  <a:lnTo>
                    <a:pt x="237" y="2"/>
                  </a:lnTo>
                  <a:lnTo>
                    <a:pt x="233" y="0"/>
                  </a:lnTo>
                  <a:lnTo>
                    <a:pt x="229" y="0"/>
                  </a:lnTo>
                  <a:lnTo>
                    <a:pt x="227" y="2"/>
                  </a:lnTo>
                  <a:lnTo>
                    <a:pt x="220" y="4"/>
                  </a:lnTo>
                  <a:lnTo>
                    <a:pt x="214" y="9"/>
                  </a:lnTo>
                  <a:lnTo>
                    <a:pt x="210" y="11"/>
                  </a:lnTo>
                  <a:lnTo>
                    <a:pt x="206" y="19"/>
                  </a:lnTo>
                  <a:lnTo>
                    <a:pt x="206" y="19"/>
                  </a:lnTo>
                  <a:lnTo>
                    <a:pt x="204" y="21"/>
                  </a:lnTo>
                  <a:lnTo>
                    <a:pt x="204" y="21"/>
                  </a:lnTo>
                  <a:lnTo>
                    <a:pt x="202" y="21"/>
                  </a:lnTo>
                  <a:lnTo>
                    <a:pt x="202" y="21"/>
                  </a:lnTo>
                  <a:lnTo>
                    <a:pt x="199" y="21"/>
                  </a:lnTo>
                  <a:lnTo>
                    <a:pt x="189" y="32"/>
                  </a:lnTo>
                  <a:lnTo>
                    <a:pt x="189" y="32"/>
                  </a:lnTo>
                  <a:lnTo>
                    <a:pt x="189" y="34"/>
                  </a:lnTo>
                  <a:lnTo>
                    <a:pt x="187" y="40"/>
                  </a:lnTo>
                  <a:lnTo>
                    <a:pt x="187" y="40"/>
                  </a:lnTo>
                  <a:lnTo>
                    <a:pt x="187" y="42"/>
                  </a:lnTo>
                  <a:lnTo>
                    <a:pt x="187" y="42"/>
                  </a:lnTo>
                  <a:lnTo>
                    <a:pt x="189" y="44"/>
                  </a:lnTo>
                  <a:lnTo>
                    <a:pt x="191" y="44"/>
                  </a:lnTo>
                  <a:lnTo>
                    <a:pt x="191" y="44"/>
                  </a:lnTo>
                  <a:lnTo>
                    <a:pt x="195" y="49"/>
                  </a:lnTo>
                  <a:lnTo>
                    <a:pt x="197" y="49"/>
                  </a:lnTo>
                  <a:lnTo>
                    <a:pt x="197" y="51"/>
                  </a:lnTo>
                  <a:lnTo>
                    <a:pt x="197" y="53"/>
                  </a:lnTo>
                  <a:lnTo>
                    <a:pt x="197" y="53"/>
                  </a:lnTo>
                  <a:lnTo>
                    <a:pt x="195" y="55"/>
                  </a:lnTo>
                  <a:lnTo>
                    <a:pt x="195" y="57"/>
                  </a:lnTo>
                  <a:lnTo>
                    <a:pt x="197" y="57"/>
                  </a:lnTo>
                  <a:lnTo>
                    <a:pt x="197" y="59"/>
                  </a:lnTo>
                  <a:lnTo>
                    <a:pt x="197" y="61"/>
                  </a:lnTo>
                  <a:lnTo>
                    <a:pt x="197" y="61"/>
                  </a:lnTo>
                  <a:lnTo>
                    <a:pt x="197" y="63"/>
                  </a:lnTo>
                  <a:lnTo>
                    <a:pt x="197" y="67"/>
                  </a:lnTo>
                  <a:lnTo>
                    <a:pt x="202" y="72"/>
                  </a:lnTo>
                  <a:lnTo>
                    <a:pt x="202" y="74"/>
                  </a:lnTo>
                  <a:lnTo>
                    <a:pt x="202" y="76"/>
                  </a:lnTo>
                  <a:lnTo>
                    <a:pt x="202" y="76"/>
                  </a:lnTo>
                  <a:lnTo>
                    <a:pt x="202" y="78"/>
                  </a:lnTo>
                  <a:lnTo>
                    <a:pt x="202" y="78"/>
                  </a:lnTo>
                  <a:lnTo>
                    <a:pt x="202" y="78"/>
                  </a:lnTo>
                  <a:lnTo>
                    <a:pt x="204" y="80"/>
                  </a:lnTo>
                  <a:lnTo>
                    <a:pt x="204" y="80"/>
                  </a:lnTo>
                  <a:lnTo>
                    <a:pt x="202" y="80"/>
                  </a:lnTo>
                  <a:lnTo>
                    <a:pt x="202" y="82"/>
                  </a:lnTo>
                  <a:lnTo>
                    <a:pt x="197" y="84"/>
                  </a:lnTo>
                  <a:lnTo>
                    <a:pt x="191" y="86"/>
                  </a:lnTo>
                  <a:lnTo>
                    <a:pt x="189" y="86"/>
                  </a:lnTo>
                  <a:lnTo>
                    <a:pt x="185" y="84"/>
                  </a:lnTo>
                  <a:lnTo>
                    <a:pt x="183" y="84"/>
                  </a:lnTo>
                  <a:lnTo>
                    <a:pt x="181" y="84"/>
                  </a:lnTo>
                  <a:lnTo>
                    <a:pt x="179" y="84"/>
                  </a:lnTo>
                  <a:lnTo>
                    <a:pt x="176" y="86"/>
                  </a:lnTo>
                  <a:lnTo>
                    <a:pt x="181" y="91"/>
                  </a:lnTo>
                  <a:lnTo>
                    <a:pt x="181" y="91"/>
                  </a:lnTo>
                  <a:lnTo>
                    <a:pt x="181" y="93"/>
                  </a:lnTo>
                  <a:lnTo>
                    <a:pt x="179" y="95"/>
                  </a:lnTo>
                  <a:lnTo>
                    <a:pt x="179" y="97"/>
                  </a:lnTo>
                  <a:lnTo>
                    <a:pt x="179" y="99"/>
                  </a:lnTo>
                  <a:lnTo>
                    <a:pt x="181" y="99"/>
                  </a:lnTo>
                  <a:lnTo>
                    <a:pt x="187" y="114"/>
                  </a:lnTo>
                  <a:lnTo>
                    <a:pt x="189" y="118"/>
                  </a:lnTo>
                  <a:lnTo>
                    <a:pt x="189" y="118"/>
                  </a:lnTo>
                  <a:lnTo>
                    <a:pt x="189" y="120"/>
                  </a:lnTo>
                  <a:lnTo>
                    <a:pt x="187" y="120"/>
                  </a:lnTo>
                  <a:lnTo>
                    <a:pt x="183" y="122"/>
                  </a:lnTo>
                  <a:lnTo>
                    <a:pt x="181" y="122"/>
                  </a:lnTo>
                  <a:lnTo>
                    <a:pt x="181" y="124"/>
                  </a:lnTo>
                  <a:lnTo>
                    <a:pt x="176" y="126"/>
                  </a:lnTo>
                  <a:lnTo>
                    <a:pt x="174" y="126"/>
                  </a:lnTo>
                  <a:lnTo>
                    <a:pt x="174" y="126"/>
                  </a:lnTo>
                  <a:lnTo>
                    <a:pt x="172" y="126"/>
                  </a:lnTo>
                  <a:lnTo>
                    <a:pt x="170" y="126"/>
                  </a:lnTo>
                  <a:lnTo>
                    <a:pt x="170" y="126"/>
                  </a:lnTo>
                  <a:lnTo>
                    <a:pt x="170" y="126"/>
                  </a:lnTo>
                  <a:lnTo>
                    <a:pt x="168" y="126"/>
                  </a:lnTo>
                  <a:lnTo>
                    <a:pt x="168" y="128"/>
                  </a:lnTo>
                  <a:lnTo>
                    <a:pt x="168" y="128"/>
                  </a:lnTo>
                  <a:lnTo>
                    <a:pt x="168" y="130"/>
                  </a:lnTo>
                  <a:lnTo>
                    <a:pt x="168" y="130"/>
                  </a:lnTo>
                  <a:lnTo>
                    <a:pt x="170" y="133"/>
                  </a:lnTo>
                  <a:lnTo>
                    <a:pt x="170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2" y="141"/>
                  </a:lnTo>
                  <a:lnTo>
                    <a:pt x="172" y="143"/>
                  </a:lnTo>
                  <a:lnTo>
                    <a:pt x="174" y="149"/>
                  </a:lnTo>
                  <a:lnTo>
                    <a:pt x="174" y="154"/>
                  </a:lnTo>
                  <a:lnTo>
                    <a:pt x="174" y="154"/>
                  </a:lnTo>
                  <a:lnTo>
                    <a:pt x="174" y="154"/>
                  </a:lnTo>
                  <a:lnTo>
                    <a:pt x="176" y="156"/>
                  </a:lnTo>
                  <a:lnTo>
                    <a:pt x="176" y="160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4" y="164"/>
                  </a:lnTo>
                  <a:lnTo>
                    <a:pt x="174" y="166"/>
                  </a:lnTo>
                  <a:lnTo>
                    <a:pt x="172" y="172"/>
                  </a:lnTo>
                  <a:lnTo>
                    <a:pt x="172" y="175"/>
                  </a:lnTo>
                  <a:lnTo>
                    <a:pt x="172" y="177"/>
                  </a:lnTo>
                  <a:lnTo>
                    <a:pt x="174" y="179"/>
                  </a:lnTo>
                  <a:lnTo>
                    <a:pt x="176" y="183"/>
                  </a:lnTo>
                  <a:lnTo>
                    <a:pt x="179" y="187"/>
                  </a:lnTo>
                  <a:lnTo>
                    <a:pt x="183" y="198"/>
                  </a:lnTo>
                  <a:lnTo>
                    <a:pt x="185" y="200"/>
                  </a:lnTo>
                  <a:lnTo>
                    <a:pt x="185" y="204"/>
                  </a:lnTo>
                  <a:lnTo>
                    <a:pt x="185" y="206"/>
                  </a:lnTo>
                  <a:lnTo>
                    <a:pt x="185" y="204"/>
                  </a:lnTo>
                  <a:lnTo>
                    <a:pt x="185" y="202"/>
                  </a:lnTo>
                  <a:lnTo>
                    <a:pt x="187" y="200"/>
                  </a:lnTo>
                  <a:lnTo>
                    <a:pt x="189" y="200"/>
                  </a:lnTo>
                  <a:lnTo>
                    <a:pt x="189" y="200"/>
                  </a:lnTo>
                  <a:lnTo>
                    <a:pt x="189" y="202"/>
                  </a:lnTo>
                  <a:lnTo>
                    <a:pt x="187" y="206"/>
                  </a:lnTo>
                  <a:lnTo>
                    <a:pt x="187" y="206"/>
                  </a:lnTo>
                  <a:lnTo>
                    <a:pt x="187" y="208"/>
                  </a:lnTo>
                  <a:lnTo>
                    <a:pt x="187" y="208"/>
                  </a:lnTo>
                  <a:lnTo>
                    <a:pt x="187" y="210"/>
                  </a:lnTo>
                  <a:lnTo>
                    <a:pt x="187" y="212"/>
                  </a:lnTo>
                  <a:lnTo>
                    <a:pt x="185" y="212"/>
                  </a:lnTo>
                  <a:lnTo>
                    <a:pt x="187" y="212"/>
                  </a:lnTo>
                  <a:lnTo>
                    <a:pt x="187" y="212"/>
                  </a:lnTo>
                  <a:lnTo>
                    <a:pt x="187" y="215"/>
                  </a:lnTo>
                  <a:lnTo>
                    <a:pt x="187" y="219"/>
                  </a:lnTo>
                  <a:lnTo>
                    <a:pt x="187" y="221"/>
                  </a:lnTo>
                  <a:lnTo>
                    <a:pt x="185" y="223"/>
                  </a:lnTo>
                  <a:lnTo>
                    <a:pt x="185" y="225"/>
                  </a:lnTo>
                  <a:lnTo>
                    <a:pt x="185" y="227"/>
                  </a:lnTo>
                  <a:lnTo>
                    <a:pt x="187" y="227"/>
                  </a:lnTo>
                  <a:lnTo>
                    <a:pt x="187" y="229"/>
                  </a:lnTo>
                  <a:lnTo>
                    <a:pt x="187" y="229"/>
                  </a:lnTo>
                  <a:lnTo>
                    <a:pt x="187" y="231"/>
                  </a:lnTo>
                  <a:lnTo>
                    <a:pt x="187" y="231"/>
                  </a:lnTo>
                  <a:lnTo>
                    <a:pt x="187" y="236"/>
                  </a:lnTo>
                  <a:lnTo>
                    <a:pt x="185" y="242"/>
                  </a:lnTo>
                  <a:lnTo>
                    <a:pt x="185" y="257"/>
                  </a:lnTo>
                  <a:lnTo>
                    <a:pt x="185" y="257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9" y="269"/>
                  </a:lnTo>
                  <a:lnTo>
                    <a:pt x="179" y="269"/>
                  </a:lnTo>
                  <a:lnTo>
                    <a:pt x="176" y="269"/>
                  </a:lnTo>
                  <a:lnTo>
                    <a:pt x="176" y="271"/>
                  </a:lnTo>
                  <a:lnTo>
                    <a:pt x="174" y="273"/>
                  </a:lnTo>
                  <a:lnTo>
                    <a:pt x="179" y="286"/>
                  </a:lnTo>
                  <a:lnTo>
                    <a:pt x="179" y="288"/>
                  </a:lnTo>
                  <a:lnTo>
                    <a:pt x="174" y="296"/>
                  </a:lnTo>
                  <a:lnTo>
                    <a:pt x="172" y="299"/>
                  </a:lnTo>
                  <a:lnTo>
                    <a:pt x="172" y="303"/>
                  </a:lnTo>
                  <a:lnTo>
                    <a:pt x="172" y="305"/>
                  </a:lnTo>
                  <a:lnTo>
                    <a:pt x="170" y="305"/>
                  </a:lnTo>
                  <a:lnTo>
                    <a:pt x="170" y="307"/>
                  </a:lnTo>
                  <a:lnTo>
                    <a:pt x="168" y="307"/>
                  </a:lnTo>
                  <a:lnTo>
                    <a:pt x="168" y="307"/>
                  </a:lnTo>
                  <a:lnTo>
                    <a:pt x="166" y="309"/>
                  </a:lnTo>
                  <a:lnTo>
                    <a:pt x="166" y="311"/>
                  </a:lnTo>
                  <a:lnTo>
                    <a:pt x="164" y="315"/>
                  </a:lnTo>
                  <a:lnTo>
                    <a:pt x="164" y="317"/>
                  </a:lnTo>
                  <a:lnTo>
                    <a:pt x="164" y="324"/>
                  </a:lnTo>
                  <a:lnTo>
                    <a:pt x="162" y="326"/>
                  </a:lnTo>
                  <a:lnTo>
                    <a:pt x="162" y="330"/>
                  </a:lnTo>
                  <a:lnTo>
                    <a:pt x="162" y="334"/>
                  </a:lnTo>
                  <a:lnTo>
                    <a:pt x="164" y="338"/>
                  </a:lnTo>
                  <a:lnTo>
                    <a:pt x="168" y="343"/>
                  </a:lnTo>
                  <a:lnTo>
                    <a:pt x="168" y="345"/>
                  </a:lnTo>
                  <a:lnTo>
                    <a:pt x="170" y="345"/>
                  </a:lnTo>
                  <a:lnTo>
                    <a:pt x="170" y="347"/>
                  </a:lnTo>
                  <a:lnTo>
                    <a:pt x="170" y="347"/>
                  </a:lnTo>
                  <a:lnTo>
                    <a:pt x="168" y="349"/>
                  </a:lnTo>
                  <a:lnTo>
                    <a:pt x="168" y="349"/>
                  </a:lnTo>
                  <a:lnTo>
                    <a:pt x="168" y="351"/>
                  </a:lnTo>
                  <a:lnTo>
                    <a:pt x="170" y="353"/>
                  </a:lnTo>
                  <a:lnTo>
                    <a:pt x="170" y="353"/>
                  </a:lnTo>
                  <a:lnTo>
                    <a:pt x="172" y="353"/>
                  </a:lnTo>
                  <a:lnTo>
                    <a:pt x="172" y="351"/>
                  </a:lnTo>
                  <a:lnTo>
                    <a:pt x="174" y="349"/>
                  </a:lnTo>
                  <a:lnTo>
                    <a:pt x="176" y="349"/>
                  </a:lnTo>
                  <a:lnTo>
                    <a:pt x="176" y="349"/>
                  </a:lnTo>
                  <a:lnTo>
                    <a:pt x="179" y="351"/>
                  </a:lnTo>
                  <a:lnTo>
                    <a:pt x="179" y="351"/>
                  </a:lnTo>
                  <a:lnTo>
                    <a:pt x="179" y="353"/>
                  </a:lnTo>
                  <a:lnTo>
                    <a:pt x="181" y="353"/>
                  </a:lnTo>
                  <a:lnTo>
                    <a:pt x="181" y="355"/>
                  </a:lnTo>
                  <a:lnTo>
                    <a:pt x="181" y="357"/>
                  </a:lnTo>
                  <a:lnTo>
                    <a:pt x="181" y="357"/>
                  </a:lnTo>
                  <a:lnTo>
                    <a:pt x="183" y="359"/>
                  </a:lnTo>
                  <a:lnTo>
                    <a:pt x="183" y="357"/>
                  </a:lnTo>
                  <a:lnTo>
                    <a:pt x="185" y="355"/>
                  </a:lnTo>
                  <a:lnTo>
                    <a:pt x="187" y="355"/>
                  </a:lnTo>
                  <a:lnTo>
                    <a:pt x="189" y="355"/>
                  </a:lnTo>
                  <a:lnTo>
                    <a:pt x="189" y="357"/>
                  </a:lnTo>
                  <a:lnTo>
                    <a:pt x="189" y="359"/>
                  </a:lnTo>
                  <a:lnTo>
                    <a:pt x="189" y="362"/>
                  </a:lnTo>
                  <a:lnTo>
                    <a:pt x="193" y="364"/>
                  </a:lnTo>
                  <a:lnTo>
                    <a:pt x="197" y="364"/>
                  </a:lnTo>
                  <a:lnTo>
                    <a:pt x="202" y="364"/>
                  </a:lnTo>
                  <a:lnTo>
                    <a:pt x="204" y="362"/>
                  </a:lnTo>
                  <a:lnTo>
                    <a:pt x="206" y="362"/>
                  </a:lnTo>
                  <a:lnTo>
                    <a:pt x="208" y="359"/>
                  </a:lnTo>
                  <a:lnTo>
                    <a:pt x="208" y="359"/>
                  </a:lnTo>
                  <a:lnTo>
                    <a:pt x="208" y="357"/>
                  </a:lnTo>
                  <a:lnTo>
                    <a:pt x="210" y="355"/>
                  </a:lnTo>
                  <a:lnTo>
                    <a:pt x="214" y="351"/>
                  </a:lnTo>
                  <a:lnTo>
                    <a:pt x="214" y="351"/>
                  </a:lnTo>
                  <a:lnTo>
                    <a:pt x="216" y="351"/>
                  </a:lnTo>
                  <a:lnTo>
                    <a:pt x="218" y="349"/>
                  </a:lnTo>
                  <a:lnTo>
                    <a:pt x="223" y="351"/>
                  </a:lnTo>
                  <a:lnTo>
                    <a:pt x="223" y="351"/>
                  </a:lnTo>
                  <a:lnTo>
                    <a:pt x="225" y="351"/>
                  </a:lnTo>
                  <a:lnTo>
                    <a:pt x="229" y="353"/>
                  </a:lnTo>
                  <a:lnTo>
                    <a:pt x="231" y="353"/>
                  </a:lnTo>
                  <a:lnTo>
                    <a:pt x="231" y="353"/>
                  </a:lnTo>
                  <a:lnTo>
                    <a:pt x="233" y="353"/>
                  </a:lnTo>
                  <a:lnTo>
                    <a:pt x="235" y="353"/>
                  </a:lnTo>
                  <a:lnTo>
                    <a:pt x="237" y="351"/>
                  </a:lnTo>
                  <a:lnTo>
                    <a:pt x="239" y="351"/>
                  </a:lnTo>
                  <a:lnTo>
                    <a:pt x="241" y="349"/>
                  </a:lnTo>
                  <a:lnTo>
                    <a:pt x="243" y="349"/>
                  </a:lnTo>
                  <a:lnTo>
                    <a:pt x="248" y="349"/>
                  </a:lnTo>
                  <a:lnTo>
                    <a:pt x="250" y="347"/>
                  </a:lnTo>
                  <a:lnTo>
                    <a:pt x="252" y="347"/>
                  </a:lnTo>
                  <a:lnTo>
                    <a:pt x="254" y="345"/>
                  </a:lnTo>
                  <a:lnTo>
                    <a:pt x="256" y="345"/>
                  </a:lnTo>
                  <a:lnTo>
                    <a:pt x="256" y="347"/>
                  </a:lnTo>
                  <a:lnTo>
                    <a:pt x="258" y="349"/>
                  </a:lnTo>
                  <a:lnTo>
                    <a:pt x="258" y="351"/>
                  </a:lnTo>
                  <a:lnTo>
                    <a:pt x="258" y="351"/>
                  </a:lnTo>
                  <a:lnTo>
                    <a:pt x="262" y="355"/>
                  </a:lnTo>
                  <a:lnTo>
                    <a:pt x="264" y="355"/>
                  </a:lnTo>
                  <a:lnTo>
                    <a:pt x="267" y="355"/>
                  </a:lnTo>
                  <a:lnTo>
                    <a:pt x="267" y="355"/>
                  </a:lnTo>
                  <a:lnTo>
                    <a:pt x="267" y="353"/>
                  </a:lnTo>
                  <a:lnTo>
                    <a:pt x="264" y="351"/>
                  </a:lnTo>
                  <a:lnTo>
                    <a:pt x="264" y="351"/>
                  </a:lnTo>
                  <a:lnTo>
                    <a:pt x="264" y="347"/>
                  </a:lnTo>
                  <a:lnTo>
                    <a:pt x="260" y="332"/>
                  </a:lnTo>
                  <a:lnTo>
                    <a:pt x="260" y="330"/>
                  </a:lnTo>
                  <a:lnTo>
                    <a:pt x="258" y="328"/>
                  </a:lnTo>
                  <a:lnTo>
                    <a:pt x="254" y="324"/>
                  </a:lnTo>
                  <a:lnTo>
                    <a:pt x="254" y="322"/>
                  </a:lnTo>
                  <a:lnTo>
                    <a:pt x="252" y="317"/>
                  </a:lnTo>
                  <a:lnTo>
                    <a:pt x="252" y="317"/>
                  </a:lnTo>
                  <a:lnTo>
                    <a:pt x="248" y="311"/>
                  </a:lnTo>
                  <a:lnTo>
                    <a:pt x="250" y="309"/>
                  </a:lnTo>
                  <a:lnTo>
                    <a:pt x="250" y="307"/>
                  </a:lnTo>
                  <a:lnTo>
                    <a:pt x="252" y="296"/>
                  </a:lnTo>
                  <a:lnTo>
                    <a:pt x="252" y="284"/>
                  </a:lnTo>
                  <a:lnTo>
                    <a:pt x="254" y="282"/>
                  </a:lnTo>
                  <a:lnTo>
                    <a:pt x="256" y="282"/>
                  </a:lnTo>
                  <a:lnTo>
                    <a:pt x="258" y="282"/>
                  </a:lnTo>
                  <a:lnTo>
                    <a:pt x="260" y="282"/>
                  </a:lnTo>
                  <a:lnTo>
                    <a:pt x="260" y="280"/>
                  </a:lnTo>
                  <a:lnTo>
                    <a:pt x="260" y="278"/>
                  </a:lnTo>
                  <a:lnTo>
                    <a:pt x="262" y="267"/>
                  </a:lnTo>
                  <a:lnTo>
                    <a:pt x="262" y="267"/>
                  </a:lnTo>
                  <a:lnTo>
                    <a:pt x="264" y="265"/>
                  </a:lnTo>
                  <a:lnTo>
                    <a:pt x="264" y="265"/>
                  </a:lnTo>
                  <a:lnTo>
                    <a:pt x="264" y="263"/>
                  </a:lnTo>
                  <a:lnTo>
                    <a:pt x="264" y="261"/>
                  </a:lnTo>
                  <a:lnTo>
                    <a:pt x="262" y="259"/>
                  </a:lnTo>
                  <a:lnTo>
                    <a:pt x="260" y="257"/>
                  </a:lnTo>
                  <a:lnTo>
                    <a:pt x="260" y="254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60" y="248"/>
                  </a:lnTo>
                  <a:lnTo>
                    <a:pt x="260" y="248"/>
                  </a:lnTo>
                  <a:lnTo>
                    <a:pt x="260" y="246"/>
                  </a:lnTo>
                  <a:lnTo>
                    <a:pt x="258" y="242"/>
                  </a:lnTo>
                  <a:lnTo>
                    <a:pt x="258" y="240"/>
                  </a:lnTo>
                  <a:lnTo>
                    <a:pt x="260" y="233"/>
                  </a:lnTo>
                  <a:lnTo>
                    <a:pt x="260" y="231"/>
                  </a:lnTo>
                  <a:lnTo>
                    <a:pt x="258" y="227"/>
                  </a:lnTo>
                  <a:lnTo>
                    <a:pt x="258" y="227"/>
                  </a:lnTo>
                  <a:lnTo>
                    <a:pt x="258" y="225"/>
                  </a:lnTo>
                  <a:lnTo>
                    <a:pt x="258" y="223"/>
                  </a:lnTo>
                  <a:lnTo>
                    <a:pt x="258" y="223"/>
                  </a:lnTo>
                  <a:lnTo>
                    <a:pt x="258" y="219"/>
                  </a:lnTo>
                  <a:lnTo>
                    <a:pt x="258" y="217"/>
                  </a:lnTo>
                  <a:lnTo>
                    <a:pt x="256" y="215"/>
                  </a:lnTo>
                  <a:lnTo>
                    <a:pt x="256" y="212"/>
                  </a:lnTo>
                  <a:lnTo>
                    <a:pt x="256" y="196"/>
                  </a:lnTo>
                  <a:lnTo>
                    <a:pt x="256" y="193"/>
                  </a:lnTo>
                  <a:lnTo>
                    <a:pt x="258" y="189"/>
                  </a:lnTo>
                  <a:lnTo>
                    <a:pt x="260" y="187"/>
                  </a:lnTo>
                  <a:lnTo>
                    <a:pt x="264" y="181"/>
                  </a:lnTo>
                  <a:lnTo>
                    <a:pt x="264" y="177"/>
                  </a:lnTo>
                  <a:lnTo>
                    <a:pt x="264" y="172"/>
                  </a:lnTo>
                  <a:lnTo>
                    <a:pt x="262" y="172"/>
                  </a:lnTo>
                  <a:lnTo>
                    <a:pt x="262" y="170"/>
                  </a:lnTo>
                  <a:lnTo>
                    <a:pt x="262" y="164"/>
                  </a:lnTo>
                  <a:lnTo>
                    <a:pt x="262" y="162"/>
                  </a:lnTo>
                  <a:lnTo>
                    <a:pt x="260" y="158"/>
                  </a:lnTo>
                  <a:lnTo>
                    <a:pt x="260" y="156"/>
                  </a:lnTo>
                  <a:lnTo>
                    <a:pt x="260" y="151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0" y="147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1"/>
                  </a:lnTo>
                  <a:lnTo>
                    <a:pt x="262" y="139"/>
                  </a:lnTo>
                  <a:lnTo>
                    <a:pt x="262" y="139"/>
                  </a:lnTo>
                  <a:lnTo>
                    <a:pt x="260" y="137"/>
                  </a:lnTo>
                  <a:lnTo>
                    <a:pt x="260" y="137"/>
                  </a:lnTo>
                  <a:lnTo>
                    <a:pt x="262" y="135"/>
                  </a:lnTo>
                  <a:lnTo>
                    <a:pt x="262" y="135"/>
                  </a:lnTo>
                  <a:lnTo>
                    <a:pt x="262" y="133"/>
                  </a:lnTo>
                  <a:lnTo>
                    <a:pt x="262" y="133"/>
                  </a:lnTo>
                  <a:lnTo>
                    <a:pt x="260" y="133"/>
                  </a:lnTo>
                  <a:lnTo>
                    <a:pt x="260" y="130"/>
                  </a:lnTo>
                  <a:lnTo>
                    <a:pt x="260" y="130"/>
                  </a:lnTo>
                  <a:lnTo>
                    <a:pt x="260" y="128"/>
                  </a:lnTo>
                  <a:lnTo>
                    <a:pt x="258" y="128"/>
                  </a:lnTo>
                  <a:lnTo>
                    <a:pt x="256" y="126"/>
                  </a:lnTo>
                  <a:lnTo>
                    <a:pt x="252" y="124"/>
                  </a:lnTo>
                  <a:lnTo>
                    <a:pt x="250" y="124"/>
                  </a:lnTo>
                  <a:lnTo>
                    <a:pt x="248" y="122"/>
                  </a:lnTo>
                  <a:lnTo>
                    <a:pt x="250" y="120"/>
                  </a:lnTo>
                  <a:lnTo>
                    <a:pt x="250" y="120"/>
                  </a:lnTo>
                  <a:lnTo>
                    <a:pt x="250" y="120"/>
                  </a:lnTo>
                  <a:lnTo>
                    <a:pt x="250" y="118"/>
                  </a:lnTo>
                  <a:lnTo>
                    <a:pt x="248" y="114"/>
                  </a:lnTo>
                  <a:lnTo>
                    <a:pt x="246" y="112"/>
                  </a:lnTo>
                  <a:lnTo>
                    <a:pt x="246" y="112"/>
                  </a:lnTo>
                  <a:lnTo>
                    <a:pt x="246" y="112"/>
                  </a:lnTo>
                  <a:lnTo>
                    <a:pt x="246" y="109"/>
                  </a:lnTo>
                  <a:lnTo>
                    <a:pt x="246" y="109"/>
                  </a:lnTo>
                  <a:lnTo>
                    <a:pt x="243" y="107"/>
                  </a:lnTo>
                  <a:lnTo>
                    <a:pt x="243" y="105"/>
                  </a:lnTo>
                  <a:lnTo>
                    <a:pt x="241" y="105"/>
                  </a:lnTo>
                  <a:lnTo>
                    <a:pt x="246" y="103"/>
                  </a:lnTo>
                  <a:lnTo>
                    <a:pt x="248" y="103"/>
                  </a:lnTo>
                  <a:lnTo>
                    <a:pt x="250" y="99"/>
                  </a:lnTo>
                  <a:lnTo>
                    <a:pt x="275" y="84"/>
                  </a:lnTo>
                  <a:lnTo>
                    <a:pt x="275" y="84"/>
                  </a:lnTo>
                  <a:lnTo>
                    <a:pt x="277" y="82"/>
                  </a:lnTo>
                  <a:lnTo>
                    <a:pt x="277" y="80"/>
                  </a:lnTo>
                  <a:lnTo>
                    <a:pt x="279" y="78"/>
                  </a:lnTo>
                  <a:lnTo>
                    <a:pt x="279" y="78"/>
                  </a:lnTo>
                  <a:lnTo>
                    <a:pt x="281" y="78"/>
                  </a:lnTo>
                  <a:lnTo>
                    <a:pt x="283" y="78"/>
                  </a:lnTo>
                  <a:lnTo>
                    <a:pt x="290" y="76"/>
                  </a:lnTo>
                  <a:lnTo>
                    <a:pt x="290" y="74"/>
                  </a:lnTo>
                  <a:lnTo>
                    <a:pt x="292" y="74"/>
                  </a:lnTo>
                  <a:lnTo>
                    <a:pt x="294" y="74"/>
                  </a:lnTo>
                  <a:lnTo>
                    <a:pt x="294" y="74"/>
                  </a:lnTo>
                  <a:lnTo>
                    <a:pt x="296" y="72"/>
                  </a:lnTo>
                  <a:lnTo>
                    <a:pt x="298" y="72"/>
                  </a:lnTo>
                  <a:lnTo>
                    <a:pt x="300" y="72"/>
                  </a:lnTo>
                  <a:lnTo>
                    <a:pt x="300" y="74"/>
                  </a:lnTo>
                  <a:lnTo>
                    <a:pt x="302" y="74"/>
                  </a:lnTo>
                  <a:lnTo>
                    <a:pt x="302" y="74"/>
                  </a:lnTo>
                  <a:lnTo>
                    <a:pt x="304" y="76"/>
                  </a:lnTo>
                  <a:lnTo>
                    <a:pt x="304" y="76"/>
                  </a:lnTo>
                  <a:lnTo>
                    <a:pt x="304" y="76"/>
                  </a:lnTo>
                  <a:lnTo>
                    <a:pt x="306" y="76"/>
                  </a:lnTo>
                  <a:lnTo>
                    <a:pt x="317" y="76"/>
                  </a:lnTo>
                  <a:lnTo>
                    <a:pt x="319" y="78"/>
                  </a:lnTo>
                  <a:lnTo>
                    <a:pt x="321" y="78"/>
                  </a:lnTo>
                  <a:lnTo>
                    <a:pt x="321" y="80"/>
                  </a:lnTo>
                  <a:lnTo>
                    <a:pt x="321" y="80"/>
                  </a:lnTo>
                  <a:lnTo>
                    <a:pt x="321" y="80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3" y="86"/>
                  </a:lnTo>
                  <a:lnTo>
                    <a:pt x="323" y="84"/>
                  </a:lnTo>
                  <a:lnTo>
                    <a:pt x="323" y="88"/>
                  </a:lnTo>
                  <a:lnTo>
                    <a:pt x="321" y="88"/>
                  </a:lnTo>
                  <a:lnTo>
                    <a:pt x="319" y="88"/>
                  </a:lnTo>
                  <a:lnTo>
                    <a:pt x="319" y="91"/>
                  </a:lnTo>
                  <a:lnTo>
                    <a:pt x="317" y="91"/>
                  </a:lnTo>
                  <a:lnTo>
                    <a:pt x="317" y="91"/>
                  </a:lnTo>
                  <a:lnTo>
                    <a:pt x="317" y="93"/>
                  </a:lnTo>
                  <a:lnTo>
                    <a:pt x="317" y="93"/>
                  </a:lnTo>
                  <a:lnTo>
                    <a:pt x="317" y="93"/>
                  </a:lnTo>
                  <a:lnTo>
                    <a:pt x="317" y="95"/>
                  </a:lnTo>
                  <a:lnTo>
                    <a:pt x="319" y="95"/>
                  </a:lnTo>
                  <a:lnTo>
                    <a:pt x="319" y="95"/>
                  </a:lnTo>
                  <a:lnTo>
                    <a:pt x="319" y="93"/>
                  </a:lnTo>
                  <a:lnTo>
                    <a:pt x="321" y="91"/>
                  </a:lnTo>
                  <a:lnTo>
                    <a:pt x="321" y="93"/>
                  </a:lnTo>
                  <a:lnTo>
                    <a:pt x="321" y="95"/>
                  </a:lnTo>
                  <a:lnTo>
                    <a:pt x="323" y="95"/>
                  </a:lnTo>
                  <a:lnTo>
                    <a:pt x="323" y="95"/>
                  </a:lnTo>
                  <a:lnTo>
                    <a:pt x="323" y="95"/>
                  </a:lnTo>
                  <a:lnTo>
                    <a:pt x="325" y="97"/>
                  </a:lnTo>
                  <a:lnTo>
                    <a:pt x="325" y="99"/>
                  </a:lnTo>
                  <a:lnTo>
                    <a:pt x="325" y="101"/>
                  </a:lnTo>
                  <a:lnTo>
                    <a:pt x="325" y="101"/>
                  </a:lnTo>
                  <a:lnTo>
                    <a:pt x="329" y="97"/>
                  </a:lnTo>
                  <a:lnTo>
                    <a:pt x="334" y="97"/>
                  </a:lnTo>
                  <a:lnTo>
                    <a:pt x="336" y="97"/>
                  </a:lnTo>
                  <a:lnTo>
                    <a:pt x="338" y="97"/>
                  </a:lnTo>
                  <a:lnTo>
                    <a:pt x="340" y="97"/>
                  </a:lnTo>
                  <a:lnTo>
                    <a:pt x="342" y="97"/>
                  </a:lnTo>
                  <a:lnTo>
                    <a:pt x="344" y="97"/>
                  </a:lnTo>
                  <a:lnTo>
                    <a:pt x="350" y="101"/>
                  </a:lnTo>
                  <a:lnTo>
                    <a:pt x="359" y="107"/>
                  </a:lnTo>
                  <a:lnTo>
                    <a:pt x="363" y="109"/>
                  </a:lnTo>
                  <a:lnTo>
                    <a:pt x="363" y="112"/>
                  </a:lnTo>
                  <a:lnTo>
                    <a:pt x="365" y="109"/>
                  </a:lnTo>
                  <a:lnTo>
                    <a:pt x="365" y="109"/>
                  </a:lnTo>
                  <a:lnTo>
                    <a:pt x="367" y="109"/>
                  </a:lnTo>
                  <a:lnTo>
                    <a:pt x="373" y="105"/>
                  </a:lnTo>
                  <a:lnTo>
                    <a:pt x="375" y="105"/>
                  </a:lnTo>
                  <a:lnTo>
                    <a:pt x="390" y="91"/>
                  </a:lnTo>
                  <a:lnTo>
                    <a:pt x="392" y="88"/>
                  </a:lnTo>
                  <a:close/>
                  <a:moveTo>
                    <a:pt x="319" y="513"/>
                  </a:moveTo>
                  <a:lnTo>
                    <a:pt x="313" y="513"/>
                  </a:lnTo>
                  <a:lnTo>
                    <a:pt x="304" y="511"/>
                  </a:lnTo>
                  <a:lnTo>
                    <a:pt x="302" y="511"/>
                  </a:lnTo>
                  <a:lnTo>
                    <a:pt x="300" y="511"/>
                  </a:lnTo>
                  <a:lnTo>
                    <a:pt x="298" y="511"/>
                  </a:lnTo>
                  <a:lnTo>
                    <a:pt x="298" y="511"/>
                  </a:lnTo>
                  <a:lnTo>
                    <a:pt x="298" y="513"/>
                  </a:lnTo>
                  <a:lnTo>
                    <a:pt x="298" y="513"/>
                  </a:lnTo>
                  <a:lnTo>
                    <a:pt x="298" y="513"/>
                  </a:lnTo>
                  <a:lnTo>
                    <a:pt x="300" y="515"/>
                  </a:lnTo>
                  <a:lnTo>
                    <a:pt x="302" y="515"/>
                  </a:lnTo>
                  <a:lnTo>
                    <a:pt x="304" y="515"/>
                  </a:lnTo>
                  <a:lnTo>
                    <a:pt x="306" y="513"/>
                  </a:lnTo>
                  <a:lnTo>
                    <a:pt x="308" y="515"/>
                  </a:lnTo>
                  <a:lnTo>
                    <a:pt x="315" y="515"/>
                  </a:lnTo>
                  <a:lnTo>
                    <a:pt x="315" y="517"/>
                  </a:lnTo>
                  <a:lnTo>
                    <a:pt x="317" y="517"/>
                  </a:lnTo>
                  <a:lnTo>
                    <a:pt x="319" y="517"/>
                  </a:lnTo>
                  <a:lnTo>
                    <a:pt x="323" y="517"/>
                  </a:lnTo>
                  <a:lnTo>
                    <a:pt x="323" y="515"/>
                  </a:lnTo>
                  <a:lnTo>
                    <a:pt x="321" y="513"/>
                  </a:lnTo>
                  <a:lnTo>
                    <a:pt x="319" y="513"/>
                  </a:lnTo>
                  <a:close/>
                </a:path>
              </a:pathLst>
            </a:custGeom>
            <a:solidFill>
              <a:schemeClr val="accent4"/>
            </a:solidFill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8" name="Freeform 101">
              <a:extLst>
                <a:ext uri="{FF2B5EF4-FFF2-40B4-BE49-F238E27FC236}">
                  <a16:creationId xmlns:a16="http://schemas.microsoft.com/office/drawing/2014/main" id="{EC2A81C9-85D0-42AA-B0FF-71EA464107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2350" y="1392253"/>
              <a:ext cx="391716" cy="352425"/>
            </a:xfrm>
            <a:custGeom>
              <a:avLst/>
              <a:gdLst>
                <a:gd name="T0" fmla="*/ 138 w 329"/>
                <a:gd name="T1" fmla="*/ 174 h 296"/>
                <a:gd name="T2" fmla="*/ 164 w 329"/>
                <a:gd name="T3" fmla="*/ 143 h 296"/>
                <a:gd name="T4" fmla="*/ 180 w 329"/>
                <a:gd name="T5" fmla="*/ 149 h 296"/>
                <a:gd name="T6" fmla="*/ 170 w 329"/>
                <a:gd name="T7" fmla="*/ 134 h 296"/>
                <a:gd name="T8" fmla="*/ 193 w 329"/>
                <a:gd name="T9" fmla="*/ 128 h 296"/>
                <a:gd name="T10" fmla="*/ 174 w 329"/>
                <a:gd name="T11" fmla="*/ 118 h 296"/>
                <a:gd name="T12" fmla="*/ 162 w 329"/>
                <a:gd name="T13" fmla="*/ 103 h 296"/>
                <a:gd name="T14" fmla="*/ 157 w 329"/>
                <a:gd name="T15" fmla="*/ 92 h 296"/>
                <a:gd name="T16" fmla="*/ 128 w 329"/>
                <a:gd name="T17" fmla="*/ 71 h 296"/>
                <a:gd name="T18" fmla="*/ 132 w 329"/>
                <a:gd name="T19" fmla="*/ 50 h 296"/>
                <a:gd name="T20" fmla="*/ 143 w 329"/>
                <a:gd name="T21" fmla="*/ 52 h 296"/>
                <a:gd name="T22" fmla="*/ 128 w 329"/>
                <a:gd name="T23" fmla="*/ 23 h 296"/>
                <a:gd name="T24" fmla="*/ 59 w 329"/>
                <a:gd name="T25" fmla="*/ 12 h 296"/>
                <a:gd name="T26" fmla="*/ 21 w 329"/>
                <a:gd name="T27" fmla="*/ 10 h 296"/>
                <a:gd name="T28" fmla="*/ 15 w 329"/>
                <a:gd name="T29" fmla="*/ 33 h 296"/>
                <a:gd name="T30" fmla="*/ 0 w 329"/>
                <a:gd name="T31" fmla="*/ 57 h 296"/>
                <a:gd name="T32" fmla="*/ 40 w 329"/>
                <a:gd name="T33" fmla="*/ 94 h 296"/>
                <a:gd name="T34" fmla="*/ 65 w 329"/>
                <a:gd name="T35" fmla="*/ 130 h 296"/>
                <a:gd name="T36" fmla="*/ 59 w 329"/>
                <a:gd name="T37" fmla="*/ 168 h 296"/>
                <a:gd name="T38" fmla="*/ 82 w 329"/>
                <a:gd name="T39" fmla="*/ 185 h 296"/>
                <a:gd name="T40" fmla="*/ 115 w 329"/>
                <a:gd name="T41" fmla="*/ 185 h 296"/>
                <a:gd name="T42" fmla="*/ 122 w 329"/>
                <a:gd name="T43" fmla="*/ 153 h 296"/>
                <a:gd name="T44" fmla="*/ 174 w 329"/>
                <a:gd name="T45" fmla="*/ 155 h 296"/>
                <a:gd name="T46" fmla="*/ 176 w 329"/>
                <a:gd name="T47" fmla="*/ 157 h 296"/>
                <a:gd name="T48" fmla="*/ 210 w 329"/>
                <a:gd name="T49" fmla="*/ 65 h 296"/>
                <a:gd name="T50" fmla="*/ 157 w 329"/>
                <a:gd name="T51" fmla="*/ 267 h 296"/>
                <a:gd name="T52" fmla="*/ 101 w 329"/>
                <a:gd name="T53" fmla="*/ 210 h 296"/>
                <a:gd name="T54" fmla="*/ 92 w 329"/>
                <a:gd name="T55" fmla="*/ 216 h 296"/>
                <a:gd name="T56" fmla="*/ 103 w 329"/>
                <a:gd name="T57" fmla="*/ 239 h 296"/>
                <a:gd name="T58" fmla="*/ 113 w 329"/>
                <a:gd name="T59" fmla="*/ 216 h 296"/>
                <a:gd name="T60" fmla="*/ 147 w 329"/>
                <a:gd name="T61" fmla="*/ 48 h 296"/>
                <a:gd name="T62" fmla="*/ 53 w 329"/>
                <a:gd name="T63" fmla="*/ 115 h 296"/>
                <a:gd name="T64" fmla="*/ 55 w 329"/>
                <a:gd name="T65" fmla="*/ 122 h 296"/>
                <a:gd name="T66" fmla="*/ 216 w 329"/>
                <a:gd name="T67" fmla="*/ 105 h 296"/>
                <a:gd name="T68" fmla="*/ 199 w 329"/>
                <a:gd name="T69" fmla="*/ 118 h 296"/>
                <a:gd name="T70" fmla="*/ 157 w 329"/>
                <a:gd name="T71" fmla="*/ 248 h 296"/>
                <a:gd name="T72" fmla="*/ 287 w 329"/>
                <a:gd name="T73" fmla="*/ 271 h 296"/>
                <a:gd name="T74" fmla="*/ 270 w 329"/>
                <a:gd name="T75" fmla="*/ 248 h 296"/>
                <a:gd name="T76" fmla="*/ 329 w 329"/>
                <a:gd name="T77" fmla="*/ 231 h 296"/>
                <a:gd name="T78" fmla="*/ 300 w 329"/>
                <a:gd name="T79" fmla="*/ 296 h 296"/>
                <a:gd name="T80" fmla="*/ 206 w 329"/>
                <a:gd name="T81" fmla="*/ 183 h 296"/>
                <a:gd name="T82" fmla="*/ 212 w 329"/>
                <a:gd name="T83" fmla="*/ 185 h 296"/>
                <a:gd name="T84" fmla="*/ 170 w 329"/>
                <a:gd name="T85" fmla="*/ 229 h 296"/>
                <a:gd name="T86" fmla="*/ 164 w 329"/>
                <a:gd name="T87" fmla="*/ 214 h 296"/>
                <a:gd name="T88" fmla="*/ 180 w 329"/>
                <a:gd name="T89" fmla="*/ 189 h 296"/>
                <a:gd name="T90" fmla="*/ 143 w 329"/>
                <a:gd name="T91" fmla="*/ 176 h 296"/>
                <a:gd name="T92" fmla="*/ 143 w 329"/>
                <a:gd name="T93" fmla="*/ 210 h 296"/>
                <a:gd name="T94" fmla="*/ 136 w 329"/>
                <a:gd name="T95" fmla="*/ 237 h 296"/>
                <a:gd name="T96" fmla="*/ 149 w 329"/>
                <a:gd name="T97" fmla="*/ 237 h 296"/>
                <a:gd name="T98" fmla="*/ 162 w 329"/>
                <a:gd name="T99" fmla="*/ 239 h 296"/>
                <a:gd name="T100" fmla="*/ 262 w 329"/>
                <a:gd name="T101" fmla="*/ 227 h 296"/>
                <a:gd name="T102" fmla="*/ 222 w 329"/>
                <a:gd name="T103" fmla="*/ 170 h 296"/>
                <a:gd name="T104" fmla="*/ 210 w 329"/>
                <a:gd name="T105" fmla="*/ 143 h 296"/>
                <a:gd name="T106" fmla="*/ 185 w 329"/>
                <a:gd name="T107" fmla="*/ 185 h 296"/>
                <a:gd name="T108" fmla="*/ 182 w 329"/>
                <a:gd name="T109" fmla="*/ 204 h 296"/>
                <a:gd name="T110" fmla="*/ 180 w 329"/>
                <a:gd name="T111" fmla="*/ 223 h 296"/>
                <a:gd name="T112" fmla="*/ 162 w 329"/>
                <a:gd name="T113" fmla="*/ 248 h 296"/>
                <a:gd name="T114" fmla="*/ 180 w 329"/>
                <a:gd name="T115" fmla="*/ 260 h 296"/>
                <a:gd name="T116" fmla="*/ 189 w 329"/>
                <a:gd name="T117" fmla="*/ 246 h 296"/>
                <a:gd name="T118" fmla="*/ 222 w 329"/>
                <a:gd name="T119" fmla="*/ 227 h 296"/>
                <a:gd name="T120" fmla="*/ 199 w 329"/>
                <a:gd name="T121" fmla="*/ 218 h 296"/>
                <a:gd name="T122" fmla="*/ 201 w 329"/>
                <a:gd name="T123" fmla="*/ 195 h 296"/>
                <a:gd name="T124" fmla="*/ 212 w 329"/>
                <a:gd name="T125" fmla="*/ 178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9" h="296">
                  <a:moveTo>
                    <a:pt x="138" y="61"/>
                  </a:moveTo>
                  <a:lnTo>
                    <a:pt x="138" y="59"/>
                  </a:lnTo>
                  <a:lnTo>
                    <a:pt x="136" y="61"/>
                  </a:lnTo>
                  <a:lnTo>
                    <a:pt x="134" y="63"/>
                  </a:lnTo>
                  <a:lnTo>
                    <a:pt x="134" y="65"/>
                  </a:lnTo>
                  <a:lnTo>
                    <a:pt x="134" y="67"/>
                  </a:lnTo>
                  <a:lnTo>
                    <a:pt x="136" y="65"/>
                  </a:lnTo>
                  <a:lnTo>
                    <a:pt x="138" y="65"/>
                  </a:lnTo>
                  <a:lnTo>
                    <a:pt x="141" y="65"/>
                  </a:lnTo>
                  <a:lnTo>
                    <a:pt x="141" y="63"/>
                  </a:lnTo>
                  <a:lnTo>
                    <a:pt x="141" y="63"/>
                  </a:lnTo>
                  <a:lnTo>
                    <a:pt x="141" y="61"/>
                  </a:lnTo>
                  <a:lnTo>
                    <a:pt x="138" y="61"/>
                  </a:lnTo>
                  <a:close/>
                  <a:moveTo>
                    <a:pt x="138" y="172"/>
                  </a:moveTo>
                  <a:lnTo>
                    <a:pt x="138" y="174"/>
                  </a:lnTo>
                  <a:lnTo>
                    <a:pt x="138" y="174"/>
                  </a:lnTo>
                  <a:lnTo>
                    <a:pt x="143" y="170"/>
                  </a:lnTo>
                  <a:lnTo>
                    <a:pt x="143" y="170"/>
                  </a:lnTo>
                  <a:lnTo>
                    <a:pt x="143" y="170"/>
                  </a:lnTo>
                  <a:lnTo>
                    <a:pt x="143" y="168"/>
                  </a:lnTo>
                  <a:lnTo>
                    <a:pt x="141" y="170"/>
                  </a:lnTo>
                  <a:lnTo>
                    <a:pt x="138" y="172"/>
                  </a:lnTo>
                  <a:close/>
                  <a:moveTo>
                    <a:pt x="141" y="149"/>
                  </a:moveTo>
                  <a:lnTo>
                    <a:pt x="145" y="147"/>
                  </a:lnTo>
                  <a:lnTo>
                    <a:pt x="149" y="145"/>
                  </a:lnTo>
                  <a:lnTo>
                    <a:pt x="151" y="147"/>
                  </a:lnTo>
                  <a:lnTo>
                    <a:pt x="155" y="147"/>
                  </a:lnTo>
                  <a:lnTo>
                    <a:pt x="157" y="147"/>
                  </a:lnTo>
                  <a:lnTo>
                    <a:pt x="162" y="145"/>
                  </a:lnTo>
                  <a:lnTo>
                    <a:pt x="164" y="143"/>
                  </a:lnTo>
                  <a:lnTo>
                    <a:pt x="168" y="145"/>
                  </a:lnTo>
                  <a:lnTo>
                    <a:pt x="170" y="147"/>
                  </a:lnTo>
                  <a:lnTo>
                    <a:pt x="170" y="149"/>
                  </a:lnTo>
                  <a:lnTo>
                    <a:pt x="172" y="151"/>
                  </a:lnTo>
                  <a:lnTo>
                    <a:pt x="172" y="151"/>
                  </a:lnTo>
                  <a:lnTo>
                    <a:pt x="174" y="151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6" y="151"/>
                  </a:lnTo>
                  <a:lnTo>
                    <a:pt x="178" y="151"/>
                  </a:lnTo>
                  <a:lnTo>
                    <a:pt x="178" y="151"/>
                  </a:lnTo>
                  <a:lnTo>
                    <a:pt x="180" y="151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5"/>
                  </a:lnTo>
                  <a:lnTo>
                    <a:pt x="180" y="145"/>
                  </a:lnTo>
                  <a:lnTo>
                    <a:pt x="180" y="145"/>
                  </a:lnTo>
                  <a:lnTo>
                    <a:pt x="180" y="145"/>
                  </a:lnTo>
                  <a:lnTo>
                    <a:pt x="180" y="145"/>
                  </a:lnTo>
                  <a:lnTo>
                    <a:pt x="178" y="145"/>
                  </a:lnTo>
                  <a:lnTo>
                    <a:pt x="178" y="145"/>
                  </a:lnTo>
                  <a:lnTo>
                    <a:pt x="176" y="143"/>
                  </a:lnTo>
                  <a:lnTo>
                    <a:pt x="176" y="141"/>
                  </a:lnTo>
                  <a:lnTo>
                    <a:pt x="176" y="141"/>
                  </a:lnTo>
                  <a:lnTo>
                    <a:pt x="172" y="136"/>
                  </a:lnTo>
                  <a:lnTo>
                    <a:pt x="170" y="134"/>
                  </a:lnTo>
                  <a:lnTo>
                    <a:pt x="174" y="136"/>
                  </a:lnTo>
                  <a:lnTo>
                    <a:pt x="176" y="136"/>
                  </a:lnTo>
                  <a:lnTo>
                    <a:pt x="178" y="141"/>
                  </a:lnTo>
                  <a:lnTo>
                    <a:pt x="185" y="145"/>
                  </a:lnTo>
                  <a:lnTo>
                    <a:pt x="187" y="147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3"/>
                  </a:lnTo>
                  <a:lnTo>
                    <a:pt x="191" y="143"/>
                  </a:lnTo>
                  <a:lnTo>
                    <a:pt x="193" y="143"/>
                  </a:lnTo>
                  <a:lnTo>
                    <a:pt x="193" y="141"/>
                  </a:lnTo>
                  <a:lnTo>
                    <a:pt x="193" y="136"/>
                  </a:lnTo>
                  <a:lnTo>
                    <a:pt x="191" y="132"/>
                  </a:lnTo>
                  <a:lnTo>
                    <a:pt x="191" y="130"/>
                  </a:lnTo>
                  <a:lnTo>
                    <a:pt x="193" y="128"/>
                  </a:lnTo>
                  <a:lnTo>
                    <a:pt x="193" y="126"/>
                  </a:lnTo>
                  <a:lnTo>
                    <a:pt x="193" y="124"/>
                  </a:lnTo>
                  <a:lnTo>
                    <a:pt x="191" y="118"/>
                  </a:lnTo>
                  <a:lnTo>
                    <a:pt x="191" y="115"/>
                  </a:lnTo>
                  <a:lnTo>
                    <a:pt x="187" y="111"/>
                  </a:lnTo>
                  <a:lnTo>
                    <a:pt x="185" y="109"/>
                  </a:lnTo>
                  <a:lnTo>
                    <a:pt x="180" y="111"/>
                  </a:lnTo>
                  <a:lnTo>
                    <a:pt x="182" y="113"/>
                  </a:lnTo>
                  <a:lnTo>
                    <a:pt x="187" y="118"/>
                  </a:lnTo>
                  <a:lnTo>
                    <a:pt x="185" y="120"/>
                  </a:lnTo>
                  <a:lnTo>
                    <a:pt x="180" y="118"/>
                  </a:lnTo>
                  <a:lnTo>
                    <a:pt x="178" y="118"/>
                  </a:lnTo>
                  <a:lnTo>
                    <a:pt x="174" y="118"/>
                  </a:lnTo>
                  <a:lnTo>
                    <a:pt x="174" y="118"/>
                  </a:lnTo>
                  <a:lnTo>
                    <a:pt x="174" y="118"/>
                  </a:lnTo>
                  <a:lnTo>
                    <a:pt x="174" y="120"/>
                  </a:lnTo>
                  <a:lnTo>
                    <a:pt x="174" y="120"/>
                  </a:lnTo>
                  <a:lnTo>
                    <a:pt x="172" y="120"/>
                  </a:lnTo>
                  <a:lnTo>
                    <a:pt x="172" y="118"/>
                  </a:lnTo>
                  <a:lnTo>
                    <a:pt x="170" y="115"/>
                  </a:lnTo>
                  <a:lnTo>
                    <a:pt x="170" y="113"/>
                  </a:lnTo>
                  <a:lnTo>
                    <a:pt x="170" y="109"/>
                  </a:lnTo>
                  <a:lnTo>
                    <a:pt x="170" y="107"/>
                  </a:lnTo>
                  <a:lnTo>
                    <a:pt x="170" y="107"/>
                  </a:lnTo>
                  <a:lnTo>
                    <a:pt x="168" y="105"/>
                  </a:lnTo>
                  <a:lnTo>
                    <a:pt x="166" y="105"/>
                  </a:lnTo>
                  <a:lnTo>
                    <a:pt x="164" y="103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62" y="103"/>
                  </a:lnTo>
                  <a:lnTo>
                    <a:pt x="164" y="101"/>
                  </a:lnTo>
                  <a:lnTo>
                    <a:pt x="166" y="101"/>
                  </a:lnTo>
                  <a:lnTo>
                    <a:pt x="166" y="101"/>
                  </a:lnTo>
                  <a:lnTo>
                    <a:pt x="168" y="99"/>
                  </a:lnTo>
                  <a:lnTo>
                    <a:pt x="168" y="99"/>
                  </a:lnTo>
                  <a:lnTo>
                    <a:pt x="168" y="99"/>
                  </a:lnTo>
                  <a:lnTo>
                    <a:pt x="170" y="99"/>
                  </a:lnTo>
                  <a:lnTo>
                    <a:pt x="170" y="96"/>
                  </a:lnTo>
                  <a:lnTo>
                    <a:pt x="170" y="96"/>
                  </a:lnTo>
                  <a:lnTo>
                    <a:pt x="170" y="94"/>
                  </a:lnTo>
                  <a:lnTo>
                    <a:pt x="168" y="94"/>
                  </a:lnTo>
                  <a:lnTo>
                    <a:pt x="168" y="94"/>
                  </a:lnTo>
                  <a:lnTo>
                    <a:pt x="162" y="94"/>
                  </a:lnTo>
                  <a:lnTo>
                    <a:pt x="159" y="94"/>
                  </a:lnTo>
                  <a:lnTo>
                    <a:pt x="157" y="92"/>
                  </a:lnTo>
                  <a:lnTo>
                    <a:pt x="151" y="86"/>
                  </a:lnTo>
                  <a:lnTo>
                    <a:pt x="151" y="82"/>
                  </a:lnTo>
                  <a:lnTo>
                    <a:pt x="149" y="80"/>
                  </a:lnTo>
                  <a:lnTo>
                    <a:pt x="147" y="80"/>
                  </a:lnTo>
                  <a:lnTo>
                    <a:pt x="143" y="80"/>
                  </a:lnTo>
                  <a:lnTo>
                    <a:pt x="141" y="80"/>
                  </a:lnTo>
                  <a:lnTo>
                    <a:pt x="138" y="80"/>
                  </a:lnTo>
                  <a:lnTo>
                    <a:pt x="138" y="78"/>
                  </a:lnTo>
                  <a:lnTo>
                    <a:pt x="136" y="75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3"/>
                  </a:lnTo>
                  <a:lnTo>
                    <a:pt x="132" y="73"/>
                  </a:lnTo>
                  <a:lnTo>
                    <a:pt x="130" y="71"/>
                  </a:lnTo>
                  <a:lnTo>
                    <a:pt x="128" y="71"/>
                  </a:lnTo>
                  <a:lnTo>
                    <a:pt x="126" y="67"/>
                  </a:lnTo>
                  <a:lnTo>
                    <a:pt x="126" y="65"/>
                  </a:lnTo>
                  <a:lnTo>
                    <a:pt x="126" y="63"/>
                  </a:lnTo>
                  <a:lnTo>
                    <a:pt x="128" y="63"/>
                  </a:lnTo>
                  <a:lnTo>
                    <a:pt x="130" y="63"/>
                  </a:lnTo>
                  <a:lnTo>
                    <a:pt x="130" y="63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2" y="61"/>
                  </a:lnTo>
                  <a:lnTo>
                    <a:pt x="134" y="59"/>
                  </a:lnTo>
                  <a:lnTo>
                    <a:pt x="134" y="57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2" y="50"/>
                  </a:lnTo>
                  <a:lnTo>
                    <a:pt x="132" y="50"/>
                  </a:lnTo>
                  <a:lnTo>
                    <a:pt x="132" y="48"/>
                  </a:lnTo>
                  <a:lnTo>
                    <a:pt x="132" y="46"/>
                  </a:lnTo>
                  <a:lnTo>
                    <a:pt x="132" y="48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4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8" y="46"/>
                  </a:lnTo>
                  <a:lnTo>
                    <a:pt x="138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41" y="50"/>
                  </a:lnTo>
                  <a:lnTo>
                    <a:pt x="143" y="50"/>
                  </a:lnTo>
                  <a:lnTo>
                    <a:pt x="143" y="52"/>
                  </a:lnTo>
                  <a:lnTo>
                    <a:pt x="143" y="52"/>
                  </a:lnTo>
                  <a:lnTo>
                    <a:pt x="143" y="52"/>
                  </a:lnTo>
                  <a:lnTo>
                    <a:pt x="145" y="50"/>
                  </a:lnTo>
                  <a:lnTo>
                    <a:pt x="143" y="48"/>
                  </a:lnTo>
                  <a:lnTo>
                    <a:pt x="143" y="46"/>
                  </a:lnTo>
                  <a:lnTo>
                    <a:pt x="141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8" y="36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34" y="29"/>
                  </a:lnTo>
                  <a:lnTo>
                    <a:pt x="128" y="23"/>
                  </a:lnTo>
                  <a:lnTo>
                    <a:pt x="126" y="21"/>
                  </a:lnTo>
                  <a:lnTo>
                    <a:pt x="124" y="21"/>
                  </a:lnTo>
                  <a:lnTo>
                    <a:pt x="122" y="21"/>
                  </a:lnTo>
                  <a:lnTo>
                    <a:pt x="120" y="21"/>
                  </a:lnTo>
                  <a:lnTo>
                    <a:pt x="115" y="21"/>
                  </a:lnTo>
                  <a:lnTo>
                    <a:pt x="113" y="21"/>
                  </a:lnTo>
                  <a:lnTo>
                    <a:pt x="90" y="10"/>
                  </a:lnTo>
                  <a:lnTo>
                    <a:pt x="86" y="10"/>
                  </a:lnTo>
                  <a:lnTo>
                    <a:pt x="76" y="10"/>
                  </a:lnTo>
                  <a:lnTo>
                    <a:pt x="69" y="8"/>
                  </a:lnTo>
                  <a:lnTo>
                    <a:pt x="63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59" y="15"/>
                  </a:lnTo>
                  <a:lnTo>
                    <a:pt x="59" y="12"/>
                  </a:lnTo>
                  <a:lnTo>
                    <a:pt x="55" y="10"/>
                  </a:lnTo>
                  <a:lnTo>
                    <a:pt x="46" y="4"/>
                  </a:lnTo>
                  <a:lnTo>
                    <a:pt x="40" y="0"/>
                  </a:lnTo>
                  <a:lnTo>
                    <a:pt x="38" y="0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32" y="0"/>
                  </a:lnTo>
                  <a:lnTo>
                    <a:pt x="30" y="0"/>
                  </a:lnTo>
                  <a:lnTo>
                    <a:pt x="25" y="0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19" y="12"/>
                  </a:lnTo>
                  <a:lnTo>
                    <a:pt x="19" y="15"/>
                  </a:lnTo>
                  <a:lnTo>
                    <a:pt x="19" y="17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21"/>
                  </a:lnTo>
                  <a:lnTo>
                    <a:pt x="21" y="23"/>
                  </a:lnTo>
                  <a:lnTo>
                    <a:pt x="21" y="25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9" y="42"/>
                  </a:lnTo>
                  <a:lnTo>
                    <a:pt x="7" y="44"/>
                  </a:lnTo>
                  <a:lnTo>
                    <a:pt x="4" y="46"/>
                  </a:lnTo>
                  <a:lnTo>
                    <a:pt x="2" y="48"/>
                  </a:lnTo>
                  <a:lnTo>
                    <a:pt x="2" y="50"/>
                  </a:lnTo>
                  <a:lnTo>
                    <a:pt x="2" y="52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7"/>
                  </a:lnTo>
                  <a:lnTo>
                    <a:pt x="2" y="59"/>
                  </a:lnTo>
                  <a:lnTo>
                    <a:pt x="2" y="63"/>
                  </a:lnTo>
                  <a:lnTo>
                    <a:pt x="23" y="80"/>
                  </a:lnTo>
                  <a:lnTo>
                    <a:pt x="27" y="86"/>
                  </a:lnTo>
                  <a:lnTo>
                    <a:pt x="30" y="88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38" y="88"/>
                  </a:lnTo>
                  <a:lnTo>
                    <a:pt x="38" y="90"/>
                  </a:lnTo>
                  <a:lnTo>
                    <a:pt x="38" y="92"/>
                  </a:lnTo>
                  <a:lnTo>
                    <a:pt x="38" y="94"/>
                  </a:lnTo>
                  <a:lnTo>
                    <a:pt x="36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40" y="94"/>
                  </a:lnTo>
                  <a:lnTo>
                    <a:pt x="42" y="94"/>
                  </a:lnTo>
                  <a:lnTo>
                    <a:pt x="42" y="96"/>
                  </a:lnTo>
                  <a:lnTo>
                    <a:pt x="44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101"/>
                  </a:lnTo>
                  <a:lnTo>
                    <a:pt x="46" y="101"/>
                  </a:lnTo>
                  <a:lnTo>
                    <a:pt x="46" y="103"/>
                  </a:lnTo>
                  <a:lnTo>
                    <a:pt x="55" y="105"/>
                  </a:lnTo>
                  <a:lnTo>
                    <a:pt x="65" y="107"/>
                  </a:lnTo>
                  <a:lnTo>
                    <a:pt x="69" y="109"/>
                  </a:lnTo>
                  <a:lnTo>
                    <a:pt x="71" y="113"/>
                  </a:lnTo>
                  <a:lnTo>
                    <a:pt x="71" y="122"/>
                  </a:lnTo>
                  <a:lnTo>
                    <a:pt x="69" y="128"/>
                  </a:lnTo>
                  <a:lnTo>
                    <a:pt x="65" y="130"/>
                  </a:lnTo>
                  <a:lnTo>
                    <a:pt x="65" y="128"/>
                  </a:lnTo>
                  <a:lnTo>
                    <a:pt x="67" y="128"/>
                  </a:lnTo>
                  <a:lnTo>
                    <a:pt x="65" y="126"/>
                  </a:lnTo>
                  <a:lnTo>
                    <a:pt x="65" y="126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32"/>
                  </a:lnTo>
                  <a:lnTo>
                    <a:pt x="63" y="139"/>
                  </a:lnTo>
                  <a:lnTo>
                    <a:pt x="63" y="143"/>
                  </a:lnTo>
                  <a:lnTo>
                    <a:pt x="63" y="147"/>
                  </a:lnTo>
                  <a:lnTo>
                    <a:pt x="61" y="153"/>
                  </a:lnTo>
                  <a:lnTo>
                    <a:pt x="59" y="160"/>
                  </a:lnTo>
                  <a:lnTo>
                    <a:pt x="59" y="164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59" y="168"/>
                  </a:lnTo>
                  <a:lnTo>
                    <a:pt x="61" y="168"/>
                  </a:lnTo>
                  <a:lnTo>
                    <a:pt x="61" y="170"/>
                  </a:lnTo>
                  <a:lnTo>
                    <a:pt x="65" y="176"/>
                  </a:lnTo>
                  <a:lnTo>
                    <a:pt x="67" y="176"/>
                  </a:lnTo>
                  <a:lnTo>
                    <a:pt x="71" y="178"/>
                  </a:lnTo>
                  <a:lnTo>
                    <a:pt x="74" y="178"/>
                  </a:lnTo>
                  <a:lnTo>
                    <a:pt x="76" y="181"/>
                  </a:lnTo>
                  <a:lnTo>
                    <a:pt x="78" y="183"/>
                  </a:lnTo>
                  <a:lnTo>
                    <a:pt x="80" y="185"/>
                  </a:lnTo>
                  <a:lnTo>
                    <a:pt x="80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3"/>
                  </a:lnTo>
                  <a:lnTo>
                    <a:pt x="84" y="183"/>
                  </a:lnTo>
                  <a:lnTo>
                    <a:pt x="84" y="183"/>
                  </a:lnTo>
                  <a:lnTo>
                    <a:pt x="86" y="183"/>
                  </a:lnTo>
                  <a:lnTo>
                    <a:pt x="88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2" y="183"/>
                  </a:lnTo>
                  <a:lnTo>
                    <a:pt x="94" y="185"/>
                  </a:lnTo>
                  <a:lnTo>
                    <a:pt x="97" y="185"/>
                  </a:lnTo>
                  <a:lnTo>
                    <a:pt x="107" y="187"/>
                  </a:lnTo>
                  <a:lnTo>
                    <a:pt x="109" y="187"/>
                  </a:lnTo>
                  <a:lnTo>
                    <a:pt x="113" y="185"/>
                  </a:lnTo>
                  <a:lnTo>
                    <a:pt x="115" y="185"/>
                  </a:lnTo>
                  <a:lnTo>
                    <a:pt x="115" y="185"/>
                  </a:lnTo>
                  <a:lnTo>
                    <a:pt x="118" y="183"/>
                  </a:lnTo>
                  <a:lnTo>
                    <a:pt x="120" y="183"/>
                  </a:lnTo>
                  <a:lnTo>
                    <a:pt x="120" y="181"/>
                  </a:lnTo>
                  <a:lnTo>
                    <a:pt x="118" y="181"/>
                  </a:lnTo>
                  <a:lnTo>
                    <a:pt x="118" y="181"/>
                  </a:lnTo>
                  <a:lnTo>
                    <a:pt x="115" y="178"/>
                  </a:lnTo>
                  <a:lnTo>
                    <a:pt x="113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11" y="164"/>
                  </a:lnTo>
                  <a:lnTo>
                    <a:pt x="113" y="160"/>
                  </a:lnTo>
                  <a:lnTo>
                    <a:pt x="115" y="157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22" y="153"/>
                  </a:lnTo>
                  <a:lnTo>
                    <a:pt x="122" y="153"/>
                  </a:lnTo>
                  <a:lnTo>
                    <a:pt x="124" y="153"/>
                  </a:lnTo>
                  <a:lnTo>
                    <a:pt x="126" y="151"/>
                  </a:lnTo>
                  <a:lnTo>
                    <a:pt x="128" y="151"/>
                  </a:lnTo>
                  <a:lnTo>
                    <a:pt x="128" y="151"/>
                  </a:lnTo>
                  <a:lnTo>
                    <a:pt x="130" y="149"/>
                  </a:lnTo>
                  <a:lnTo>
                    <a:pt x="130" y="149"/>
                  </a:lnTo>
                  <a:lnTo>
                    <a:pt x="136" y="149"/>
                  </a:lnTo>
                  <a:lnTo>
                    <a:pt x="141" y="149"/>
                  </a:lnTo>
                  <a:close/>
                  <a:moveTo>
                    <a:pt x="178" y="155"/>
                  </a:moveTo>
                  <a:lnTo>
                    <a:pt x="176" y="155"/>
                  </a:lnTo>
                  <a:lnTo>
                    <a:pt x="176" y="155"/>
                  </a:lnTo>
                  <a:lnTo>
                    <a:pt x="176" y="155"/>
                  </a:lnTo>
                  <a:lnTo>
                    <a:pt x="174" y="155"/>
                  </a:lnTo>
                  <a:lnTo>
                    <a:pt x="174" y="155"/>
                  </a:lnTo>
                  <a:lnTo>
                    <a:pt x="172" y="157"/>
                  </a:lnTo>
                  <a:lnTo>
                    <a:pt x="174" y="157"/>
                  </a:lnTo>
                  <a:lnTo>
                    <a:pt x="174" y="160"/>
                  </a:lnTo>
                  <a:lnTo>
                    <a:pt x="174" y="160"/>
                  </a:lnTo>
                  <a:lnTo>
                    <a:pt x="174" y="157"/>
                  </a:lnTo>
                  <a:lnTo>
                    <a:pt x="174" y="157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6" y="160"/>
                  </a:lnTo>
                  <a:lnTo>
                    <a:pt x="178" y="160"/>
                  </a:lnTo>
                  <a:lnTo>
                    <a:pt x="178" y="160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8" y="155"/>
                  </a:lnTo>
                  <a:lnTo>
                    <a:pt x="178" y="155"/>
                  </a:lnTo>
                  <a:close/>
                  <a:moveTo>
                    <a:pt x="208" y="67"/>
                  </a:moveTo>
                  <a:lnTo>
                    <a:pt x="210" y="69"/>
                  </a:lnTo>
                  <a:lnTo>
                    <a:pt x="212" y="69"/>
                  </a:lnTo>
                  <a:lnTo>
                    <a:pt x="214" y="71"/>
                  </a:lnTo>
                  <a:lnTo>
                    <a:pt x="214" y="69"/>
                  </a:lnTo>
                  <a:lnTo>
                    <a:pt x="216" y="69"/>
                  </a:lnTo>
                  <a:lnTo>
                    <a:pt x="216" y="69"/>
                  </a:lnTo>
                  <a:lnTo>
                    <a:pt x="218" y="67"/>
                  </a:lnTo>
                  <a:lnTo>
                    <a:pt x="218" y="65"/>
                  </a:lnTo>
                  <a:lnTo>
                    <a:pt x="218" y="65"/>
                  </a:lnTo>
                  <a:lnTo>
                    <a:pt x="216" y="63"/>
                  </a:lnTo>
                  <a:lnTo>
                    <a:pt x="216" y="63"/>
                  </a:lnTo>
                  <a:lnTo>
                    <a:pt x="210" y="65"/>
                  </a:lnTo>
                  <a:lnTo>
                    <a:pt x="208" y="65"/>
                  </a:lnTo>
                  <a:lnTo>
                    <a:pt x="208" y="65"/>
                  </a:lnTo>
                  <a:lnTo>
                    <a:pt x="208" y="67"/>
                  </a:lnTo>
                  <a:lnTo>
                    <a:pt x="208" y="67"/>
                  </a:lnTo>
                  <a:close/>
                  <a:moveTo>
                    <a:pt x="159" y="260"/>
                  </a:moveTo>
                  <a:lnTo>
                    <a:pt x="159" y="260"/>
                  </a:lnTo>
                  <a:lnTo>
                    <a:pt x="155" y="258"/>
                  </a:lnTo>
                  <a:lnTo>
                    <a:pt x="153" y="262"/>
                  </a:lnTo>
                  <a:lnTo>
                    <a:pt x="153" y="265"/>
                  </a:lnTo>
                  <a:lnTo>
                    <a:pt x="151" y="265"/>
                  </a:lnTo>
                  <a:lnTo>
                    <a:pt x="151" y="265"/>
                  </a:lnTo>
                  <a:lnTo>
                    <a:pt x="151" y="267"/>
                  </a:lnTo>
                  <a:lnTo>
                    <a:pt x="153" y="267"/>
                  </a:lnTo>
                  <a:lnTo>
                    <a:pt x="153" y="267"/>
                  </a:lnTo>
                  <a:lnTo>
                    <a:pt x="157" y="267"/>
                  </a:lnTo>
                  <a:lnTo>
                    <a:pt x="159" y="265"/>
                  </a:lnTo>
                  <a:lnTo>
                    <a:pt x="159" y="262"/>
                  </a:lnTo>
                  <a:lnTo>
                    <a:pt x="159" y="262"/>
                  </a:lnTo>
                  <a:lnTo>
                    <a:pt x="159" y="260"/>
                  </a:lnTo>
                  <a:close/>
                  <a:moveTo>
                    <a:pt x="113" y="216"/>
                  </a:moveTo>
                  <a:lnTo>
                    <a:pt x="111" y="216"/>
                  </a:lnTo>
                  <a:lnTo>
                    <a:pt x="111" y="214"/>
                  </a:lnTo>
                  <a:lnTo>
                    <a:pt x="109" y="214"/>
                  </a:lnTo>
                  <a:lnTo>
                    <a:pt x="107" y="212"/>
                  </a:lnTo>
                  <a:lnTo>
                    <a:pt x="105" y="208"/>
                  </a:lnTo>
                  <a:lnTo>
                    <a:pt x="105" y="206"/>
                  </a:lnTo>
                  <a:lnTo>
                    <a:pt x="105" y="206"/>
                  </a:lnTo>
                  <a:lnTo>
                    <a:pt x="103" y="206"/>
                  </a:lnTo>
                  <a:lnTo>
                    <a:pt x="103" y="208"/>
                  </a:lnTo>
                  <a:lnTo>
                    <a:pt x="101" y="210"/>
                  </a:lnTo>
                  <a:lnTo>
                    <a:pt x="101" y="210"/>
                  </a:lnTo>
                  <a:lnTo>
                    <a:pt x="99" y="208"/>
                  </a:lnTo>
                  <a:lnTo>
                    <a:pt x="99" y="206"/>
                  </a:lnTo>
                  <a:lnTo>
                    <a:pt x="99" y="206"/>
                  </a:lnTo>
                  <a:lnTo>
                    <a:pt x="99" y="206"/>
                  </a:lnTo>
                  <a:lnTo>
                    <a:pt x="97" y="206"/>
                  </a:lnTo>
                  <a:lnTo>
                    <a:pt x="94" y="208"/>
                  </a:lnTo>
                  <a:lnTo>
                    <a:pt x="94" y="210"/>
                  </a:lnTo>
                  <a:lnTo>
                    <a:pt x="97" y="212"/>
                  </a:lnTo>
                  <a:lnTo>
                    <a:pt x="97" y="212"/>
                  </a:lnTo>
                  <a:lnTo>
                    <a:pt x="97" y="214"/>
                  </a:lnTo>
                  <a:lnTo>
                    <a:pt x="97" y="214"/>
                  </a:lnTo>
                  <a:lnTo>
                    <a:pt x="92" y="214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2" y="218"/>
                  </a:lnTo>
                  <a:lnTo>
                    <a:pt x="90" y="218"/>
                  </a:lnTo>
                  <a:lnTo>
                    <a:pt x="90" y="220"/>
                  </a:lnTo>
                  <a:lnTo>
                    <a:pt x="90" y="220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90" y="229"/>
                  </a:lnTo>
                  <a:lnTo>
                    <a:pt x="94" y="233"/>
                  </a:lnTo>
                  <a:lnTo>
                    <a:pt x="97" y="235"/>
                  </a:lnTo>
                  <a:lnTo>
                    <a:pt x="97" y="237"/>
                  </a:lnTo>
                  <a:lnTo>
                    <a:pt x="97" y="237"/>
                  </a:lnTo>
                  <a:lnTo>
                    <a:pt x="99" y="237"/>
                  </a:lnTo>
                  <a:lnTo>
                    <a:pt x="99" y="237"/>
                  </a:lnTo>
                  <a:lnTo>
                    <a:pt x="101" y="237"/>
                  </a:lnTo>
                  <a:lnTo>
                    <a:pt x="103" y="239"/>
                  </a:lnTo>
                  <a:lnTo>
                    <a:pt x="105" y="244"/>
                  </a:lnTo>
                  <a:lnTo>
                    <a:pt x="105" y="244"/>
                  </a:lnTo>
                  <a:lnTo>
                    <a:pt x="107" y="244"/>
                  </a:lnTo>
                  <a:lnTo>
                    <a:pt x="109" y="244"/>
                  </a:lnTo>
                  <a:lnTo>
                    <a:pt x="111" y="244"/>
                  </a:lnTo>
                  <a:lnTo>
                    <a:pt x="111" y="241"/>
                  </a:lnTo>
                  <a:lnTo>
                    <a:pt x="113" y="241"/>
                  </a:lnTo>
                  <a:lnTo>
                    <a:pt x="113" y="225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3" y="218"/>
                  </a:lnTo>
                  <a:lnTo>
                    <a:pt x="113" y="216"/>
                  </a:lnTo>
                  <a:close/>
                  <a:moveTo>
                    <a:pt x="147" y="54"/>
                  </a:moveTo>
                  <a:lnTo>
                    <a:pt x="147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51" y="54"/>
                  </a:lnTo>
                  <a:lnTo>
                    <a:pt x="151" y="54"/>
                  </a:lnTo>
                  <a:lnTo>
                    <a:pt x="151" y="52"/>
                  </a:lnTo>
                  <a:lnTo>
                    <a:pt x="151" y="52"/>
                  </a:lnTo>
                  <a:lnTo>
                    <a:pt x="149" y="50"/>
                  </a:lnTo>
                  <a:lnTo>
                    <a:pt x="149" y="50"/>
                  </a:lnTo>
                  <a:lnTo>
                    <a:pt x="149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7" y="48"/>
                  </a:lnTo>
                  <a:lnTo>
                    <a:pt x="145" y="50"/>
                  </a:lnTo>
                  <a:lnTo>
                    <a:pt x="145" y="50"/>
                  </a:lnTo>
                  <a:lnTo>
                    <a:pt x="145" y="52"/>
                  </a:lnTo>
                  <a:lnTo>
                    <a:pt x="147" y="54"/>
                  </a:lnTo>
                  <a:close/>
                  <a:moveTo>
                    <a:pt x="57" y="115"/>
                  </a:moveTo>
                  <a:lnTo>
                    <a:pt x="55" y="115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3" y="113"/>
                  </a:lnTo>
                  <a:lnTo>
                    <a:pt x="53" y="113"/>
                  </a:lnTo>
                  <a:lnTo>
                    <a:pt x="53" y="113"/>
                  </a:lnTo>
                  <a:lnTo>
                    <a:pt x="53" y="113"/>
                  </a:lnTo>
                  <a:lnTo>
                    <a:pt x="53" y="115"/>
                  </a:lnTo>
                  <a:lnTo>
                    <a:pt x="53" y="115"/>
                  </a:lnTo>
                  <a:lnTo>
                    <a:pt x="51" y="115"/>
                  </a:lnTo>
                  <a:lnTo>
                    <a:pt x="51" y="115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8"/>
                  </a:lnTo>
                  <a:lnTo>
                    <a:pt x="51" y="118"/>
                  </a:lnTo>
                  <a:lnTo>
                    <a:pt x="51" y="120"/>
                  </a:lnTo>
                  <a:lnTo>
                    <a:pt x="51" y="120"/>
                  </a:lnTo>
                  <a:lnTo>
                    <a:pt x="51" y="122"/>
                  </a:lnTo>
                  <a:lnTo>
                    <a:pt x="51" y="122"/>
                  </a:lnTo>
                  <a:lnTo>
                    <a:pt x="51" y="120"/>
                  </a:lnTo>
                  <a:lnTo>
                    <a:pt x="53" y="120"/>
                  </a:lnTo>
                  <a:lnTo>
                    <a:pt x="55" y="122"/>
                  </a:lnTo>
                  <a:lnTo>
                    <a:pt x="55" y="122"/>
                  </a:lnTo>
                  <a:lnTo>
                    <a:pt x="55" y="122"/>
                  </a:lnTo>
                  <a:lnTo>
                    <a:pt x="55" y="120"/>
                  </a:lnTo>
                  <a:lnTo>
                    <a:pt x="55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5"/>
                  </a:lnTo>
                  <a:lnTo>
                    <a:pt x="57" y="115"/>
                  </a:lnTo>
                  <a:lnTo>
                    <a:pt x="57" y="115"/>
                  </a:lnTo>
                  <a:close/>
                  <a:moveTo>
                    <a:pt x="224" y="107"/>
                  </a:moveTo>
                  <a:lnTo>
                    <a:pt x="220" y="105"/>
                  </a:lnTo>
                  <a:lnTo>
                    <a:pt x="220" y="105"/>
                  </a:lnTo>
                  <a:lnTo>
                    <a:pt x="216" y="105"/>
                  </a:lnTo>
                  <a:lnTo>
                    <a:pt x="214" y="105"/>
                  </a:lnTo>
                  <a:lnTo>
                    <a:pt x="214" y="107"/>
                  </a:lnTo>
                  <a:lnTo>
                    <a:pt x="212" y="107"/>
                  </a:lnTo>
                  <a:lnTo>
                    <a:pt x="210" y="105"/>
                  </a:lnTo>
                  <a:lnTo>
                    <a:pt x="208" y="105"/>
                  </a:lnTo>
                  <a:lnTo>
                    <a:pt x="206" y="103"/>
                  </a:lnTo>
                  <a:lnTo>
                    <a:pt x="206" y="103"/>
                  </a:lnTo>
                  <a:lnTo>
                    <a:pt x="203" y="105"/>
                  </a:lnTo>
                  <a:lnTo>
                    <a:pt x="201" y="107"/>
                  </a:lnTo>
                  <a:lnTo>
                    <a:pt x="201" y="107"/>
                  </a:lnTo>
                  <a:lnTo>
                    <a:pt x="199" y="109"/>
                  </a:lnTo>
                  <a:lnTo>
                    <a:pt x="197" y="109"/>
                  </a:lnTo>
                  <a:lnTo>
                    <a:pt x="197" y="111"/>
                  </a:lnTo>
                  <a:lnTo>
                    <a:pt x="199" y="115"/>
                  </a:lnTo>
                  <a:lnTo>
                    <a:pt x="199" y="118"/>
                  </a:lnTo>
                  <a:lnTo>
                    <a:pt x="203" y="122"/>
                  </a:lnTo>
                  <a:lnTo>
                    <a:pt x="206" y="126"/>
                  </a:lnTo>
                  <a:lnTo>
                    <a:pt x="210" y="128"/>
                  </a:lnTo>
                  <a:lnTo>
                    <a:pt x="214" y="128"/>
                  </a:lnTo>
                  <a:lnTo>
                    <a:pt x="218" y="126"/>
                  </a:lnTo>
                  <a:lnTo>
                    <a:pt x="220" y="124"/>
                  </a:lnTo>
                  <a:lnTo>
                    <a:pt x="224" y="118"/>
                  </a:lnTo>
                  <a:lnTo>
                    <a:pt x="226" y="113"/>
                  </a:lnTo>
                  <a:lnTo>
                    <a:pt x="226" y="111"/>
                  </a:lnTo>
                  <a:lnTo>
                    <a:pt x="224" y="107"/>
                  </a:lnTo>
                  <a:close/>
                  <a:moveTo>
                    <a:pt x="155" y="252"/>
                  </a:moveTo>
                  <a:lnTo>
                    <a:pt x="155" y="252"/>
                  </a:lnTo>
                  <a:lnTo>
                    <a:pt x="155" y="250"/>
                  </a:lnTo>
                  <a:lnTo>
                    <a:pt x="157" y="248"/>
                  </a:lnTo>
                  <a:lnTo>
                    <a:pt x="157" y="248"/>
                  </a:lnTo>
                  <a:lnTo>
                    <a:pt x="153" y="248"/>
                  </a:lnTo>
                  <a:lnTo>
                    <a:pt x="153" y="250"/>
                  </a:lnTo>
                  <a:lnTo>
                    <a:pt x="153" y="252"/>
                  </a:lnTo>
                  <a:lnTo>
                    <a:pt x="153" y="252"/>
                  </a:lnTo>
                  <a:lnTo>
                    <a:pt x="155" y="254"/>
                  </a:lnTo>
                  <a:lnTo>
                    <a:pt x="155" y="252"/>
                  </a:lnTo>
                  <a:close/>
                  <a:moveTo>
                    <a:pt x="296" y="273"/>
                  </a:moveTo>
                  <a:lnTo>
                    <a:pt x="296" y="271"/>
                  </a:lnTo>
                  <a:lnTo>
                    <a:pt x="296" y="271"/>
                  </a:lnTo>
                  <a:lnTo>
                    <a:pt x="296" y="271"/>
                  </a:lnTo>
                  <a:lnTo>
                    <a:pt x="293" y="269"/>
                  </a:lnTo>
                  <a:lnTo>
                    <a:pt x="287" y="269"/>
                  </a:lnTo>
                  <a:lnTo>
                    <a:pt x="287" y="269"/>
                  </a:lnTo>
                  <a:lnTo>
                    <a:pt x="285" y="269"/>
                  </a:lnTo>
                  <a:lnTo>
                    <a:pt x="287" y="271"/>
                  </a:lnTo>
                  <a:lnTo>
                    <a:pt x="287" y="271"/>
                  </a:lnTo>
                  <a:lnTo>
                    <a:pt x="289" y="273"/>
                  </a:lnTo>
                  <a:lnTo>
                    <a:pt x="289" y="273"/>
                  </a:lnTo>
                  <a:lnTo>
                    <a:pt x="296" y="273"/>
                  </a:lnTo>
                  <a:lnTo>
                    <a:pt x="296" y="273"/>
                  </a:lnTo>
                  <a:close/>
                  <a:moveTo>
                    <a:pt x="279" y="252"/>
                  </a:moveTo>
                  <a:lnTo>
                    <a:pt x="277" y="250"/>
                  </a:lnTo>
                  <a:lnTo>
                    <a:pt x="275" y="248"/>
                  </a:lnTo>
                  <a:lnTo>
                    <a:pt x="275" y="248"/>
                  </a:lnTo>
                  <a:lnTo>
                    <a:pt x="273" y="246"/>
                  </a:lnTo>
                  <a:lnTo>
                    <a:pt x="270" y="246"/>
                  </a:lnTo>
                  <a:lnTo>
                    <a:pt x="268" y="244"/>
                  </a:lnTo>
                  <a:lnTo>
                    <a:pt x="266" y="244"/>
                  </a:lnTo>
                  <a:lnTo>
                    <a:pt x="268" y="246"/>
                  </a:lnTo>
                  <a:lnTo>
                    <a:pt x="270" y="248"/>
                  </a:lnTo>
                  <a:lnTo>
                    <a:pt x="270" y="248"/>
                  </a:lnTo>
                  <a:lnTo>
                    <a:pt x="273" y="250"/>
                  </a:lnTo>
                  <a:lnTo>
                    <a:pt x="275" y="254"/>
                  </a:lnTo>
                  <a:lnTo>
                    <a:pt x="277" y="256"/>
                  </a:lnTo>
                  <a:lnTo>
                    <a:pt x="279" y="256"/>
                  </a:lnTo>
                  <a:lnTo>
                    <a:pt x="279" y="254"/>
                  </a:lnTo>
                  <a:lnTo>
                    <a:pt x="279" y="252"/>
                  </a:lnTo>
                  <a:close/>
                  <a:moveTo>
                    <a:pt x="329" y="231"/>
                  </a:moveTo>
                  <a:lnTo>
                    <a:pt x="329" y="231"/>
                  </a:lnTo>
                  <a:lnTo>
                    <a:pt x="329" y="231"/>
                  </a:lnTo>
                  <a:lnTo>
                    <a:pt x="327" y="231"/>
                  </a:lnTo>
                  <a:lnTo>
                    <a:pt x="327" y="233"/>
                  </a:lnTo>
                  <a:lnTo>
                    <a:pt x="329" y="233"/>
                  </a:lnTo>
                  <a:lnTo>
                    <a:pt x="329" y="233"/>
                  </a:lnTo>
                  <a:lnTo>
                    <a:pt x="329" y="231"/>
                  </a:lnTo>
                  <a:close/>
                  <a:moveTo>
                    <a:pt x="302" y="290"/>
                  </a:moveTo>
                  <a:lnTo>
                    <a:pt x="300" y="288"/>
                  </a:lnTo>
                  <a:lnTo>
                    <a:pt x="300" y="286"/>
                  </a:lnTo>
                  <a:lnTo>
                    <a:pt x="296" y="283"/>
                  </a:lnTo>
                  <a:lnTo>
                    <a:pt x="293" y="281"/>
                  </a:lnTo>
                  <a:lnTo>
                    <a:pt x="293" y="283"/>
                  </a:lnTo>
                  <a:lnTo>
                    <a:pt x="293" y="286"/>
                  </a:lnTo>
                  <a:lnTo>
                    <a:pt x="293" y="288"/>
                  </a:lnTo>
                  <a:lnTo>
                    <a:pt x="296" y="290"/>
                  </a:lnTo>
                  <a:lnTo>
                    <a:pt x="296" y="290"/>
                  </a:lnTo>
                  <a:lnTo>
                    <a:pt x="298" y="292"/>
                  </a:lnTo>
                  <a:lnTo>
                    <a:pt x="300" y="292"/>
                  </a:lnTo>
                  <a:lnTo>
                    <a:pt x="300" y="294"/>
                  </a:lnTo>
                  <a:lnTo>
                    <a:pt x="300" y="296"/>
                  </a:lnTo>
                  <a:lnTo>
                    <a:pt x="300" y="296"/>
                  </a:lnTo>
                  <a:lnTo>
                    <a:pt x="302" y="296"/>
                  </a:lnTo>
                  <a:lnTo>
                    <a:pt x="302" y="296"/>
                  </a:lnTo>
                  <a:lnTo>
                    <a:pt x="304" y="292"/>
                  </a:lnTo>
                  <a:lnTo>
                    <a:pt x="302" y="290"/>
                  </a:lnTo>
                  <a:lnTo>
                    <a:pt x="302" y="290"/>
                  </a:lnTo>
                  <a:close/>
                  <a:moveTo>
                    <a:pt x="212" y="185"/>
                  </a:moveTo>
                  <a:lnTo>
                    <a:pt x="212" y="185"/>
                  </a:lnTo>
                  <a:lnTo>
                    <a:pt x="212" y="185"/>
                  </a:lnTo>
                  <a:lnTo>
                    <a:pt x="212" y="185"/>
                  </a:lnTo>
                  <a:lnTo>
                    <a:pt x="212" y="185"/>
                  </a:lnTo>
                  <a:lnTo>
                    <a:pt x="214" y="181"/>
                  </a:lnTo>
                  <a:lnTo>
                    <a:pt x="214" y="181"/>
                  </a:lnTo>
                  <a:lnTo>
                    <a:pt x="210" y="181"/>
                  </a:lnTo>
                  <a:lnTo>
                    <a:pt x="208" y="181"/>
                  </a:lnTo>
                  <a:lnTo>
                    <a:pt x="206" y="183"/>
                  </a:lnTo>
                  <a:lnTo>
                    <a:pt x="206" y="183"/>
                  </a:lnTo>
                  <a:lnTo>
                    <a:pt x="208" y="183"/>
                  </a:lnTo>
                  <a:lnTo>
                    <a:pt x="208" y="183"/>
                  </a:lnTo>
                  <a:lnTo>
                    <a:pt x="208" y="183"/>
                  </a:lnTo>
                  <a:lnTo>
                    <a:pt x="206" y="183"/>
                  </a:lnTo>
                  <a:lnTo>
                    <a:pt x="206" y="183"/>
                  </a:lnTo>
                  <a:lnTo>
                    <a:pt x="206" y="185"/>
                  </a:lnTo>
                  <a:lnTo>
                    <a:pt x="206" y="185"/>
                  </a:lnTo>
                  <a:lnTo>
                    <a:pt x="208" y="185"/>
                  </a:lnTo>
                  <a:lnTo>
                    <a:pt x="208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0" y="185"/>
                  </a:lnTo>
                  <a:lnTo>
                    <a:pt x="212" y="185"/>
                  </a:lnTo>
                  <a:lnTo>
                    <a:pt x="212" y="185"/>
                  </a:lnTo>
                  <a:lnTo>
                    <a:pt x="212" y="185"/>
                  </a:lnTo>
                  <a:lnTo>
                    <a:pt x="212" y="185"/>
                  </a:lnTo>
                  <a:close/>
                  <a:moveTo>
                    <a:pt x="164" y="239"/>
                  </a:moveTo>
                  <a:lnTo>
                    <a:pt x="164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4" y="239"/>
                  </a:lnTo>
                  <a:lnTo>
                    <a:pt x="166" y="237"/>
                  </a:lnTo>
                  <a:lnTo>
                    <a:pt x="166" y="235"/>
                  </a:lnTo>
                  <a:lnTo>
                    <a:pt x="166" y="233"/>
                  </a:lnTo>
                  <a:lnTo>
                    <a:pt x="166" y="233"/>
                  </a:lnTo>
                  <a:lnTo>
                    <a:pt x="168" y="233"/>
                  </a:lnTo>
                  <a:lnTo>
                    <a:pt x="168" y="233"/>
                  </a:lnTo>
                  <a:lnTo>
                    <a:pt x="170" y="231"/>
                  </a:lnTo>
                  <a:lnTo>
                    <a:pt x="170" y="229"/>
                  </a:lnTo>
                  <a:lnTo>
                    <a:pt x="170" y="225"/>
                  </a:lnTo>
                  <a:lnTo>
                    <a:pt x="170" y="225"/>
                  </a:lnTo>
                  <a:lnTo>
                    <a:pt x="168" y="225"/>
                  </a:lnTo>
                  <a:lnTo>
                    <a:pt x="168" y="223"/>
                  </a:lnTo>
                  <a:lnTo>
                    <a:pt x="166" y="223"/>
                  </a:lnTo>
                  <a:lnTo>
                    <a:pt x="164" y="220"/>
                  </a:lnTo>
                  <a:lnTo>
                    <a:pt x="166" y="220"/>
                  </a:lnTo>
                  <a:lnTo>
                    <a:pt x="168" y="220"/>
                  </a:lnTo>
                  <a:lnTo>
                    <a:pt x="168" y="220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6" y="218"/>
                  </a:lnTo>
                  <a:lnTo>
                    <a:pt x="166" y="218"/>
                  </a:lnTo>
                  <a:lnTo>
                    <a:pt x="164" y="216"/>
                  </a:lnTo>
                  <a:lnTo>
                    <a:pt x="164" y="214"/>
                  </a:lnTo>
                  <a:lnTo>
                    <a:pt x="168" y="208"/>
                  </a:lnTo>
                  <a:lnTo>
                    <a:pt x="170" y="206"/>
                  </a:lnTo>
                  <a:lnTo>
                    <a:pt x="176" y="199"/>
                  </a:lnTo>
                  <a:lnTo>
                    <a:pt x="176" y="197"/>
                  </a:lnTo>
                  <a:lnTo>
                    <a:pt x="178" y="197"/>
                  </a:lnTo>
                  <a:lnTo>
                    <a:pt x="178" y="195"/>
                  </a:lnTo>
                  <a:lnTo>
                    <a:pt x="178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5"/>
                  </a:lnTo>
                  <a:lnTo>
                    <a:pt x="180" y="193"/>
                  </a:lnTo>
                  <a:lnTo>
                    <a:pt x="180" y="191"/>
                  </a:lnTo>
                  <a:lnTo>
                    <a:pt x="180" y="191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80" y="189"/>
                  </a:lnTo>
                  <a:lnTo>
                    <a:pt x="178" y="187"/>
                  </a:lnTo>
                  <a:lnTo>
                    <a:pt x="178" y="185"/>
                  </a:lnTo>
                  <a:lnTo>
                    <a:pt x="178" y="178"/>
                  </a:lnTo>
                  <a:lnTo>
                    <a:pt x="176" y="166"/>
                  </a:lnTo>
                  <a:lnTo>
                    <a:pt x="176" y="166"/>
                  </a:lnTo>
                  <a:lnTo>
                    <a:pt x="174" y="164"/>
                  </a:lnTo>
                  <a:lnTo>
                    <a:pt x="172" y="164"/>
                  </a:lnTo>
                  <a:lnTo>
                    <a:pt x="170" y="164"/>
                  </a:lnTo>
                  <a:lnTo>
                    <a:pt x="164" y="168"/>
                  </a:lnTo>
                  <a:lnTo>
                    <a:pt x="157" y="172"/>
                  </a:lnTo>
                  <a:lnTo>
                    <a:pt x="155" y="174"/>
                  </a:lnTo>
                  <a:lnTo>
                    <a:pt x="151" y="174"/>
                  </a:lnTo>
                  <a:lnTo>
                    <a:pt x="145" y="174"/>
                  </a:lnTo>
                  <a:lnTo>
                    <a:pt x="143" y="176"/>
                  </a:lnTo>
                  <a:lnTo>
                    <a:pt x="143" y="178"/>
                  </a:lnTo>
                  <a:lnTo>
                    <a:pt x="141" y="183"/>
                  </a:lnTo>
                  <a:lnTo>
                    <a:pt x="138" y="185"/>
                  </a:lnTo>
                  <a:lnTo>
                    <a:pt x="138" y="185"/>
                  </a:lnTo>
                  <a:lnTo>
                    <a:pt x="141" y="187"/>
                  </a:lnTo>
                  <a:lnTo>
                    <a:pt x="141" y="189"/>
                  </a:lnTo>
                  <a:lnTo>
                    <a:pt x="143" y="191"/>
                  </a:lnTo>
                  <a:lnTo>
                    <a:pt x="143" y="195"/>
                  </a:lnTo>
                  <a:lnTo>
                    <a:pt x="145" y="197"/>
                  </a:lnTo>
                  <a:lnTo>
                    <a:pt x="145" y="204"/>
                  </a:lnTo>
                  <a:lnTo>
                    <a:pt x="145" y="204"/>
                  </a:lnTo>
                  <a:lnTo>
                    <a:pt x="145" y="206"/>
                  </a:lnTo>
                  <a:lnTo>
                    <a:pt x="145" y="208"/>
                  </a:lnTo>
                  <a:lnTo>
                    <a:pt x="143" y="208"/>
                  </a:lnTo>
                  <a:lnTo>
                    <a:pt x="143" y="210"/>
                  </a:lnTo>
                  <a:lnTo>
                    <a:pt x="141" y="210"/>
                  </a:lnTo>
                  <a:lnTo>
                    <a:pt x="141" y="210"/>
                  </a:lnTo>
                  <a:lnTo>
                    <a:pt x="138" y="212"/>
                  </a:lnTo>
                  <a:lnTo>
                    <a:pt x="138" y="214"/>
                  </a:lnTo>
                  <a:lnTo>
                    <a:pt x="138" y="220"/>
                  </a:lnTo>
                  <a:lnTo>
                    <a:pt x="136" y="223"/>
                  </a:lnTo>
                  <a:lnTo>
                    <a:pt x="136" y="225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4" y="233"/>
                  </a:lnTo>
                  <a:lnTo>
                    <a:pt x="134" y="235"/>
                  </a:lnTo>
                  <a:lnTo>
                    <a:pt x="134" y="235"/>
                  </a:lnTo>
                  <a:lnTo>
                    <a:pt x="134" y="235"/>
                  </a:lnTo>
                  <a:lnTo>
                    <a:pt x="136" y="237"/>
                  </a:lnTo>
                  <a:lnTo>
                    <a:pt x="136" y="237"/>
                  </a:lnTo>
                  <a:lnTo>
                    <a:pt x="143" y="237"/>
                  </a:lnTo>
                  <a:lnTo>
                    <a:pt x="143" y="237"/>
                  </a:lnTo>
                  <a:lnTo>
                    <a:pt x="143" y="235"/>
                  </a:lnTo>
                  <a:lnTo>
                    <a:pt x="145" y="233"/>
                  </a:lnTo>
                  <a:lnTo>
                    <a:pt x="145" y="231"/>
                  </a:lnTo>
                  <a:lnTo>
                    <a:pt x="145" y="231"/>
                  </a:lnTo>
                  <a:lnTo>
                    <a:pt x="147" y="229"/>
                  </a:lnTo>
                  <a:lnTo>
                    <a:pt x="147" y="229"/>
                  </a:lnTo>
                  <a:lnTo>
                    <a:pt x="149" y="229"/>
                  </a:lnTo>
                  <a:lnTo>
                    <a:pt x="151" y="229"/>
                  </a:lnTo>
                  <a:lnTo>
                    <a:pt x="151" y="231"/>
                  </a:lnTo>
                  <a:lnTo>
                    <a:pt x="147" y="231"/>
                  </a:lnTo>
                  <a:lnTo>
                    <a:pt x="147" y="233"/>
                  </a:lnTo>
                  <a:lnTo>
                    <a:pt x="147" y="235"/>
                  </a:lnTo>
                  <a:lnTo>
                    <a:pt x="149" y="237"/>
                  </a:lnTo>
                  <a:lnTo>
                    <a:pt x="151" y="237"/>
                  </a:lnTo>
                  <a:lnTo>
                    <a:pt x="151" y="237"/>
                  </a:lnTo>
                  <a:lnTo>
                    <a:pt x="153" y="235"/>
                  </a:lnTo>
                  <a:lnTo>
                    <a:pt x="155" y="233"/>
                  </a:lnTo>
                  <a:lnTo>
                    <a:pt x="155" y="231"/>
                  </a:lnTo>
                  <a:lnTo>
                    <a:pt x="155" y="231"/>
                  </a:lnTo>
                  <a:lnTo>
                    <a:pt x="155" y="229"/>
                  </a:lnTo>
                  <a:lnTo>
                    <a:pt x="155" y="227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7" y="229"/>
                  </a:lnTo>
                  <a:lnTo>
                    <a:pt x="159" y="231"/>
                  </a:lnTo>
                  <a:lnTo>
                    <a:pt x="159" y="237"/>
                  </a:lnTo>
                  <a:lnTo>
                    <a:pt x="159" y="239"/>
                  </a:lnTo>
                  <a:lnTo>
                    <a:pt x="162" y="239"/>
                  </a:lnTo>
                  <a:lnTo>
                    <a:pt x="162" y="239"/>
                  </a:lnTo>
                  <a:lnTo>
                    <a:pt x="164" y="239"/>
                  </a:lnTo>
                  <a:close/>
                  <a:moveTo>
                    <a:pt x="260" y="225"/>
                  </a:moveTo>
                  <a:lnTo>
                    <a:pt x="258" y="225"/>
                  </a:lnTo>
                  <a:lnTo>
                    <a:pt x="256" y="225"/>
                  </a:lnTo>
                  <a:lnTo>
                    <a:pt x="254" y="223"/>
                  </a:lnTo>
                  <a:lnTo>
                    <a:pt x="252" y="225"/>
                  </a:lnTo>
                  <a:lnTo>
                    <a:pt x="252" y="227"/>
                  </a:lnTo>
                  <a:lnTo>
                    <a:pt x="254" y="233"/>
                  </a:lnTo>
                  <a:lnTo>
                    <a:pt x="256" y="235"/>
                  </a:lnTo>
                  <a:lnTo>
                    <a:pt x="258" y="235"/>
                  </a:lnTo>
                  <a:lnTo>
                    <a:pt x="260" y="235"/>
                  </a:lnTo>
                  <a:lnTo>
                    <a:pt x="262" y="235"/>
                  </a:lnTo>
                  <a:lnTo>
                    <a:pt x="262" y="233"/>
                  </a:lnTo>
                  <a:lnTo>
                    <a:pt x="262" y="227"/>
                  </a:lnTo>
                  <a:lnTo>
                    <a:pt x="260" y="225"/>
                  </a:lnTo>
                  <a:close/>
                  <a:moveTo>
                    <a:pt x="216" y="174"/>
                  </a:moveTo>
                  <a:lnTo>
                    <a:pt x="216" y="174"/>
                  </a:lnTo>
                  <a:lnTo>
                    <a:pt x="216" y="174"/>
                  </a:lnTo>
                  <a:lnTo>
                    <a:pt x="216" y="176"/>
                  </a:lnTo>
                  <a:lnTo>
                    <a:pt x="218" y="176"/>
                  </a:lnTo>
                  <a:lnTo>
                    <a:pt x="218" y="176"/>
                  </a:lnTo>
                  <a:lnTo>
                    <a:pt x="218" y="178"/>
                  </a:lnTo>
                  <a:lnTo>
                    <a:pt x="220" y="178"/>
                  </a:lnTo>
                  <a:lnTo>
                    <a:pt x="220" y="183"/>
                  </a:lnTo>
                  <a:lnTo>
                    <a:pt x="220" y="185"/>
                  </a:lnTo>
                  <a:lnTo>
                    <a:pt x="222" y="185"/>
                  </a:lnTo>
                  <a:lnTo>
                    <a:pt x="222" y="183"/>
                  </a:lnTo>
                  <a:lnTo>
                    <a:pt x="222" y="172"/>
                  </a:lnTo>
                  <a:lnTo>
                    <a:pt x="222" y="170"/>
                  </a:lnTo>
                  <a:lnTo>
                    <a:pt x="222" y="168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0" y="168"/>
                  </a:lnTo>
                  <a:lnTo>
                    <a:pt x="220" y="166"/>
                  </a:lnTo>
                  <a:lnTo>
                    <a:pt x="220" y="164"/>
                  </a:lnTo>
                  <a:lnTo>
                    <a:pt x="220" y="164"/>
                  </a:lnTo>
                  <a:lnTo>
                    <a:pt x="220" y="162"/>
                  </a:lnTo>
                  <a:lnTo>
                    <a:pt x="220" y="160"/>
                  </a:lnTo>
                  <a:lnTo>
                    <a:pt x="218" y="155"/>
                  </a:lnTo>
                  <a:lnTo>
                    <a:pt x="216" y="153"/>
                  </a:lnTo>
                  <a:lnTo>
                    <a:pt x="210" y="149"/>
                  </a:lnTo>
                  <a:lnTo>
                    <a:pt x="208" y="147"/>
                  </a:lnTo>
                  <a:lnTo>
                    <a:pt x="208" y="145"/>
                  </a:lnTo>
                  <a:lnTo>
                    <a:pt x="210" y="143"/>
                  </a:lnTo>
                  <a:lnTo>
                    <a:pt x="208" y="143"/>
                  </a:lnTo>
                  <a:lnTo>
                    <a:pt x="206" y="143"/>
                  </a:lnTo>
                  <a:lnTo>
                    <a:pt x="203" y="143"/>
                  </a:lnTo>
                  <a:lnTo>
                    <a:pt x="195" y="149"/>
                  </a:lnTo>
                  <a:lnTo>
                    <a:pt x="193" y="151"/>
                  </a:lnTo>
                  <a:lnTo>
                    <a:pt x="193" y="151"/>
                  </a:lnTo>
                  <a:lnTo>
                    <a:pt x="193" y="153"/>
                  </a:lnTo>
                  <a:lnTo>
                    <a:pt x="189" y="160"/>
                  </a:lnTo>
                  <a:lnTo>
                    <a:pt x="189" y="164"/>
                  </a:lnTo>
                  <a:lnTo>
                    <a:pt x="187" y="166"/>
                  </a:lnTo>
                  <a:lnTo>
                    <a:pt x="189" y="183"/>
                  </a:lnTo>
                  <a:lnTo>
                    <a:pt x="189" y="185"/>
                  </a:lnTo>
                  <a:lnTo>
                    <a:pt x="187" y="185"/>
                  </a:lnTo>
                  <a:lnTo>
                    <a:pt x="187" y="185"/>
                  </a:lnTo>
                  <a:lnTo>
                    <a:pt x="185" y="185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7" y="189"/>
                  </a:lnTo>
                  <a:lnTo>
                    <a:pt x="187" y="189"/>
                  </a:lnTo>
                  <a:lnTo>
                    <a:pt x="187" y="191"/>
                  </a:lnTo>
                  <a:lnTo>
                    <a:pt x="187" y="193"/>
                  </a:lnTo>
                  <a:lnTo>
                    <a:pt x="185" y="195"/>
                  </a:lnTo>
                  <a:lnTo>
                    <a:pt x="185" y="197"/>
                  </a:lnTo>
                  <a:lnTo>
                    <a:pt x="180" y="202"/>
                  </a:lnTo>
                  <a:lnTo>
                    <a:pt x="178" y="204"/>
                  </a:lnTo>
                  <a:lnTo>
                    <a:pt x="180" y="204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2" y="202"/>
                  </a:lnTo>
                  <a:lnTo>
                    <a:pt x="182" y="204"/>
                  </a:lnTo>
                  <a:lnTo>
                    <a:pt x="182" y="206"/>
                  </a:lnTo>
                  <a:lnTo>
                    <a:pt x="180" y="208"/>
                  </a:lnTo>
                  <a:lnTo>
                    <a:pt x="180" y="210"/>
                  </a:lnTo>
                  <a:lnTo>
                    <a:pt x="180" y="212"/>
                  </a:lnTo>
                  <a:lnTo>
                    <a:pt x="180" y="214"/>
                  </a:lnTo>
                  <a:lnTo>
                    <a:pt x="178" y="216"/>
                  </a:lnTo>
                  <a:lnTo>
                    <a:pt x="178" y="216"/>
                  </a:lnTo>
                  <a:lnTo>
                    <a:pt x="180" y="218"/>
                  </a:lnTo>
                  <a:lnTo>
                    <a:pt x="178" y="220"/>
                  </a:lnTo>
                  <a:lnTo>
                    <a:pt x="180" y="220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20"/>
                  </a:lnTo>
                  <a:lnTo>
                    <a:pt x="182" y="223"/>
                  </a:lnTo>
                  <a:lnTo>
                    <a:pt x="180" y="223"/>
                  </a:lnTo>
                  <a:lnTo>
                    <a:pt x="178" y="223"/>
                  </a:lnTo>
                  <a:lnTo>
                    <a:pt x="176" y="225"/>
                  </a:lnTo>
                  <a:lnTo>
                    <a:pt x="176" y="225"/>
                  </a:lnTo>
                  <a:lnTo>
                    <a:pt x="174" y="229"/>
                  </a:lnTo>
                  <a:lnTo>
                    <a:pt x="172" y="231"/>
                  </a:lnTo>
                  <a:lnTo>
                    <a:pt x="172" y="231"/>
                  </a:lnTo>
                  <a:lnTo>
                    <a:pt x="172" y="231"/>
                  </a:lnTo>
                  <a:lnTo>
                    <a:pt x="172" y="231"/>
                  </a:lnTo>
                  <a:lnTo>
                    <a:pt x="170" y="233"/>
                  </a:lnTo>
                  <a:lnTo>
                    <a:pt x="168" y="237"/>
                  </a:lnTo>
                  <a:lnTo>
                    <a:pt x="168" y="237"/>
                  </a:lnTo>
                  <a:lnTo>
                    <a:pt x="170" y="239"/>
                  </a:lnTo>
                  <a:lnTo>
                    <a:pt x="170" y="239"/>
                  </a:lnTo>
                  <a:lnTo>
                    <a:pt x="168" y="241"/>
                  </a:lnTo>
                  <a:lnTo>
                    <a:pt x="162" y="248"/>
                  </a:lnTo>
                  <a:lnTo>
                    <a:pt x="168" y="262"/>
                  </a:lnTo>
                  <a:lnTo>
                    <a:pt x="170" y="265"/>
                  </a:lnTo>
                  <a:lnTo>
                    <a:pt x="172" y="265"/>
                  </a:lnTo>
                  <a:lnTo>
                    <a:pt x="172" y="262"/>
                  </a:lnTo>
                  <a:lnTo>
                    <a:pt x="176" y="258"/>
                  </a:lnTo>
                  <a:lnTo>
                    <a:pt x="176" y="258"/>
                  </a:lnTo>
                  <a:lnTo>
                    <a:pt x="178" y="260"/>
                  </a:lnTo>
                  <a:lnTo>
                    <a:pt x="176" y="262"/>
                  </a:lnTo>
                  <a:lnTo>
                    <a:pt x="178" y="262"/>
                  </a:lnTo>
                  <a:lnTo>
                    <a:pt x="178" y="265"/>
                  </a:lnTo>
                  <a:lnTo>
                    <a:pt x="178" y="265"/>
                  </a:lnTo>
                  <a:lnTo>
                    <a:pt x="178" y="262"/>
                  </a:lnTo>
                  <a:lnTo>
                    <a:pt x="180" y="260"/>
                  </a:lnTo>
                  <a:lnTo>
                    <a:pt x="180" y="260"/>
                  </a:lnTo>
                  <a:lnTo>
                    <a:pt x="180" y="260"/>
                  </a:lnTo>
                  <a:lnTo>
                    <a:pt x="182" y="262"/>
                  </a:lnTo>
                  <a:lnTo>
                    <a:pt x="182" y="262"/>
                  </a:lnTo>
                  <a:lnTo>
                    <a:pt x="182" y="265"/>
                  </a:lnTo>
                  <a:lnTo>
                    <a:pt x="182" y="265"/>
                  </a:lnTo>
                  <a:lnTo>
                    <a:pt x="185" y="265"/>
                  </a:lnTo>
                  <a:lnTo>
                    <a:pt x="187" y="265"/>
                  </a:lnTo>
                  <a:lnTo>
                    <a:pt x="187" y="260"/>
                  </a:lnTo>
                  <a:lnTo>
                    <a:pt x="193" y="254"/>
                  </a:lnTo>
                  <a:lnTo>
                    <a:pt x="195" y="250"/>
                  </a:lnTo>
                  <a:lnTo>
                    <a:pt x="193" y="248"/>
                  </a:lnTo>
                  <a:lnTo>
                    <a:pt x="193" y="248"/>
                  </a:lnTo>
                  <a:lnTo>
                    <a:pt x="191" y="248"/>
                  </a:lnTo>
                  <a:lnTo>
                    <a:pt x="189" y="248"/>
                  </a:lnTo>
                  <a:lnTo>
                    <a:pt x="189" y="248"/>
                  </a:lnTo>
                  <a:lnTo>
                    <a:pt x="189" y="246"/>
                  </a:lnTo>
                  <a:lnTo>
                    <a:pt x="191" y="244"/>
                  </a:lnTo>
                  <a:lnTo>
                    <a:pt x="191" y="241"/>
                  </a:lnTo>
                  <a:lnTo>
                    <a:pt x="199" y="237"/>
                  </a:lnTo>
                  <a:lnTo>
                    <a:pt x="201" y="237"/>
                  </a:lnTo>
                  <a:lnTo>
                    <a:pt x="203" y="237"/>
                  </a:lnTo>
                  <a:lnTo>
                    <a:pt x="206" y="239"/>
                  </a:lnTo>
                  <a:lnTo>
                    <a:pt x="206" y="239"/>
                  </a:lnTo>
                  <a:lnTo>
                    <a:pt x="208" y="239"/>
                  </a:lnTo>
                  <a:lnTo>
                    <a:pt x="212" y="237"/>
                  </a:lnTo>
                  <a:lnTo>
                    <a:pt x="216" y="237"/>
                  </a:lnTo>
                  <a:lnTo>
                    <a:pt x="216" y="235"/>
                  </a:lnTo>
                  <a:lnTo>
                    <a:pt x="218" y="233"/>
                  </a:lnTo>
                  <a:lnTo>
                    <a:pt x="220" y="229"/>
                  </a:lnTo>
                  <a:lnTo>
                    <a:pt x="222" y="229"/>
                  </a:lnTo>
                  <a:lnTo>
                    <a:pt x="222" y="227"/>
                  </a:lnTo>
                  <a:lnTo>
                    <a:pt x="222" y="225"/>
                  </a:lnTo>
                  <a:lnTo>
                    <a:pt x="220" y="223"/>
                  </a:lnTo>
                  <a:lnTo>
                    <a:pt x="216" y="220"/>
                  </a:lnTo>
                  <a:lnTo>
                    <a:pt x="214" y="220"/>
                  </a:lnTo>
                  <a:lnTo>
                    <a:pt x="212" y="218"/>
                  </a:lnTo>
                  <a:lnTo>
                    <a:pt x="212" y="216"/>
                  </a:lnTo>
                  <a:lnTo>
                    <a:pt x="208" y="216"/>
                  </a:lnTo>
                  <a:lnTo>
                    <a:pt x="208" y="214"/>
                  </a:lnTo>
                  <a:lnTo>
                    <a:pt x="208" y="214"/>
                  </a:lnTo>
                  <a:lnTo>
                    <a:pt x="208" y="214"/>
                  </a:lnTo>
                  <a:lnTo>
                    <a:pt x="206" y="212"/>
                  </a:lnTo>
                  <a:lnTo>
                    <a:pt x="203" y="214"/>
                  </a:lnTo>
                  <a:lnTo>
                    <a:pt x="201" y="216"/>
                  </a:lnTo>
                  <a:lnTo>
                    <a:pt x="201" y="218"/>
                  </a:lnTo>
                  <a:lnTo>
                    <a:pt x="199" y="218"/>
                  </a:lnTo>
                  <a:lnTo>
                    <a:pt x="197" y="218"/>
                  </a:lnTo>
                  <a:lnTo>
                    <a:pt x="197" y="216"/>
                  </a:lnTo>
                  <a:lnTo>
                    <a:pt x="197" y="214"/>
                  </a:lnTo>
                  <a:lnTo>
                    <a:pt x="199" y="210"/>
                  </a:lnTo>
                  <a:lnTo>
                    <a:pt x="201" y="208"/>
                  </a:lnTo>
                  <a:lnTo>
                    <a:pt x="201" y="206"/>
                  </a:lnTo>
                  <a:lnTo>
                    <a:pt x="201" y="206"/>
                  </a:lnTo>
                  <a:lnTo>
                    <a:pt x="199" y="202"/>
                  </a:lnTo>
                  <a:lnTo>
                    <a:pt x="199" y="202"/>
                  </a:lnTo>
                  <a:lnTo>
                    <a:pt x="199" y="202"/>
                  </a:lnTo>
                  <a:lnTo>
                    <a:pt x="199" y="199"/>
                  </a:lnTo>
                  <a:lnTo>
                    <a:pt x="199" y="199"/>
                  </a:lnTo>
                  <a:lnTo>
                    <a:pt x="199" y="197"/>
                  </a:lnTo>
                  <a:lnTo>
                    <a:pt x="199" y="197"/>
                  </a:lnTo>
                  <a:lnTo>
                    <a:pt x="201" y="195"/>
                  </a:lnTo>
                  <a:lnTo>
                    <a:pt x="203" y="193"/>
                  </a:lnTo>
                  <a:lnTo>
                    <a:pt x="203" y="191"/>
                  </a:lnTo>
                  <a:lnTo>
                    <a:pt x="203" y="187"/>
                  </a:lnTo>
                  <a:lnTo>
                    <a:pt x="203" y="187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206" y="181"/>
                  </a:lnTo>
                  <a:lnTo>
                    <a:pt x="206" y="181"/>
                  </a:lnTo>
                  <a:lnTo>
                    <a:pt x="206" y="176"/>
                  </a:lnTo>
                  <a:lnTo>
                    <a:pt x="208" y="176"/>
                  </a:lnTo>
                  <a:lnTo>
                    <a:pt x="208" y="176"/>
                  </a:lnTo>
                  <a:lnTo>
                    <a:pt x="208" y="176"/>
                  </a:lnTo>
                  <a:lnTo>
                    <a:pt x="210" y="176"/>
                  </a:lnTo>
                  <a:lnTo>
                    <a:pt x="210" y="176"/>
                  </a:lnTo>
                  <a:lnTo>
                    <a:pt x="212" y="178"/>
                  </a:lnTo>
                  <a:lnTo>
                    <a:pt x="214" y="172"/>
                  </a:lnTo>
                  <a:lnTo>
                    <a:pt x="216" y="174"/>
                  </a:lnTo>
                  <a:close/>
                </a:path>
              </a:pathLst>
            </a:custGeom>
            <a:solidFill>
              <a:schemeClr val="accent4"/>
            </a:solidFill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99" name="Freeform 106">
              <a:extLst>
                <a:ext uri="{FF2B5EF4-FFF2-40B4-BE49-F238E27FC236}">
                  <a16:creationId xmlns:a16="http://schemas.microsoft.com/office/drawing/2014/main" id="{9A40BECB-FE1D-4638-94BD-FE064759A5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54762" y="446896"/>
              <a:ext cx="453629" cy="592931"/>
            </a:xfrm>
            <a:custGeom>
              <a:avLst/>
              <a:gdLst>
                <a:gd name="T0" fmla="*/ 201 w 381"/>
                <a:gd name="T1" fmla="*/ 393 h 498"/>
                <a:gd name="T2" fmla="*/ 207 w 381"/>
                <a:gd name="T3" fmla="*/ 378 h 498"/>
                <a:gd name="T4" fmla="*/ 195 w 381"/>
                <a:gd name="T5" fmla="*/ 374 h 498"/>
                <a:gd name="T6" fmla="*/ 182 w 381"/>
                <a:gd name="T7" fmla="*/ 365 h 498"/>
                <a:gd name="T8" fmla="*/ 176 w 381"/>
                <a:gd name="T9" fmla="*/ 365 h 498"/>
                <a:gd name="T10" fmla="*/ 163 w 381"/>
                <a:gd name="T11" fmla="*/ 382 h 498"/>
                <a:gd name="T12" fmla="*/ 149 w 381"/>
                <a:gd name="T13" fmla="*/ 393 h 498"/>
                <a:gd name="T14" fmla="*/ 136 w 381"/>
                <a:gd name="T15" fmla="*/ 403 h 498"/>
                <a:gd name="T16" fmla="*/ 138 w 381"/>
                <a:gd name="T17" fmla="*/ 411 h 498"/>
                <a:gd name="T18" fmla="*/ 132 w 381"/>
                <a:gd name="T19" fmla="*/ 411 h 498"/>
                <a:gd name="T20" fmla="*/ 113 w 381"/>
                <a:gd name="T21" fmla="*/ 426 h 498"/>
                <a:gd name="T22" fmla="*/ 84 w 381"/>
                <a:gd name="T23" fmla="*/ 441 h 498"/>
                <a:gd name="T24" fmla="*/ 75 w 381"/>
                <a:gd name="T25" fmla="*/ 445 h 498"/>
                <a:gd name="T26" fmla="*/ 44 w 381"/>
                <a:gd name="T27" fmla="*/ 443 h 498"/>
                <a:gd name="T28" fmla="*/ 27 w 381"/>
                <a:gd name="T29" fmla="*/ 437 h 498"/>
                <a:gd name="T30" fmla="*/ 17 w 381"/>
                <a:gd name="T31" fmla="*/ 437 h 498"/>
                <a:gd name="T32" fmla="*/ 6 w 381"/>
                <a:gd name="T33" fmla="*/ 432 h 498"/>
                <a:gd name="T34" fmla="*/ 0 w 381"/>
                <a:gd name="T35" fmla="*/ 437 h 498"/>
                <a:gd name="T36" fmla="*/ 10 w 381"/>
                <a:gd name="T37" fmla="*/ 449 h 498"/>
                <a:gd name="T38" fmla="*/ 35 w 381"/>
                <a:gd name="T39" fmla="*/ 470 h 498"/>
                <a:gd name="T40" fmla="*/ 33 w 381"/>
                <a:gd name="T41" fmla="*/ 493 h 498"/>
                <a:gd name="T42" fmla="*/ 54 w 381"/>
                <a:gd name="T43" fmla="*/ 496 h 498"/>
                <a:gd name="T44" fmla="*/ 67 w 381"/>
                <a:gd name="T45" fmla="*/ 493 h 498"/>
                <a:gd name="T46" fmla="*/ 88 w 381"/>
                <a:gd name="T47" fmla="*/ 489 h 498"/>
                <a:gd name="T48" fmla="*/ 117 w 381"/>
                <a:gd name="T49" fmla="*/ 483 h 498"/>
                <a:gd name="T50" fmla="*/ 132 w 381"/>
                <a:gd name="T51" fmla="*/ 477 h 498"/>
                <a:gd name="T52" fmla="*/ 140 w 381"/>
                <a:gd name="T53" fmla="*/ 468 h 498"/>
                <a:gd name="T54" fmla="*/ 142 w 381"/>
                <a:gd name="T55" fmla="*/ 458 h 498"/>
                <a:gd name="T56" fmla="*/ 151 w 381"/>
                <a:gd name="T57" fmla="*/ 445 h 498"/>
                <a:gd name="T58" fmla="*/ 165 w 381"/>
                <a:gd name="T59" fmla="*/ 435 h 498"/>
                <a:gd name="T60" fmla="*/ 182 w 381"/>
                <a:gd name="T61" fmla="*/ 414 h 498"/>
                <a:gd name="T62" fmla="*/ 213 w 381"/>
                <a:gd name="T63" fmla="*/ 323 h 498"/>
                <a:gd name="T64" fmla="*/ 211 w 381"/>
                <a:gd name="T65" fmla="*/ 325 h 498"/>
                <a:gd name="T66" fmla="*/ 211 w 381"/>
                <a:gd name="T67" fmla="*/ 330 h 498"/>
                <a:gd name="T68" fmla="*/ 216 w 381"/>
                <a:gd name="T69" fmla="*/ 325 h 498"/>
                <a:gd name="T70" fmla="*/ 213 w 381"/>
                <a:gd name="T71" fmla="*/ 300 h 498"/>
                <a:gd name="T72" fmla="*/ 220 w 381"/>
                <a:gd name="T73" fmla="*/ 300 h 498"/>
                <a:gd name="T74" fmla="*/ 195 w 381"/>
                <a:gd name="T75" fmla="*/ 357 h 498"/>
                <a:gd name="T76" fmla="*/ 190 w 381"/>
                <a:gd name="T77" fmla="*/ 353 h 498"/>
                <a:gd name="T78" fmla="*/ 216 w 381"/>
                <a:gd name="T79" fmla="*/ 277 h 498"/>
                <a:gd name="T80" fmla="*/ 218 w 381"/>
                <a:gd name="T81" fmla="*/ 269 h 498"/>
                <a:gd name="T82" fmla="*/ 218 w 381"/>
                <a:gd name="T83" fmla="*/ 260 h 498"/>
                <a:gd name="T84" fmla="*/ 155 w 381"/>
                <a:gd name="T85" fmla="*/ 363 h 498"/>
                <a:gd name="T86" fmla="*/ 157 w 381"/>
                <a:gd name="T87" fmla="*/ 359 h 498"/>
                <a:gd name="T88" fmla="*/ 350 w 381"/>
                <a:gd name="T89" fmla="*/ 164 h 498"/>
                <a:gd name="T90" fmla="*/ 352 w 381"/>
                <a:gd name="T91" fmla="*/ 168 h 498"/>
                <a:gd name="T92" fmla="*/ 356 w 381"/>
                <a:gd name="T93" fmla="*/ 103 h 498"/>
                <a:gd name="T94" fmla="*/ 352 w 381"/>
                <a:gd name="T95" fmla="*/ 96 h 498"/>
                <a:gd name="T96" fmla="*/ 343 w 381"/>
                <a:gd name="T97" fmla="*/ 101 h 498"/>
                <a:gd name="T98" fmla="*/ 339 w 381"/>
                <a:gd name="T99" fmla="*/ 115 h 498"/>
                <a:gd name="T100" fmla="*/ 343 w 381"/>
                <a:gd name="T101" fmla="*/ 130 h 498"/>
                <a:gd name="T102" fmla="*/ 348 w 381"/>
                <a:gd name="T103" fmla="*/ 147 h 498"/>
                <a:gd name="T104" fmla="*/ 381 w 381"/>
                <a:gd name="T105" fmla="*/ 75 h 498"/>
                <a:gd name="T106" fmla="*/ 241 w 381"/>
                <a:gd name="T107" fmla="*/ 197 h 498"/>
                <a:gd name="T108" fmla="*/ 234 w 381"/>
                <a:gd name="T109" fmla="*/ 189 h 498"/>
                <a:gd name="T110" fmla="*/ 232 w 381"/>
                <a:gd name="T111" fmla="*/ 182 h 498"/>
                <a:gd name="T112" fmla="*/ 220 w 381"/>
                <a:gd name="T113" fmla="*/ 180 h 498"/>
                <a:gd name="T114" fmla="*/ 226 w 381"/>
                <a:gd name="T115" fmla="*/ 197 h 498"/>
                <a:gd name="T116" fmla="*/ 237 w 381"/>
                <a:gd name="T117" fmla="*/ 203 h 498"/>
                <a:gd name="T118" fmla="*/ 335 w 381"/>
                <a:gd name="T119" fmla="*/ 149 h 498"/>
                <a:gd name="T120" fmla="*/ 335 w 381"/>
                <a:gd name="T121" fmla="*/ 157 h 498"/>
                <a:gd name="T122" fmla="*/ 339 w 381"/>
                <a:gd name="T123" fmla="*/ 153 h 4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81" h="498">
                  <a:moveTo>
                    <a:pt x="203" y="388"/>
                  </a:moveTo>
                  <a:lnTo>
                    <a:pt x="199" y="388"/>
                  </a:lnTo>
                  <a:lnTo>
                    <a:pt x="197" y="390"/>
                  </a:lnTo>
                  <a:lnTo>
                    <a:pt x="195" y="390"/>
                  </a:lnTo>
                  <a:lnTo>
                    <a:pt x="195" y="393"/>
                  </a:lnTo>
                  <a:lnTo>
                    <a:pt x="197" y="393"/>
                  </a:lnTo>
                  <a:lnTo>
                    <a:pt x="199" y="393"/>
                  </a:lnTo>
                  <a:lnTo>
                    <a:pt x="201" y="393"/>
                  </a:lnTo>
                  <a:lnTo>
                    <a:pt x="203" y="390"/>
                  </a:lnTo>
                  <a:lnTo>
                    <a:pt x="205" y="388"/>
                  </a:lnTo>
                  <a:lnTo>
                    <a:pt x="205" y="386"/>
                  </a:lnTo>
                  <a:lnTo>
                    <a:pt x="205" y="386"/>
                  </a:lnTo>
                  <a:lnTo>
                    <a:pt x="207" y="384"/>
                  </a:lnTo>
                  <a:lnTo>
                    <a:pt x="207" y="382"/>
                  </a:lnTo>
                  <a:lnTo>
                    <a:pt x="207" y="380"/>
                  </a:lnTo>
                  <a:lnTo>
                    <a:pt x="207" y="378"/>
                  </a:lnTo>
                  <a:lnTo>
                    <a:pt x="207" y="378"/>
                  </a:lnTo>
                  <a:lnTo>
                    <a:pt x="203" y="388"/>
                  </a:lnTo>
                  <a:close/>
                  <a:moveTo>
                    <a:pt x="199" y="386"/>
                  </a:moveTo>
                  <a:lnTo>
                    <a:pt x="203" y="384"/>
                  </a:lnTo>
                  <a:lnTo>
                    <a:pt x="201" y="380"/>
                  </a:lnTo>
                  <a:lnTo>
                    <a:pt x="199" y="378"/>
                  </a:lnTo>
                  <a:lnTo>
                    <a:pt x="197" y="378"/>
                  </a:lnTo>
                  <a:lnTo>
                    <a:pt x="195" y="374"/>
                  </a:lnTo>
                  <a:lnTo>
                    <a:pt x="195" y="372"/>
                  </a:lnTo>
                  <a:lnTo>
                    <a:pt x="195" y="367"/>
                  </a:lnTo>
                  <a:lnTo>
                    <a:pt x="195" y="365"/>
                  </a:lnTo>
                  <a:lnTo>
                    <a:pt x="193" y="365"/>
                  </a:lnTo>
                  <a:lnTo>
                    <a:pt x="186" y="365"/>
                  </a:lnTo>
                  <a:lnTo>
                    <a:pt x="184" y="365"/>
                  </a:lnTo>
                  <a:lnTo>
                    <a:pt x="182" y="365"/>
                  </a:lnTo>
                  <a:lnTo>
                    <a:pt x="182" y="365"/>
                  </a:lnTo>
                  <a:lnTo>
                    <a:pt x="182" y="361"/>
                  </a:lnTo>
                  <a:lnTo>
                    <a:pt x="180" y="359"/>
                  </a:lnTo>
                  <a:lnTo>
                    <a:pt x="180" y="359"/>
                  </a:lnTo>
                  <a:lnTo>
                    <a:pt x="178" y="361"/>
                  </a:lnTo>
                  <a:lnTo>
                    <a:pt x="176" y="361"/>
                  </a:lnTo>
                  <a:lnTo>
                    <a:pt x="176" y="363"/>
                  </a:lnTo>
                  <a:lnTo>
                    <a:pt x="176" y="365"/>
                  </a:lnTo>
                  <a:lnTo>
                    <a:pt x="176" y="365"/>
                  </a:lnTo>
                  <a:lnTo>
                    <a:pt x="174" y="365"/>
                  </a:lnTo>
                  <a:lnTo>
                    <a:pt x="174" y="365"/>
                  </a:lnTo>
                  <a:lnTo>
                    <a:pt x="172" y="367"/>
                  </a:lnTo>
                  <a:lnTo>
                    <a:pt x="163" y="374"/>
                  </a:lnTo>
                  <a:lnTo>
                    <a:pt x="161" y="376"/>
                  </a:lnTo>
                  <a:lnTo>
                    <a:pt x="161" y="378"/>
                  </a:lnTo>
                  <a:lnTo>
                    <a:pt x="163" y="380"/>
                  </a:lnTo>
                  <a:lnTo>
                    <a:pt x="163" y="382"/>
                  </a:lnTo>
                  <a:lnTo>
                    <a:pt x="165" y="384"/>
                  </a:lnTo>
                  <a:lnTo>
                    <a:pt x="163" y="386"/>
                  </a:lnTo>
                  <a:lnTo>
                    <a:pt x="161" y="386"/>
                  </a:lnTo>
                  <a:lnTo>
                    <a:pt x="157" y="386"/>
                  </a:lnTo>
                  <a:lnTo>
                    <a:pt x="155" y="388"/>
                  </a:lnTo>
                  <a:lnTo>
                    <a:pt x="153" y="390"/>
                  </a:lnTo>
                  <a:lnTo>
                    <a:pt x="153" y="390"/>
                  </a:lnTo>
                  <a:lnTo>
                    <a:pt x="149" y="393"/>
                  </a:lnTo>
                  <a:lnTo>
                    <a:pt x="142" y="390"/>
                  </a:lnTo>
                  <a:lnTo>
                    <a:pt x="142" y="390"/>
                  </a:lnTo>
                  <a:lnTo>
                    <a:pt x="140" y="393"/>
                  </a:lnTo>
                  <a:lnTo>
                    <a:pt x="136" y="397"/>
                  </a:lnTo>
                  <a:lnTo>
                    <a:pt x="136" y="397"/>
                  </a:lnTo>
                  <a:lnTo>
                    <a:pt x="134" y="401"/>
                  </a:lnTo>
                  <a:lnTo>
                    <a:pt x="134" y="403"/>
                  </a:lnTo>
                  <a:lnTo>
                    <a:pt x="136" y="403"/>
                  </a:lnTo>
                  <a:lnTo>
                    <a:pt x="140" y="403"/>
                  </a:lnTo>
                  <a:lnTo>
                    <a:pt x="142" y="403"/>
                  </a:lnTo>
                  <a:lnTo>
                    <a:pt x="142" y="405"/>
                  </a:lnTo>
                  <a:lnTo>
                    <a:pt x="142" y="407"/>
                  </a:lnTo>
                  <a:lnTo>
                    <a:pt x="142" y="409"/>
                  </a:lnTo>
                  <a:lnTo>
                    <a:pt x="140" y="411"/>
                  </a:lnTo>
                  <a:lnTo>
                    <a:pt x="138" y="411"/>
                  </a:lnTo>
                  <a:lnTo>
                    <a:pt x="138" y="411"/>
                  </a:lnTo>
                  <a:lnTo>
                    <a:pt x="138" y="411"/>
                  </a:lnTo>
                  <a:lnTo>
                    <a:pt x="136" y="409"/>
                  </a:lnTo>
                  <a:lnTo>
                    <a:pt x="136" y="409"/>
                  </a:lnTo>
                  <a:lnTo>
                    <a:pt x="134" y="409"/>
                  </a:lnTo>
                  <a:lnTo>
                    <a:pt x="134" y="409"/>
                  </a:lnTo>
                  <a:lnTo>
                    <a:pt x="134" y="411"/>
                  </a:lnTo>
                  <a:lnTo>
                    <a:pt x="132" y="411"/>
                  </a:lnTo>
                  <a:lnTo>
                    <a:pt x="132" y="411"/>
                  </a:lnTo>
                  <a:lnTo>
                    <a:pt x="125" y="411"/>
                  </a:lnTo>
                  <a:lnTo>
                    <a:pt x="123" y="411"/>
                  </a:lnTo>
                  <a:lnTo>
                    <a:pt x="121" y="411"/>
                  </a:lnTo>
                  <a:lnTo>
                    <a:pt x="119" y="414"/>
                  </a:lnTo>
                  <a:lnTo>
                    <a:pt x="119" y="414"/>
                  </a:lnTo>
                  <a:lnTo>
                    <a:pt x="117" y="416"/>
                  </a:lnTo>
                  <a:lnTo>
                    <a:pt x="115" y="422"/>
                  </a:lnTo>
                  <a:lnTo>
                    <a:pt x="113" y="426"/>
                  </a:lnTo>
                  <a:lnTo>
                    <a:pt x="111" y="428"/>
                  </a:lnTo>
                  <a:lnTo>
                    <a:pt x="105" y="430"/>
                  </a:lnTo>
                  <a:lnTo>
                    <a:pt x="102" y="430"/>
                  </a:lnTo>
                  <a:lnTo>
                    <a:pt x="100" y="435"/>
                  </a:lnTo>
                  <a:lnTo>
                    <a:pt x="98" y="435"/>
                  </a:lnTo>
                  <a:lnTo>
                    <a:pt x="96" y="435"/>
                  </a:lnTo>
                  <a:lnTo>
                    <a:pt x="86" y="439"/>
                  </a:lnTo>
                  <a:lnTo>
                    <a:pt x="84" y="441"/>
                  </a:lnTo>
                  <a:lnTo>
                    <a:pt x="79" y="443"/>
                  </a:lnTo>
                  <a:lnTo>
                    <a:pt x="77" y="443"/>
                  </a:lnTo>
                  <a:lnTo>
                    <a:pt x="79" y="443"/>
                  </a:lnTo>
                  <a:lnTo>
                    <a:pt x="79" y="443"/>
                  </a:lnTo>
                  <a:lnTo>
                    <a:pt x="79" y="445"/>
                  </a:lnTo>
                  <a:lnTo>
                    <a:pt x="77" y="445"/>
                  </a:lnTo>
                  <a:lnTo>
                    <a:pt x="77" y="445"/>
                  </a:lnTo>
                  <a:lnTo>
                    <a:pt x="75" y="445"/>
                  </a:lnTo>
                  <a:lnTo>
                    <a:pt x="75" y="445"/>
                  </a:lnTo>
                  <a:lnTo>
                    <a:pt x="69" y="445"/>
                  </a:lnTo>
                  <a:lnTo>
                    <a:pt x="54" y="443"/>
                  </a:lnTo>
                  <a:lnTo>
                    <a:pt x="54" y="443"/>
                  </a:lnTo>
                  <a:lnTo>
                    <a:pt x="50" y="441"/>
                  </a:lnTo>
                  <a:lnTo>
                    <a:pt x="48" y="441"/>
                  </a:lnTo>
                  <a:lnTo>
                    <a:pt x="46" y="441"/>
                  </a:lnTo>
                  <a:lnTo>
                    <a:pt x="44" y="443"/>
                  </a:lnTo>
                  <a:lnTo>
                    <a:pt x="42" y="441"/>
                  </a:lnTo>
                  <a:lnTo>
                    <a:pt x="40" y="441"/>
                  </a:lnTo>
                  <a:lnTo>
                    <a:pt x="31" y="439"/>
                  </a:lnTo>
                  <a:lnTo>
                    <a:pt x="29" y="437"/>
                  </a:lnTo>
                  <a:lnTo>
                    <a:pt x="27" y="437"/>
                  </a:lnTo>
                  <a:lnTo>
                    <a:pt x="27" y="437"/>
                  </a:lnTo>
                  <a:lnTo>
                    <a:pt x="27" y="437"/>
                  </a:lnTo>
                  <a:lnTo>
                    <a:pt x="27" y="437"/>
                  </a:lnTo>
                  <a:lnTo>
                    <a:pt x="25" y="437"/>
                  </a:lnTo>
                  <a:lnTo>
                    <a:pt x="23" y="437"/>
                  </a:lnTo>
                  <a:lnTo>
                    <a:pt x="23" y="437"/>
                  </a:lnTo>
                  <a:lnTo>
                    <a:pt x="23" y="437"/>
                  </a:lnTo>
                  <a:lnTo>
                    <a:pt x="21" y="437"/>
                  </a:lnTo>
                  <a:lnTo>
                    <a:pt x="19" y="439"/>
                  </a:lnTo>
                  <a:lnTo>
                    <a:pt x="17" y="437"/>
                  </a:lnTo>
                  <a:lnTo>
                    <a:pt x="17" y="437"/>
                  </a:lnTo>
                  <a:lnTo>
                    <a:pt x="17" y="437"/>
                  </a:lnTo>
                  <a:lnTo>
                    <a:pt x="17" y="435"/>
                  </a:lnTo>
                  <a:lnTo>
                    <a:pt x="17" y="435"/>
                  </a:lnTo>
                  <a:lnTo>
                    <a:pt x="14" y="432"/>
                  </a:lnTo>
                  <a:lnTo>
                    <a:pt x="10" y="435"/>
                  </a:lnTo>
                  <a:lnTo>
                    <a:pt x="10" y="432"/>
                  </a:lnTo>
                  <a:lnTo>
                    <a:pt x="8" y="432"/>
                  </a:lnTo>
                  <a:lnTo>
                    <a:pt x="6" y="432"/>
                  </a:lnTo>
                  <a:lnTo>
                    <a:pt x="8" y="435"/>
                  </a:lnTo>
                  <a:lnTo>
                    <a:pt x="8" y="437"/>
                  </a:lnTo>
                  <a:lnTo>
                    <a:pt x="6" y="437"/>
                  </a:lnTo>
                  <a:lnTo>
                    <a:pt x="2" y="435"/>
                  </a:lnTo>
                  <a:lnTo>
                    <a:pt x="0" y="437"/>
                  </a:lnTo>
                  <a:lnTo>
                    <a:pt x="0" y="437"/>
                  </a:lnTo>
                  <a:lnTo>
                    <a:pt x="0" y="437"/>
                  </a:lnTo>
                  <a:lnTo>
                    <a:pt x="0" y="437"/>
                  </a:lnTo>
                  <a:lnTo>
                    <a:pt x="2" y="441"/>
                  </a:lnTo>
                  <a:lnTo>
                    <a:pt x="4" y="443"/>
                  </a:lnTo>
                  <a:lnTo>
                    <a:pt x="4" y="443"/>
                  </a:lnTo>
                  <a:lnTo>
                    <a:pt x="8" y="445"/>
                  </a:lnTo>
                  <a:lnTo>
                    <a:pt x="10" y="445"/>
                  </a:lnTo>
                  <a:lnTo>
                    <a:pt x="10" y="447"/>
                  </a:lnTo>
                  <a:lnTo>
                    <a:pt x="10" y="447"/>
                  </a:lnTo>
                  <a:lnTo>
                    <a:pt x="10" y="449"/>
                  </a:lnTo>
                  <a:lnTo>
                    <a:pt x="12" y="456"/>
                  </a:lnTo>
                  <a:lnTo>
                    <a:pt x="14" y="456"/>
                  </a:lnTo>
                  <a:lnTo>
                    <a:pt x="14" y="456"/>
                  </a:lnTo>
                  <a:lnTo>
                    <a:pt x="19" y="458"/>
                  </a:lnTo>
                  <a:lnTo>
                    <a:pt x="21" y="462"/>
                  </a:lnTo>
                  <a:lnTo>
                    <a:pt x="31" y="466"/>
                  </a:lnTo>
                  <a:lnTo>
                    <a:pt x="33" y="468"/>
                  </a:lnTo>
                  <a:lnTo>
                    <a:pt x="35" y="470"/>
                  </a:lnTo>
                  <a:lnTo>
                    <a:pt x="38" y="477"/>
                  </a:lnTo>
                  <a:lnTo>
                    <a:pt x="38" y="481"/>
                  </a:lnTo>
                  <a:lnTo>
                    <a:pt x="38" y="483"/>
                  </a:lnTo>
                  <a:lnTo>
                    <a:pt x="35" y="487"/>
                  </a:lnTo>
                  <a:lnTo>
                    <a:pt x="33" y="491"/>
                  </a:lnTo>
                  <a:lnTo>
                    <a:pt x="33" y="493"/>
                  </a:lnTo>
                  <a:lnTo>
                    <a:pt x="33" y="493"/>
                  </a:lnTo>
                  <a:lnTo>
                    <a:pt x="33" y="493"/>
                  </a:lnTo>
                  <a:lnTo>
                    <a:pt x="44" y="496"/>
                  </a:lnTo>
                  <a:lnTo>
                    <a:pt x="46" y="496"/>
                  </a:lnTo>
                  <a:lnTo>
                    <a:pt x="48" y="498"/>
                  </a:lnTo>
                  <a:lnTo>
                    <a:pt x="48" y="498"/>
                  </a:lnTo>
                  <a:lnTo>
                    <a:pt x="50" y="498"/>
                  </a:lnTo>
                  <a:lnTo>
                    <a:pt x="50" y="498"/>
                  </a:lnTo>
                  <a:lnTo>
                    <a:pt x="52" y="496"/>
                  </a:lnTo>
                  <a:lnTo>
                    <a:pt x="54" y="496"/>
                  </a:lnTo>
                  <a:lnTo>
                    <a:pt x="58" y="496"/>
                  </a:lnTo>
                  <a:lnTo>
                    <a:pt x="61" y="493"/>
                  </a:lnTo>
                  <a:lnTo>
                    <a:pt x="61" y="496"/>
                  </a:lnTo>
                  <a:lnTo>
                    <a:pt x="63" y="496"/>
                  </a:lnTo>
                  <a:lnTo>
                    <a:pt x="63" y="496"/>
                  </a:lnTo>
                  <a:lnTo>
                    <a:pt x="65" y="496"/>
                  </a:lnTo>
                  <a:lnTo>
                    <a:pt x="67" y="493"/>
                  </a:lnTo>
                  <a:lnTo>
                    <a:pt x="67" y="493"/>
                  </a:lnTo>
                  <a:lnTo>
                    <a:pt x="71" y="493"/>
                  </a:lnTo>
                  <a:lnTo>
                    <a:pt x="71" y="493"/>
                  </a:lnTo>
                  <a:lnTo>
                    <a:pt x="75" y="491"/>
                  </a:lnTo>
                  <a:lnTo>
                    <a:pt x="77" y="491"/>
                  </a:lnTo>
                  <a:lnTo>
                    <a:pt x="84" y="491"/>
                  </a:lnTo>
                  <a:lnTo>
                    <a:pt x="86" y="491"/>
                  </a:lnTo>
                  <a:lnTo>
                    <a:pt x="86" y="489"/>
                  </a:lnTo>
                  <a:lnTo>
                    <a:pt x="88" y="489"/>
                  </a:lnTo>
                  <a:lnTo>
                    <a:pt x="88" y="489"/>
                  </a:lnTo>
                  <a:lnTo>
                    <a:pt x="90" y="491"/>
                  </a:lnTo>
                  <a:lnTo>
                    <a:pt x="94" y="487"/>
                  </a:lnTo>
                  <a:lnTo>
                    <a:pt x="94" y="487"/>
                  </a:lnTo>
                  <a:lnTo>
                    <a:pt x="98" y="489"/>
                  </a:lnTo>
                  <a:lnTo>
                    <a:pt x="102" y="489"/>
                  </a:lnTo>
                  <a:lnTo>
                    <a:pt x="115" y="485"/>
                  </a:lnTo>
                  <a:lnTo>
                    <a:pt x="117" y="483"/>
                  </a:lnTo>
                  <a:lnTo>
                    <a:pt x="119" y="483"/>
                  </a:lnTo>
                  <a:lnTo>
                    <a:pt x="121" y="483"/>
                  </a:lnTo>
                  <a:lnTo>
                    <a:pt x="123" y="481"/>
                  </a:lnTo>
                  <a:lnTo>
                    <a:pt x="125" y="481"/>
                  </a:lnTo>
                  <a:lnTo>
                    <a:pt x="128" y="481"/>
                  </a:lnTo>
                  <a:lnTo>
                    <a:pt x="130" y="479"/>
                  </a:lnTo>
                  <a:lnTo>
                    <a:pt x="132" y="477"/>
                  </a:lnTo>
                  <a:lnTo>
                    <a:pt x="132" y="477"/>
                  </a:lnTo>
                  <a:lnTo>
                    <a:pt x="132" y="477"/>
                  </a:lnTo>
                  <a:lnTo>
                    <a:pt x="132" y="475"/>
                  </a:lnTo>
                  <a:lnTo>
                    <a:pt x="132" y="472"/>
                  </a:lnTo>
                  <a:lnTo>
                    <a:pt x="136" y="468"/>
                  </a:lnTo>
                  <a:lnTo>
                    <a:pt x="136" y="468"/>
                  </a:lnTo>
                  <a:lnTo>
                    <a:pt x="136" y="468"/>
                  </a:lnTo>
                  <a:lnTo>
                    <a:pt x="138" y="468"/>
                  </a:lnTo>
                  <a:lnTo>
                    <a:pt x="140" y="468"/>
                  </a:lnTo>
                  <a:lnTo>
                    <a:pt x="138" y="466"/>
                  </a:lnTo>
                  <a:lnTo>
                    <a:pt x="138" y="466"/>
                  </a:lnTo>
                  <a:lnTo>
                    <a:pt x="138" y="464"/>
                  </a:lnTo>
                  <a:lnTo>
                    <a:pt x="138" y="464"/>
                  </a:lnTo>
                  <a:lnTo>
                    <a:pt x="138" y="462"/>
                  </a:lnTo>
                  <a:lnTo>
                    <a:pt x="138" y="462"/>
                  </a:lnTo>
                  <a:lnTo>
                    <a:pt x="140" y="460"/>
                  </a:lnTo>
                  <a:lnTo>
                    <a:pt x="142" y="458"/>
                  </a:lnTo>
                  <a:lnTo>
                    <a:pt x="144" y="456"/>
                  </a:lnTo>
                  <a:lnTo>
                    <a:pt x="144" y="456"/>
                  </a:lnTo>
                  <a:lnTo>
                    <a:pt x="144" y="454"/>
                  </a:lnTo>
                  <a:lnTo>
                    <a:pt x="144" y="451"/>
                  </a:lnTo>
                  <a:lnTo>
                    <a:pt x="146" y="451"/>
                  </a:lnTo>
                  <a:lnTo>
                    <a:pt x="146" y="447"/>
                  </a:lnTo>
                  <a:lnTo>
                    <a:pt x="149" y="447"/>
                  </a:lnTo>
                  <a:lnTo>
                    <a:pt x="151" y="445"/>
                  </a:lnTo>
                  <a:lnTo>
                    <a:pt x="155" y="441"/>
                  </a:lnTo>
                  <a:lnTo>
                    <a:pt x="157" y="439"/>
                  </a:lnTo>
                  <a:lnTo>
                    <a:pt x="159" y="439"/>
                  </a:lnTo>
                  <a:lnTo>
                    <a:pt x="159" y="439"/>
                  </a:lnTo>
                  <a:lnTo>
                    <a:pt x="161" y="437"/>
                  </a:lnTo>
                  <a:lnTo>
                    <a:pt x="161" y="435"/>
                  </a:lnTo>
                  <a:lnTo>
                    <a:pt x="163" y="435"/>
                  </a:lnTo>
                  <a:lnTo>
                    <a:pt x="165" y="435"/>
                  </a:lnTo>
                  <a:lnTo>
                    <a:pt x="169" y="432"/>
                  </a:lnTo>
                  <a:lnTo>
                    <a:pt x="169" y="432"/>
                  </a:lnTo>
                  <a:lnTo>
                    <a:pt x="169" y="430"/>
                  </a:lnTo>
                  <a:lnTo>
                    <a:pt x="172" y="428"/>
                  </a:lnTo>
                  <a:lnTo>
                    <a:pt x="172" y="428"/>
                  </a:lnTo>
                  <a:lnTo>
                    <a:pt x="174" y="424"/>
                  </a:lnTo>
                  <a:lnTo>
                    <a:pt x="178" y="420"/>
                  </a:lnTo>
                  <a:lnTo>
                    <a:pt x="182" y="414"/>
                  </a:lnTo>
                  <a:lnTo>
                    <a:pt x="188" y="397"/>
                  </a:lnTo>
                  <a:lnTo>
                    <a:pt x="190" y="393"/>
                  </a:lnTo>
                  <a:lnTo>
                    <a:pt x="193" y="390"/>
                  </a:lnTo>
                  <a:lnTo>
                    <a:pt x="195" y="388"/>
                  </a:lnTo>
                  <a:lnTo>
                    <a:pt x="199" y="386"/>
                  </a:lnTo>
                  <a:close/>
                  <a:moveTo>
                    <a:pt x="216" y="325"/>
                  </a:moveTo>
                  <a:lnTo>
                    <a:pt x="216" y="325"/>
                  </a:lnTo>
                  <a:lnTo>
                    <a:pt x="213" y="323"/>
                  </a:lnTo>
                  <a:lnTo>
                    <a:pt x="213" y="323"/>
                  </a:lnTo>
                  <a:lnTo>
                    <a:pt x="213" y="323"/>
                  </a:lnTo>
                  <a:lnTo>
                    <a:pt x="213" y="323"/>
                  </a:lnTo>
                  <a:lnTo>
                    <a:pt x="213" y="323"/>
                  </a:lnTo>
                  <a:lnTo>
                    <a:pt x="211" y="323"/>
                  </a:lnTo>
                  <a:lnTo>
                    <a:pt x="211" y="323"/>
                  </a:lnTo>
                  <a:lnTo>
                    <a:pt x="211" y="325"/>
                  </a:lnTo>
                  <a:lnTo>
                    <a:pt x="211" y="325"/>
                  </a:lnTo>
                  <a:lnTo>
                    <a:pt x="211" y="325"/>
                  </a:lnTo>
                  <a:lnTo>
                    <a:pt x="211" y="325"/>
                  </a:lnTo>
                  <a:lnTo>
                    <a:pt x="211" y="325"/>
                  </a:lnTo>
                  <a:lnTo>
                    <a:pt x="211" y="325"/>
                  </a:lnTo>
                  <a:lnTo>
                    <a:pt x="209" y="327"/>
                  </a:lnTo>
                  <a:lnTo>
                    <a:pt x="209" y="327"/>
                  </a:lnTo>
                  <a:lnTo>
                    <a:pt x="211" y="330"/>
                  </a:lnTo>
                  <a:lnTo>
                    <a:pt x="211" y="330"/>
                  </a:lnTo>
                  <a:lnTo>
                    <a:pt x="211" y="327"/>
                  </a:lnTo>
                  <a:lnTo>
                    <a:pt x="213" y="327"/>
                  </a:lnTo>
                  <a:lnTo>
                    <a:pt x="213" y="327"/>
                  </a:lnTo>
                  <a:lnTo>
                    <a:pt x="213" y="327"/>
                  </a:lnTo>
                  <a:lnTo>
                    <a:pt x="216" y="325"/>
                  </a:lnTo>
                  <a:lnTo>
                    <a:pt x="216" y="325"/>
                  </a:lnTo>
                  <a:lnTo>
                    <a:pt x="216" y="325"/>
                  </a:lnTo>
                  <a:lnTo>
                    <a:pt x="216" y="325"/>
                  </a:lnTo>
                  <a:lnTo>
                    <a:pt x="218" y="325"/>
                  </a:lnTo>
                  <a:lnTo>
                    <a:pt x="218" y="323"/>
                  </a:lnTo>
                  <a:lnTo>
                    <a:pt x="218" y="323"/>
                  </a:lnTo>
                  <a:lnTo>
                    <a:pt x="216" y="325"/>
                  </a:lnTo>
                  <a:close/>
                  <a:moveTo>
                    <a:pt x="220" y="300"/>
                  </a:moveTo>
                  <a:lnTo>
                    <a:pt x="218" y="298"/>
                  </a:lnTo>
                  <a:lnTo>
                    <a:pt x="216" y="298"/>
                  </a:lnTo>
                  <a:lnTo>
                    <a:pt x="213" y="300"/>
                  </a:lnTo>
                  <a:lnTo>
                    <a:pt x="213" y="300"/>
                  </a:lnTo>
                  <a:lnTo>
                    <a:pt x="213" y="302"/>
                  </a:lnTo>
                  <a:lnTo>
                    <a:pt x="216" y="304"/>
                  </a:lnTo>
                  <a:lnTo>
                    <a:pt x="218" y="306"/>
                  </a:lnTo>
                  <a:lnTo>
                    <a:pt x="222" y="304"/>
                  </a:lnTo>
                  <a:lnTo>
                    <a:pt x="222" y="300"/>
                  </a:lnTo>
                  <a:lnTo>
                    <a:pt x="222" y="300"/>
                  </a:lnTo>
                  <a:lnTo>
                    <a:pt x="220" y="300"/>
                  </a:lnTo>
                  <a:close/>
                  <a:moveTo>
                    <a:pt x="190" y="357"/>
                  </a:moveTo>
                  <a:lnTo>
                    <a:pt x="190" y="359"/>
                  </a:lnTo>
                  <a:lnTo>
                    <a:pt x="190" y="359"/>
                  </a:lnTo>
                  <a:lnTo>
                    <a:pt x="193" y="359"/>
                  </a:lnTo>
                  <a:lnTo>
                    <a:pt x="193" y="359"/>
                  </a:lnTo>
                  <a:lnTo>
                    <a:pt x="193" y="359"/>
                  </a:lnTo>
                  <a:lnTo>
                    <a:pt x="193" y="359"/>
                  </a:lnTo>
                  <a:lnTo>
                    <a:pt x="195" y="357"/>
                  </a:lnTo>
                  <a:lnTo>
                    <a:pt x="195" y="355"/>
                  </a:lnTo>
                  <a:lnTo>
                    <a:pt x="195" y="355"/>
                  </a:lnTo>
                  <a:lnTo>
                    <a:pt x="195" y="355"/>
                  </a:lnTo>
                  <a:lnTo>
                    <a:pt x="193" y="353"/>
                  </a:lnTo>
                  <a:lnTo>
                    <a:pt x="193" y="353"/>
                  </a:lnTo>
                  <a:lnTo>
                    <a:pt x="190" y="351"/>
                  </a:lnTo>
                  <a:lnTo>
                    <a:pt x="190" y="353"/>
                  </a:lnTo>
                  <a:lnTo>
                    <a:pt x="190" y="353"/>
                  </a:lnTo>
                  <a:lnTo>
                    <a:pt x="190" y="353"/>
                  </a:lnTo>
                  <a:lnTo>
                    <a:pt x="190" y="355"/>
                  </a:lnTo>
                  <a:lnTo>
                    <a:pt x="190" y="357"/>
                  </a:lnTo>
                  <a:close/>
                  <a:moveTo>
                    <a:pt x="213" y="271"/>
                  </a:moveTo>
                  <a:lnTo>
                    <a:pt x="213" y="271"/>
                  </a:lnTo>
                  <a:lnTo>
                    <a:pt x="213" y="273"/>
                  </a:lnTo>
                  <a:lnTo>
                    <a:pt x="216" y="275"/>
                  </a:lnTo>
                  <a:lnTo>
                    <a:pt x="216" y="277"/>
                  </a:lnTo>
                  <a:lnTo>
                    <a:pt x="218" y="277"/>
                  </a:lnTo>
                  <a:lnTo>
                    <a:pt x="218" y="275"/>
                  </a:lnTo>
                  <a:lnTo>
                    <a:pt x="218" y="275"/>
                  </a:lnTo>
                  <a:lnTo>
                    <a:pt x="218" y="273"/>
                  </a:lnTo>
                  <a:lnTo>
                    <a:pt x="218" y="273"/>
                  </a:lnTo>
                  <a:lnTo>
                    <a:pt x="218" y="271"/>
                  </a:lnTo>
                  <a:lnTo>
                    <a:pt x="216" y="271"/>
                  </a:lnTo>
                  <a:lnTo>
                    <a:pt x="218" y="269"/>
                  </a:lnTo>
                  <a:lnTo>
                    <a:pt x="218" y="267"/>
                  </a:lnTo>
                  <a:lnTo>
                    <a:pt x="218" y="267"/>
                  </a:lnTo>
                  <a:lnTo>
                    <a:pt x="220" y="264"/>
                  </a:lnTo>
                  <a:lnTo>
                    <a:pt x="222" y="264"/>
                  </a:lnTo>
                  <a:lnTo>
                    <a:pt x="222" y="262"/>
                  </a:lnTo>
                  <a:lnTo>
                    <a:pt x="220" y="260"/>
                  </a:lnTo>
                  <a:lnTo>
                    <a:pt x="220" y="260"/>
                  </a:lnTo>
                  <a:lnTo>
                    <a:pt x="218" y="260"/>
                  </a:lnTo>
                  <a:lnTo>
                    <a:pt x="216" y="260"/>
                  </a:lnTo>
                  <a:lnTo>
                    <a:pt x="216" y="260"/>
                  </a:lnTo>
                  <a:lnTo>
                    <a:pt x="213" y="260"/>
                  </a:lnTo>
                  <a:lnTo>
                    <a:pt x="213" y="264"/>
                  </a:lnTo>
                  <a:lnTo>
                    <a:pt x="211" y="267"/>
                  </a:lnTo>
                  <a:lnTo>
                    <a:pt x="213" y="267"/>
                  </a:lnTo>
                  <a:lnTo>
                    <a:pt x="213" y="271"/>
                  </a:lnTo>
                  <a:close/>
                  <a:moveTo>
                    <a:pt x="155" y="363"/>
                  </a:moveTo>
                  <a:lnTo>
                    <a:pt x="155" y="365"/>
                  </a:lnTo>
                  <a:lnTo>
                    <a:pt x="157" y="365"/>
                  </a:lnTo>
                  <a:lnTo>
                    <a:pt x="157" y="365"/>
                  </a:lnTo>
                  <a:lnTo>
                    <a:pt x="157" y="363"/>
                  </a:lnTo>
                  <a:lnTo>
                    <a:pt x="157" y="363"/>
                  </a:lnTo>
                  <a:lnTo>
                    <a:pt x="157" y="361"/>
                  </a:lnTo>
                  <a:lnTo>
                    <a:pt x="157" y="361"/>
                  </a:lnTo>
                  <a:lnTo>
                    <a:pt x="157" y="359"/>
                  </a:lnTo>
                  <a:lnTo>
                    <a:pt x="155" y="359"/>
                  </a:lnTo>
                  <a:lnTo>
                    <a:pt x="155" y="361"/>
                  </a:lnTo>
                  <a:lnTo>
                    <a:pt x="155" y="361"/>
                  </a:lnTo>
                  <a:lnTo>
                    <a:pt x="153" y="361"/>
                  </a:lnTo>
                  <a:lnTo>
                    <a:pt x="153" y="363"/>
                  </a:lnTo>
                  <a:lnTo>
                    <a:pt x="155" y="363"/>
                  </a:lnTo>
                  <a:close/>
                  <a:moveTo>
                    <a:pt x="352" y="166"/>
                  </a:moveTo>
                  <a:lnTo>
                    <a:pt x="350" y="164"/>
                  </a:lnTo>
                  <a:lnTo>
                    <a:pt x="345" y="161"/>
                  </a:lnTo>
                  <a:lnTo>
                    <a:pt x="343" y="161"/>
                  </a:lnTo>
                  <a:lnTo>
                    <a:pt x="343" y="164"/>
                  </a:lnTo>
                  <a:lnTo>
                    <a:pt x="345" y="168"/>
                  </a:lnTo>
                  <a:lnTo>
                    <a:pt x="350" y="172"/>
                  </a:lnTo>
                  <a:lnTo>
                    <a:pt x="352" y="172"/>
                  </a:lnTo>
                  <a:lnTo>
                    <a:pt x="354" y="170"/>
                  </a:lnTo>
                  <a:lnTo>
                    <a:pt x="352" y="168"/>
                  </a:lnTo>
                  <a:lnTo>
                    <a:pt x="352" y="166"/>
                  </a:lnTo>
                  <a:close/>
                  <a:moveTo>
                    <a:pt x="356" y="115"/>
                  </a:moveTo>
                  <a:lnTo>
                    <a:pt x="354" y="113"/>
                  </a:lnTo>
                  <a:lnTo>
                    <a:pt x="354" y="111"/>
                  </a:lnTo>
                  <a:lnTo>
                    <a:pt x="354" y="109"/>
                  </a:lnTo>
                  <a:lnTo>
                    <a:pt x="356" y="107"/>
                  </a:lnTo>
                  <a:lnTo>
                    <a:pt x="356" y="105"/>
                  </a:lnTo>
                  <a:lnTo>
                    <a:pt x="356" y="103"/>
                  </a:lnTo>
                  <a:lnTo>
                    <a:pt x="356" y="103"/>
                  </a:lnTo>
                  <a:lnTo>
                    <a:pt x="356" y="101"/>
                  </a:lnTo>
                  <a:lnTo>
                    <a:pt x="354" y="101"/>
                  </a:lnTo>
                  <a:lnTo>
                    <a:pt x="354" y="101"/>
                  </a:lnTo>
                  <a:lnTo>
                    <a:pt x="352" y="101"/>
                  </a:lnTo>
                  <a:lnTo>
                    <a:pt x="352" y="98"/>
                  </a:lnTo>
                  <a:lnTo>
                    <a:pt x="352" y="98"/>
                  </a:lnTo>
                  <a:lnTo>
                    <a:pt x="352" y="96"/>
                  </a:lnTo>
                  <a:lnTo>
                    <a:pt x="350" y="96"/>
                  </a:lnTo>
                  <a:lnTo>
                    <a:pt x="348" y="96"/>
                  </a:lnTo>
                  <a:lnTo>
                    <a:pt x="345" y="96"/>
                  </a:lnTo>
                  <a:lnTo>
                    <a:pt x="343" y="96"/>
                  </a:lnTo>
                  <a:lnTo>
                    <a:pt x="341" y="96"/>
                  </a:lnTo>
                  <a:lnTo>
                    <a:pt x="341" y="98"/>
                  </a:lnTo>
                  <a:lnTo>
                    <a:pt x="343" y="101"/>
                  </a:lnTo>
                  <a:lnTo>
                    <a:pt x="343" y="101"/>
                  </a:lnTo>
                  <a:lnTo>
                    <a:pt x="343" y="103"/>
                  </a:lnTo>
                  <a:lnTo>
                    <a:pt x="343" y="103"/>
                  </a:lnTo>
                  <a:lnTo>
                    <a:pt x="339" y="107"/>
                  </a:lnTo>
                  <a:lnTo>
                    <a:pt x="339" y="109"/>
                  </a:lnTo>
                  <a:lnTo>
                    <a:pt x="339" y="113"/>
                  </a:lnTo>
                  <a:lnTo>
                    <a:pt x="339" y="113"/>
                  </a:lnTo>
                  <a:lnTo>
                    <a:pt x="339" y="115"/>
                  </a:lnTo>
                  <a:lnTo>
                    <a:pt x="339" y="115"/>
                  </a:lnTo>
                  <a:lnTo>
                    <a:pt x="341" y="117"/>
                  </a:lnTo>
                  <a:lnTo>
                    <a:pt x="339" y="119"/>
                  </a:lnTo>
                  <a:lnTo>
                    <a:pt x="339" y="122"/>
                  </a:lnTo>
                  <a:lnTo>
                    <a:pt x="343" y="124"/>
                  </a:lnTo>
                  <a:lnTo>
                    <a:pt x="345" y="124"/>
                  </a:lnTo>
                  <a:lnTo>
                    <a:pt x="348" y="124"/>
                  </a:lnTo>
                  <a:lnTo>
                    <a:pt x="348" y="126"/>
                  </a:lnTo>
                  <a:lnTo>
                    <a:pt x="343" y="130"/>
                  </a:lnTo>
                  <a:lnTo>
                    <a:pt x="341" y="138"/>
                  </a:lnTo>
                  <a:lnTo>
                    <a:pt x="337" y="140"/>
                  </a:lnTo>
                  <a:lnTo>
                    <a:pt x="337" y="143"/>
                  </a:lnTo>
                  <a:lnTo>
                    <a:pt x="335" y="145"/>
                  </a:lnTo>
                  <a:lnTo>
                    <a:pt x="337" y="147"/>
                  </a:lnTo>
                  <a:lnTo>
                    <a:pt x="339" y="147"/>
                  </a:lnTo>
                  <a:lnTo>
                    <a:pt x="343" y="149"/>
                  </a:lnTo>
                  <a:lnTo>
                    <a:pt x="348" y="147"/>
                  </a:lnTo>
                  <a:lnTo>
                    <a:pt x="350" y="145"/>
                  </a:lnTo>
                  <a:lnTo>
                    <a:pt x="350" y="138"/>
                  </a:lnTo>
                  <a:lnTo>
                    <a:pt x="350" y="132"/>
                  </a:lnTo>
                  <a:lnTo>
                    <a:pt x="354" y="128"/>
                  </a:lnTo>
                  <a:lnTo>
                    <a:pt x="360" y="122"/>
                  </a:lnTo>
                  <a:lnTo>
                    <a:pt x="358" y="119"/>
                  </a:lnTo>
                  <a:lnTo>
                    <a:pt x="356" y="115"/>
                  </a:lnTo>
                  <a:close/>
                  <a:moveTo>
                    <a:pt x="381" y="75"/>
                  </a:moveTo>
                  <a:lnTo>
                    <a:pt x="379" y="75"/>
                  </a:lnTo>
                  <a:lnTo>
                    <a:pt x="379" y="75"/>
                  </a:lnTo>
                  <a:lnTo>
                    <a:pt x="379" y="75"/>
                  </a:lnTo>
                  <a:lnTo>
                    <a:pt x="379" y="77"/>
                  </a:lnTo>
                  <a:lnTo>
                    <a:pt x="379" y="77"/>
                  </a:lnTo>
                  <a:lnTo>
                    <a:pt x="381" y="77"/>
                  </a:lnTo>
                  <a:lnTo>
                    <a:pt x="381" y="75"/>
                  </a:lnTo>
                  <a:close/>
                  <a:moveTo>
                    <a:pt x="241" y="197"/>
                  </a:moveTo>
                  <a:lnTo>
                    <a:pt x="241" y="197"/>
                  </a:lnTo>
                  <a:lnTo>
                    <a:pt x="239" y="195"/>
                  </a:lnTo>
                  <a:lnTo>
                    <a:pt x="239" y="193"/>
                  </a:lnTo>
                  <a:lnTo>
                    <a:pt x="239" y="193"/>
                  </a:lnTo>
                  <a:lnTo>
                    <a:pt x="239" y="193"/>
                  </a:lnTo>
                  <a:lnTo>
                    <a:pt x="237" y="193"/>
                  </a:lnTo>
                  <a:lnTo>
                    <a:pt x="237" y="193"/>
                  </a:lnTo>
                  <a:lnTo>
                    <a:pt x="234" y="189"/>
                  </a:lnTo>
                  <a:lnTo>
                    <a:pt x="234" y="189"/>
                  </a:lnTo>
                  <a:lnTo>
                    <a:pt x="232" y="187"/>
                  </a:lnTo>
                  <a:lnTo>
                    <a:pt x="232" y="187"/>
                  </a:lnTo>
                  <a:lnTo>
                    <a:pt x="232" y="187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2" y="182"/>
                  </a:lnTo>
                  <a:lnTo>
                    <a:pt x="228" y="176"/>
                  </a:lnTo>
                  <a:lnTo>
                    <a:pt x="226" y="174"/>
                  </a:lnTo>
                  <a:lnTo>
                    <a:pt x="224" y="172"/>
                  </a:lnTo>
                  <a:lnTo>
                    <a:pt x="220" y="172"/>
                  </a:lnTo>
                  <a:lnTo>
                    <a:pt x="218" y="174"/>
                  </a:lnTo>
                  <a:lnTo>
                    <a:pt x="218" y="176"/>
                  </a:lnTo>
                  <a:lnTo>
                    <a:pt x="218" y="178"/>
                  </a:lnTo>
                  <a:lnTo>
                    <a:pt x="220" y="180"/>
                  </a:lnTo>
                  <a:lnTo>
                    <a:pt x="220" y="182"/>
                  </a:lnTo>
                  <a:lnTo>
                    <a:pt x="226" y="185"/>
                  </a:lnTo>
                  <a:lnTo>
                    <a:pt x="228" y="187"/>
                  </a:lnTo>
                  <a:lnTo>
                    <a:pt x="228" y="187"/>
                  </a:lnTo>
                  <a:lnTo>
                    <a:pt x="228" y="191"/>
                  </a:lnTo>
                  <a:lnTo>
                    <a:pt x="228" y="191"/>
                  </a:lnTo>
                  <a:lnTo>
                    <a:pt x="226" y="191"/>
                  </a:lnTo>
                  <a:lnTo>
                    <a:pt x="226" y="197"/>
                  </a:lnTo>
                  <a:lnTo>
                    <a:pt x="226" y="197"/>
                  </a:lnTo>
                  <a:lnTo>
                    <a:pt x="228" y="199"/>
                  </a:lnTo>
                  <a:lnTo>
                    <a:pt x="232" y="199"/>
                  </a:lnTo>
                  <a:lnTo>
                    <a:pt x="234" y="201"/>
                  </a:lnTo>
                  <a:lnTo>
                    <a:pt x="234" y="201"/>
                  </a:lnTo>
                  <a:lnTo>
                    <a:pt x="234" y="203"/>
                  </a:lnTo>
                  <a:lnTo>
                    <a:pt x="234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41" y="201"/>
                  </a:lnTo>
                  <a:lnTo>
                    <a:pt x="241" y="201"/>
                  </a:lnTo>
                  <a:lnTo>
                    <a:pt x="241" y="199"/>
                  </a:lnTo>
                  <a:lnTo>
                    <a:pt x="241" y="199"/>
                  </a:lnTo>
                  <a:lnTo>
                    <a:pt x="241" y="197"/>
                  </a:lnTo>
                  <a:close/>
                  <a:moveTo>
                    <a:pt x="339" y="153"/>
                  </a:moveTo>
                  <a:lnTo>
                    <a:pt x="335" y="149"/>
                  </a:lnTo>
                  <a:lnTo>
                    <a:pt x="333" y="145"/>
                  </a:lnTo>
                  <a:lnTo>
                    <a:pt x="331" y="143"/>
                  </a:lnTo>
                  <a:lnTo>
                    <a:pt x="331" y="145"/>
                  </a:lnTo>
                  <a:lnTo>
                    <a:pt x="331" y="149"/>
                  </a:lnTo>
                  <a:lnTo>
                    <a:pt x="333" y="151"/>
                  </a:lnTo>
                  <a:lnTo>
                    <a:pt x="335" y="151"/>
                  </a:lnTo>
                  <a:lnTo>
                    <a:pt x="335" y="153"/>
                  </a:lnTo>
                  <a:lnTo>
                    <a:pt x="335" y="157"/>
                  </a:lnTo>
                  <a:lnTo>
                    <a:pt x="335" y="161"/>
                  </a:lnTo>
                  <a:lnTo>
                    <a:pt x="337" y="166"/>
                  </a:lnTo>
                  <a:lnTo>
                    <a:pt x="339" y="166"/>
                  </a:lnTo>
                  <a:lnTo>
                    <a:pt x="337" y="161"/>
                  </a:lnTo>
                  <a:lnTo>
                    <a:pt x="339" y="159"/>
                  </a:lnTo>
                  <a:lnTo>
                    <a:pt x="339" y="157"/>
                  </a:lnTo>
                  <a:lnTo>
                    <a:pt x="339" y="155"/>
                  </a:lnTo>
                  <a:lnTo>
                    <a:pt x="339" y="153"/>
                  </a:lnTo>
                  <a:close/>
                  <a:moveTo>
                    <a:pt x="329" y="0"/>
                  </a:moveTo>
                  <a:lnTo>
                    <a:pt x="329" y="2"/>
                  </a:lnTo>
                  <a:lnTo>
                    <a:pt x="329" y="2"/>
                  </a:lnTo>
                  <a:lnTo>
                    <a:pt x="329" y="0"/>
                  </a:lnTo>
                  <a:lnTo>
                    <a:pt x="329" y="0"/>
                  </a:lnTo>
                  <a:lnTo>
                    <a:pt x="329" y="0"/>
                  </a:lnTo>
                  <a:close/>
                </a:path>
              </a:pathLst>
            </a:custGeom>
            <a:solidFill>
              <a:schemeClr val="accent4"/>
            </a:solidFill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3" name="Freeform 113">
              <a:extLst>
                <a:ext uri="{FF2B5EF4-FFF2-40B4-BE49-F238E27FC236}">
                  <a16:creationId xmlns:a16="http://schemas.microsoft.com/office/drawing/2014/main" id="{E89D2C5C-75B0-4A5F-9184-0F1E3C1F6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34497" y="954102"/>
              <a:ext cx="265510" cy="83344"/>
            </a:xfrm>
            <a:custGeom>
              <a:avLst/>
              <a:gdLst>
                <a:gd name="T0" fmla="*/ 216 w 223"/>
                <a:gd name="T1" fmla="*/ 40 h 70"/>
                <a:gd name="T2" fmla="*/ 199 w 223"/>
                <a:gd name="T3" fmla="*/ 30 h 70"/>
                <a:gd name="T4" fmla="*/ 195 w 223"/>
                <a:gd name="T5" fmla="*/ 21 h 70"/>
                <a:gd name="T6" fmla="*/ 189 w 223"/>
                <a:gd name="T7" fmla="*/ 17 h 70"/>
                <a:gd name="T8" fmla="*/ 185 w 223"/>
                <a:gd name="T9" fmla="*/ 11 h 70"/>
                <a:gd name="T10" fmla="*/ 172 w 223"/>
                <a:gd name="T11" fmla="*/ 6 h 70"/>
                <a:gd name="T12" fmla="*/ 170 w 223"/>
                <a:gd name="T13" fmla="*/ 11 h 70"/>
                <a:gd name="T14" fmla="*/ 166 w 223"/>
                <a:gd name="T15" fmla="*/ 17 h 70"/>
                <a:gd name="T16" fmla="*/ 158 w 223"/>
                <a:gd name="T17" fmla="*/ 17 h 70"/>
                <a:gd name="T18" fmla="*/ 151 w 223"/>
                <a:gd name="T19" fmla="*/ 15 h 70"/>
                <a:gd name="T20" fmla="*/ 147 w 223"/>
                <a:gd name="T21" fmla="*/ 13 h 70"/>
                <a:gd name="T22" fmla="*/ 141 w 223"/>
                <a:gd name="T23" fmla="*/ 6 h 70"/>
                <a:gd name="T24" fmla="*/ 126 w 223"/>
                <a:gd name="T25" fmla="*/ 4 h 70"/>
                <a:gd name="T26" fmla="*/ 116 w 223"/>
                <a:gd name="T27" fmla="*/ 2 h 70"/>
                <a:gd name="T28" fmla="*/ 109 w 223"/>
                <a:gd name="T29" fmla="*/ 2 h 70"/>
                <a:gd name="T30" fmla="*/ 107 w 223"/>
                <a:gd name="T31" fmla="*/ 2 h 70"/>
                <a:gd name="T32" fmla="*/ 101 w 223"/>
                <a:gd name="T33" fmla="*/ 2 h 70"/>
                <a:gd name="T34" fmla="*/ 95 w 223"/>
                <a:gd name="T35" fmla="*/ 4 h 70"/>
                <a:gd name="T36" fmla="*/ 70 w 223"/>
                <a:gd name="T37" fmla="*/ 6 h 70"/>
                <a:gd name="T38" fmla="*/ 55 w 223"/>
                <a:gd name="T39" fmla="*/ 11 h 70"/>
                <a:gd name="T40" fmla="*/ 38 w 223"/>
                <a:gd name="T41" fmla="*/ 17 h 70"/>
                <a:gd name="T42" fmla="*/ 32 w 223"/>
                <a:gd name="T43" fmla="*/ 17 h 70"/>
                <a:gd name="T44" fmla="*/ 21 w 223"/>
                <a:gd name="T45" fmla="*/ 17 h 70"/>
                <a:gd name="T46" fmla="*/ 13 w 223"/>
                <a:gd name="T47" fmla="*/ 21 h 70"/>
                <a:gd name="T48" fmla="*/ 9 w 223"/>
                <a:gd name="T49" fmla="*/ 28 h 70"/>
                <a:gd name="T50" fmla="*/ 0 w 223"/>
                <a:gd name="T51" fmla="*/ 34 h 70"/>
                <a:gd name="T52" fmla="*/ 11 w 223"/>
                <a:gd name="T53" fmla="*/ 42 h 70"/>
                <a:gd name="T54" fmla="*/ 15 w 223"/>
                <a:gd name="T55" fmla="*/ 44 h 70"/>
                <a:gd name="T56" fmla="*/ 17 w 223"/>
                <a:gd name="T57" fmla="*/ 42 h 70"/>
                <a:gd name="T58" fmla="*/ 19 w 223"/>
                <a:gd name="T59" fmla="*/ 51 h 70"/>
                <a:gd name="T60" fmla="*/ 19 w 223"/>
                <a:gd name="T61" fmla="*/ 55 h 70"/>
                <a:gd name="T62" fmla="*/ 26 w 223"/>
                <a:gd name="T63" fmla="*/ 53 h 70"/>
                <a:gd name="T64" fmla="*/ 32 w 223"/>
                <a:gd name="T65" fmla="*/ 53 h 70"/>
                <a:gd name="T66" fmla="*/ 34 w 223"/>
                <a:gd name="T67" fmla="*/ 49 h 70"/>
                <a:gd name="T68" fmla="*/ 38 w 223"/>
                <a:gd name="T69" fmla="*/ 46 h 70"/>
                <a:gd name="T70" fmla="*/ 42 w 223"/>
                <a:gd name="T71" fmla="*/ 46 h 70"/>
                <a:gd name="T72" fmla="*/ 44 w 223"/>
                <a:gd name="T73" fmla="*/ 49 h 70"/>
                <a:gd name="T74" fmla="*/ 51 w 223"/>
                <a:gd name="T75" fmla="*/ 49 h 70"/>
                <a:gd name="T76" fmla="*/ 61 w 223"/>
                <a:gd name="T77" fmla="*/ 57 h 70"/>
                <a:gd name="T78" fmla="*/ 80 w 223"/>
                <a:gd name="T79" fmla="*/ 55 h 70"/>
                <a:gd name="T80" fmla="*/ 91 w 223"/>
                <a:gd name="T81" fmla="*/ 53 h 70"/>
                <a:gd name="T82" fmla="*/ 99 w 223"/>
                <a:gd name="T83" fmla="*/ 53 h 70"/>
                <a:gd name="T84" fmla="*/ 107 w 223"/>
                <a:gd name="T85" fmla="*/ 53 h 70"/>
                <a:gd name="T86" fmla="*/ 135 w 223"/>
                <a:gd name="T87" fmla="*/ 51 h 70"/>
                <a:gd name="T88" fmla="*/ 141 w 223"/>
                <a:gd name="T89" fmla="*/ 53 h 70"/>
                <a:gd name="T90" fmla="*/ 143 w 223"/>
                <a:gd name="T91" fmla="*/ 49 h 70"/>
                <a:gd name="T92" fmla="*/ 160 w 223"/>
                <a:gd name="T93" fmla="*/ 51 h 70"/>
                <a:gd name="T94" fmla="*/ 181 w 223"/>
                <a:gd name="T95" fmla="*/ 49 h 70"/>
                <a:gd name="T96" fmla="*/ 191 w 223"/>
                <a:gd name="T97" fmla="*/ 59 h 70"/>
                <a:gd name="T98" fmla="*/ 193 w 223"/>
                <a:gd name="T99" fmla="*/ 61 h 70"/>
                <a:gd name="T100" fmla="*/ 197 w 223"/>
                <a:gd name="T101" fmla="*/ 67 h 70"/>
                <a:gd name="T102" fmla="*/ 202 w 223"/>
                <a:gd name="T103" fmla="*/ 70 h 70"/>
                <a:gd name="T104" fmla="*/ 218 w 223"/>
                <a:gd name="T105" fmla="*/ 67 h 70"/>
                <a:gd name="T106" fmla="*/ 223 w 223"/>
                <a:gd name="T107" fmla="*/ 5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23" h="70">
                  <a:moveTo>
                    <a:pt x="223" y="51"/>
                  </a:moveTo>
                  <a:lnTo>
                    <a:pt x="220" y="44"/>
                  </a:lnTo>
                  <a:lnTo>
                    <a:pt x="218" y="42"/>
                  </a:lnTo>
                  <a:lnTo>
                    <a:pt x="216" y="40"/>
                  </a:lnTo>
                  <a:lnTo>
                    <a:pt x="206" y="36"/>
                  </a:lnTo>
                  <a:lnTo>
                    <a:pt x="204" y="32"/>
                  </a:lnTo>
                  <a:lnTo>
                    <a:pt x="199" y="30"/>
                  </a:lnTo>
                  <a:lnTo>
                    <a:pt x="199" y="30"/>
                  </a:lnTo>
                  <a:lnTo>
                    <a:pt x="197" y="30"/>
                  </a:lnTo>
                  <a:lnTo>
                    <a:pt x="195" y="23"/>
                  </a:lnTo>
                  <a:lnTo>
                    <a:pt x="195" y="21"/>
                  </a:lnTo>
                  <a:lnTo>
                    <a:pt x="195" y="21"/>
                  </a:lnTo>
                  <a:lnTo>
                    <a:pt x="195" y="19"/>
                  </a:lnTo>
                  <a:lnTo>
                    <a:pt x="193" y="19"/>
                  </a:lnTo>
                  <a:lnTo>
                    <a:pt x="189" y="17"/>
                  </a:lnTo>
                  <a:lnTo>
                    <a:pt x="189" y="17"/>
                  </a:lnTo>
                  <a:lnTo>
                    <a:pt x="187" y="15"/>
                  </a:lnTo>
                  <a:lnTo>
                    <a:pt x="185" y="11"/>
                  </a:lnTo>
                  <a:lnTo>
                    <a:pt x="185" y="11"/>
                  </a:lnTo>
                  <a:lnTo>
                    <a:pt x="185" y="11"/>
                  </a:lnTo>
                  <a:lnTo>
                    <a:pt x="181" y="11"/>
                  </a:lnTo>
                  <a:lnTo>
                    <a:pt x="174" y="6"/>
                  </a:lnTo>
                  <a:lnTo>
                    <a:pt x="174" y="6"/>
                  </a:lnTo>
                  <a:lnTo>
                    <a:pt x="172" y="6"/>
                  </a:lnTo>
                  <a:lnTo>
                    <a:pt x="170" y="9"/>
                  </a:lnTo>
                  <a:lnTo>
                    <a:pt x="170" y="9"/>
                  </a:lnTo>
                  <a:lnTo>
                    <a:pt x="170" y="11"/>
                  </a:lnTo>
                  <a:lnTo>
                    <a:pt x="170" y="11"/>
                  </a:lnTo>
                  <a:lnTo>
                    <a:pt x="170" y="13"/>
                  </a:lnTo>
                  <a:lnTo>
                    <a:pt x="168" y="13"/>
                  </a:lnTo>
                  <a:lnTo>
                    <a:pt x="168" y="17"/>
                  </a:lnTo>
                  <a:lnTo>
                    <a:pt x="166" y="17"/>
                  </a:lnTo>
                  <a:lnTo>
                    <a:pt x="164" y="17"/>
                  </a:lnTo>
                  <a:lnTo>
                    <a:pt x="160" y="21"/>
                  </a:lnTo>
                  <a:lnTo>
                    <a:pt x="160" y="19"/>
                  </a:lnTo>
                  <a:lnTo>
                    <a:pt x="158" y="17"/>
                  </a:lnTo>
                  <a:lnTo>
                    <a:pt x="153" y="17"/>
                  </a:lnTo>
                  <a:lnTo>
                    <a:pt x="153" y="15"/>
                  </a:lnTo>
                  <a:lnTo>
                    <a:pt x="153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3"/>
                  </a:lnTo>
                  <a:lnTo>
                    <a:pt x="147" y="13"/>
                  </a:lnTo>
                  <a:lnTo>
                    <a:pt x="145" y="11"/>
                  </a:lnTo>
                  <a:lnTo>
                    <a:pt x="143" y="11"/>
                  </a:lnTo>
                  <a:lnTo>
                    <a:pt x="143" y="9"/>
                  </a:lnTo>
                  <a:lnTo>
                    <a:pt x="141" y="6"/>
                  </a:lnTo>
                  <a:lnTo>
                    <a:pt x="139" y="6"/>
                  </a:lnTo>
                  <a:lnTo>
                    <a:pt x="135" y="6"/>
                  </a:lnTo>
                  <a:lnTo>
                    <a:pt x="130" y="4"/>
                  </a:lnTo>
                  <a:lnTo>
                    <a:pt x="126" y="4"/>
                  </a:lnTo>
                  <a:lnTo>
                    <a:pt x="124" y="2"/>
                  </a:lnTo>
                  <a:lnTo>
                    <a:pt x="122" y="2"/>
                  </a:lnTo>
                  <a:lnTo>
                    <a:pt x="118" y="2"/>
                  </a:lnTo>
                  <a:lnTo>
                    <a:pt x="116" y="2"/>
                  </a:lnTo>
                  <a:lnTo>
                    <a:pt x="111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5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1" y="2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2"/>
                  </a:lnTo>
                  <a:lnTo>
                    <a:pt x="95" y="4"/>
                  </a:lnTo>
                  <a:lnTo>
                    <a:pt x="84" y="9"/>
                  </a:lnTo>
                  <a:lnTo>
                    <a:pt x="80" y="9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5" y="6"/>
                  </a:lnTo>
                  <a:lnTo>
                    <a:pt x="55" y="11"/>
                  </a:lnTo>
                  <a:lnTo>
                    <a:pt x="49" y="13"/>
                  </a:lnTo>
                  <a:lnTo>
                    <a:pt x="47" y="15"/>
                  </a:lnTo>
                  <a:lnTo>
                    <a:pt x="44" y="15"/>
                  </a:lnTo>
                  <a:lnTo>
                    <a:pt x="38" y="17"/>
                  </a:lnTo>
                  <a:lnTo>
                    <a:pt x="34" y="17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0" y="17"/>
                  </a:lnTo>
                  <a:lnTo>
                    <a:pt x="26" y="17"/>
                  </a:lnTo>
                  <a:lnTo>
                    <a:pt x="24" y="17"/>
                  </a:lnTo>
                  <a:lnTo>
                    <a:pt x="21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5" y="19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1" y="23"/>
                  </a:lnTo>
                  <a:lnTo>
                    <a:pt x="11" y="25"/>
                  </a:lnTo>
                  <a:lnTo>
                    <a:pt x="9" y="28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7" y="32"/>
                  </a:lnTo>
                  <a:lnTo>
                    <a:pt x="0" y="34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9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6"/>
                  </a:lnTo>
                  <a:lnTo>
                    <a:pt x="19" y="51"/>
                  </a:lnTo>
                  <a:lnTo>
                    <a:pt x="19" y="53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24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8" y="53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2" y="53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34" y="51"/>
                  </a:lnTo>
                  <a:lnTo>
                    <a:pt x="34" y="49"/>
                  </a:lnTo>
                  <a:lnTo>
                    <a:pt x="36" y="49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8" y="49"/>
                  </a:lnTo>
                  <a:lnTo>
                    <a:pt x="40" y="49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44" y="46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3" y="49"/>
                  </a:lnTo>
                  <a:lnTo>
                    <a:pt x="55" y="51"/>
                  </a:lnTo>
                  <a:lnTo>
                    <a:pt x="59" y="57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5" y="57"/>
                  </a:lnTo>
                  <a:lnTo>
                    <a:pt x="70" y="57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2" y="53"/>
                  </a:lnTo>
                  <a:lnTo>
                    <a:pt x="84" y="53"/>
                  </a:lnTo>
                  <a:lnTo>
                    <a:pt x="91" y="53"/>
                  </a:lnTo>
                  <a:lnTo>
                    <a:pt x="95" y="53"/>
                  </a:lnTo>
                  <a:lnTo>
                    <a:pt x="97" y="53"/>
                  </a:lnTo>
                  <a:lnTo>
                    <a:pt x="97" y="53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101" y="53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9" y="51"/>
                  </a:lnTo>
                  <a:lnTo>
                    <a:pt x="111" y="51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7" y="51"/>
                  </a:lnTo>
                  <a:lnTo>
                    <a:pt x="139" y="53"/>
                  </a:lnTo>
                  <a:lnTo>
                    <a:pt x="139" y="53"/>
                  </a:lnTo>
                  <a:lnTo>
                    <a:pt x="141" y="53"/>
                  </a:lnTo>
                  <a:lnTo>
                    <a:pt x="143" y="53"/>
                  </a:lnTo>
                  <a:lnTo>
                    <a:pt x="143" y="51"/>
                  </a:lnTo>
                  <a:lnTo>
                    <a:pt x="141" y="49"/>
                  </a:lnTo>
                  <a:lnTo>
                    <a:pt x="143" y="49"/>
                  </a:lnTo>
                  <a:lnTo>
                    <a:pt x="145" y="51"/>
                  </a:lnTo>
                  <a:lnTo>
                    <a:pt x="145" y="53"/>
                  </a:lnTo>
                  <a:lnTo>
                    <a:pt x="149" y="53"/>
                  </a:lnTo>
                  <a:lnTo>
                    <a:pt x="160" y="51"/>
                  </a:lnTo>
                  <a:lnTo>
                    <a:pt x="172" y="53"/>
                  </a:lnTo>
                  <a:lnTo>
                    <a:pt x="179" y="51"/>
                  </a:lnTo>
                  <a:lnTo>
                    <a:pt x="181" y="51"/>
                  </a:lnTo>
                  <a:lnTo>
                    <a:pt x="181" y="49"/>
                  </a:lnTo>
                  <a:lnTo>
                    <a:pt x="183" y="49"/>
                  </a:lnTo>
                  <a:lnTo>
                    <a:pt x="183" y="51"/>
                  </a:lnTo>
                  <a:lnTo>
                    <a:pt x="187" y="55"/>
                  </a:lnTo>
                  <a:lnTo>
                    <a:pt x="191" y="59"/>
                  </a:lnTo>
                  <a:lnTo>
                    <a:pt x="191" y="61"/>
                  </a:lnTo>
                  <a:lnTo>
                    <a:pt x="191" y="61"/>
                  </a:lnTo>
                  <a:lnTo>
                    <a:pt x="193" y="61"/>
                  </a:lnTo>
                  <a:lnTo>
                    <a:pt x="193" y="61"/>
                  </a:lnTo>
                  <a:lnTo>
                    <a:pt x="195" y="65"/>
                  </a:lnTo>
                  <a:lnTo>
                    <a:pt x="195" y="65"/>
                  </a:lnTo>
                  <a:lnTo>
                    <a:pt x="195" y="65"/>
                  </a:lnTo>
                  <a:lnTo>
                    <a:pt x="197" y="67"/>
                  </a:lnTo>
                  <a:lnTo>
                    <a:pt x="197" y="67"/>
                  </a:lnTo>
                  <a:lnTo>
                    <a:pt x="197" y="67"/>
                  </a:lnTo>
                  <a:lnTo>
                    <a:pt x="199" y="67"/>
                  </a:lnTo>
                  <a:lnTo>
                    <a:pt x="202" y="70"/>
                  </a:lnTo>
                  <a:lnTo>
                    <a:pt x="212" y="70"/>
                  </a:lnTo>
                  <a:lnTo>
                    <a:pt x="214" y="70"/>
                  </a:lnTo>
                  <a:lnTo>
                    <a:pt x="216" y="67"/>
                  </a:lnTo>
                  <a:lnTo>
                    <a:pt x="218" y="67"/>
                  </a:lnTo>
                  <a:lnTo>
                    <a:pt x="218" y="67"/>
                  </a:lnTo>
                  <a:lnTo>
                    <a:pt x="218" y="65"/>
                  </a:lnTo>
                  <a:lnTo>
                    <a:pt x="220" y="61"/>
                  </a:lnTo>
                  <a:lnTo>
                    <a:pt x="223" y="57"/>
                  </a:lnTo>
                  <a:lnTo>
                    <a:pt x="223" y="55"/>
                  </a:lnTo>
                  <a:lnTo>
                    <a:pt x="223" y="51"/>
                  </a:lnTo>
                  <a:close/>
                </a:path>
              </a:pathLst>
            </a:custGeom>
            <a:solidFill>
              <a:schemeClr val="accent4"/>
            </a:solidFill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4" name="Freeform 117">
              <a:extLst>
                <a:ext uri="{FF2B5EF4-FFF2-40B4-BE49-F238E27FC236}">
                  <a16:creationId xmlns:a16="http://schemas.microsoft.com/office/drawing/2014/main" id="{EA2531CE-7D24-4471-A45F-ED51789566D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569" y="919574"/>
              <a:ext cx="511969" cy="515540"/>
            </a:xfrm>
            <a:custGeom>
              <a:avLst/>
              <a:gdLst>
                <a:gd name="T0" fmla="*/ 369 w 430"/>
                <a:gd name="T1" fmla="*/ 220 h 433"/>
                <a:gd name="T2" fmla="*/ 354 w 430"/>
                <a:gd name="T3" fmla="*/ 180 h 433"/>
                <a:gd name="T4" fmla="*/ 306 w 430"/>
                <a:gd name="T5" fmla="*/ 187 h 433"/>
                <a:gd name="T6" fmla="*/ 298 w 430"/>
                <a:gd name="T7" fmla="*/ 197 h 433"/>
                <a:gd name="T8" fmla="*/ 237 w 430"/>
                <a:gd name="T9" fmla="*/ 214 h 433"/>
                <a:gd name="T10" fmla="*/ 199 w 430"/>
                <a:gd name="T11" fmla="*/ 206 h 433"/>
                <a:gd name="T12" fmla="*/ 153 w 430"/>
                <a:gd name="T13" fmla="*/ 258 h 433"/>
                <a:gd name="T14" fmla="*/ 109 w 430"/>
                <a:gd name="T15" fmla="*/ 248 h 433"/>
                <a:gd name="T16" fmla="*/ 88 w 430"/>
                <a:gd name="T17" fmla="*/ 212 h 433"/>
                <a:gd name="T18" fmla="*/ 51 w 430"/>
                <a:gd name="T19" fmla="*/ 143 h 433"/>
                <a:gd name="T20" fmla="*/ 82 w 430"/>
                <a:gd name="T21" fmla="*/ 82 h 433"/>
                <a:gd name="T22" fmla="*/ 132 w 430"/>
                <a:gd name="T23" fmla="*/ 86 h 433"/>
                <a:gd name="T24" fmla="*/ 174 w 430"/>
                <a:gd name="T25" fmla="*/ 84 h 433"/>
                <a:gd name="T26" fmla="*/ 164 w 430"/>
                <a:gd name="T27" fmla="*/ 59 h 433"/>
                <a:gd name="T28" fmla="*/ 212 w 430"/>
                <a:gd name="T29" fmla="*/ 40 h 433"/>
                <a:gd name="T30" fmla="*/ 233 w 430"/>
                <a:gd name="T31" fmla="*/ 25 h 433"/>
                <a:gd name="T32" fmla="*/ 187 w 430"/>
                <a:gd name="T33" fmla="*/ 6 h 433"/>
                <a:gd name="T34" fmla="*/ 132 w 430"/>
                <a:gd name="T35" fmla="*/ 2 h 433"/>
                <a:gd name="T36" fmla="*/ 120 w 430"/>
                <a:gd name="T37" fmla="*/ 31 h 433"/>
                <a:gd name="T38" fmla="*/ 93 w 430"/>
                <a:gd name="T39" fmla="*/ 52 h 433"/>
                <a:gd name="T40" fmla="*/ 59 w 430"/>
                <a:gd name="T41" fmla="*/ 57 h 433"/>
                <a:gd name="T42" fmla="*/ 38 w 430"/>
                <a:gd name="T43" fmla="*/ 88 h 433"/>
                <a:gd name="T44" fmla="*/ 28 w 430"/>
                <a:gd name="T45" fmla="*/ 132 h 433"/>
                <a:gd name="T46" fmla="*/ 32 w 430"/>
                <a:gd name="T47" fmla="*/ 143 h 433"/>
                <a:gd name="T48" fmla="*/ 34 w 430"/>
                <a:gd name="T49" fmla="*/ 208 h 433"/>
                <a:gd name="T50" fmla="*/ 9 w 430"/>
                <a:gd name="T51" fmla="*/ 206 h 433"/>
                <a:gd name="T52" fmla="*/ 19 w 430"/>
                <a:gd name="T53" fmla="*/ 264 h 433"/>
                <a:gd name="T54" fmla="*/ 55 w 430"/>
                <a:gd name="T55" fmla="*/ 300 h 433"/>
                <a:gd name="T56" fmla="*/ 187 w 430"/>
                <a:gd name="T57" fmla="*/ 353 h 433"/>
                <a:gd name="T58" fmla="*/ 250 w 430"/>
                <a:gd name="T59" fmla="*/ 418 h 433"/>
                <a:gd name="T60" fmla="*/ 279 w 430"/>
                <a:gd name="T61" fmla="*/ 426 h 433"/>
                <a:gd name="T62" fmla="*/ 266 w 430"/>
                <a:gd name="T63" fmla="*/ 401 h 433"/>
                <a:gd name="T64" fmla="*/ 239 w 430"/>
                <a:gd name="T65" fmla="*/ 370 h 433"/>
                <a:gd name="T66" fmla="*/ 185 w 430"/>
                <a:gd name="T67" fmla="*/ 313 h 433"/>
                <a:gd name="T68" fmla="*/ 176 w 430"/>
                <a:gd name="T69" fmla="*/ 294 h 433"/>
                <a:gd name="T70" fmla="*/ 212 w 430"/>
                <a:gd name="T71" fmla="*/ 302 h 433"/>
                <a:gd name="T72" fmla="*/ 243 w 430"/>
                <a:gd name="T73" fmla="*/ 279 h 433"/>
                <a:gd name="T74" fmla="*/ 294 w 430"/>
                <a:gd name="T75" fmla="*/ 243 h 433"/>
                <a:gd name="T76" fmla="*/ 109 w 430"/>
                <a:gd name="T77" fmla="*/ 25 h 433"/>
                <a:gd name="T78" fmla="*/ 229 w 430"/>
                <a:gd name="T79" fmla="*/ 174 h 433"/>
                <a:gd name="T80" fmla="*/ 208 w 430"/>
                <a:gd name="T81" fmla="*/ 178 h 433"/>
                <a:gd name="T82" fmla="*/ 204 w 430"/>
                <a:gd name="T83" fmla="*/ 138 h 433"/>
                <a:gd name="T84" fmla="*/ 229 w 430"/>
                <a:gd name="T85" fmla="*/ 157 h 433"/>
                <a:gd name="T86" fmla="*/ 273 w 430"/>
                <a:gd name="T87" fmla="*/ 155 h 433"/>
                <a:gd name="T88" fmla="*/ 294 w 430"/>
                <a:gd name="T89" fmla="*/ 174 h 433"/>
                <a:gd name="T90" fmla="*/ 245 w 430"/>
                <a:gd name="T91" fmla="*/ 166 h 433"/>
                <a:gd name="T92" fmla="*/ 260 w 430"/>
                <a:gd name="T93" fmla="*/ 153 h 433"/>
                <a:gd name="T94" fmla="*/ 394 w 430"/>
                <a:gd name="T95" fmla="*/ 304 h 433"/>
                <a:gd name="T96" fmla="*/ 411 w 430"/>
                <a:gd name="T97" fmla="*/ 315 h 433"/>
                <a:gd name="T98" fmla="*/ 415 w 430"/>
                <a:gd name="T99" fmla="*/ 321 h 433"/>
                <a:gd name="T100" fmla="*/ 344 w 430"/>
                <a:gd name="T101" fmla="*/ 300 h 433"/>
                <a:gd name="T102" fmla="*/ 359 w 430"/>
                <a:gd name="T103" fmla="*/ 241 h 433"/>
                <a:gd name="T104" fmla="*/ 382 w 430"/>
                <a:gd name="T105" fmla="*/ 269 h 433"/>
                <a:gd name="T106" fmla="*/ 380 w 430"/>
                <a:gd name="T107" fmla="*/ 288 h 433"/>
                <a:gd name="T108" fmla="*/ 382 w 430"/>
                <a:gd name="T109" fmla="*/ 256 h 433"/>
                <a:gd name="T110" fmla="*/ 365 w 430"/>
                <a:gd name="T111" fmla="*/ 241 h 433"/>
                <a:gd name="T112" fmla="*/ 354 w 430"/>
                <a:gd name="T113" fmla="*/ 241 h 433"/>
                <a:gd name="T114" fmla="*/ 323 w 430"/>
                <a:gd name="T115" fmla="*/ 237 h 433"/>
                <a:gd name="T116" fmla="*/ 346 w 430"/>
                <a:gd name="T117" fmla="*/ 248 h 433"/>
                <a:gd name="T118" fmla="*/ 354 w 430"/>
                <a:gd name="T119" fmla="*/ 279 h 433"/>
                <a:gd name="T120" fmla="*/ 375 w 430"/>
                <a:gd name="T121" fmla="*/ 267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0" h="433">
                  <a:moveTo>
                    <a:pt x="317" y="212"/>
                  </a:moveTo>
                  <a:lnTo>
                    <a:pt x="321" y="212"/>
                  </a:lnTo>
                  <a:lnTo>
                    <a:pt x="325" y="212"/>
                  </a:lnTo>
                  <a:lnTo>
                    <a:pt x="333" y="210"/>
                  </a:lnTo>
                  <a:lnTo>
                    <a:pt x="336" y="210"/>
                  </a:lnTo>
                  <a:lnTo>
                    <a:pt x="338" y="210"/>
                  </a:lnTo>
                  <a:lnTo>
                    <a:pt x="342" y="206"/>
                  </a:lnTo>
                  <a:lnTo>
                    <a:pt x="344" y="206"/>
                  </a:lnTo>
                  <a:lnTo>
                    <a:pt x="346" y="208"/>
                  </a:lnTo>
                  <a:lnTo>
                    <a:pt x="346" y="208"/>
                  </a:lnTo>
                  <a:lnTo>
                    <a:pt x="346" y="210"/>
                  </a:lnTo>
                  <a:lnTo>
                    <a:pt x="346" y="210"/>
                  </a:lnTo>
                  <a:lnTo>
                    <a:pt x="346" y="214"/>
                  </a:lnTo>
                  <a:lnTo>
                    <a:pt x="346" y="214"/>
                  </a:lnTo>
                  <a:lnTo>
                    <a:pt x="350" y="218"/>
                  </a:lnTo>
                  <a:lnTo>
                    <a:pt x="350" y="218"/>
                  </a:lnTo>
                  <a:lnTo>
                    <a:pt x="352" y="218"/>
                  </a:lnTo>
                  <a:lnTo>
                    <a:pt x="354" y="222"/>
                  </a:lnTo>
                  <a:lnTo>
                    <a:pt x="356" y="225"/>
                  </a:lnTo>
                  <a:lnTo>
                    <a:pt x="361" y="225"/>
                  </a:lnTo>
                  <a:lnTo>
                    <a:pt x="365" y="225"/>
                  </a:lnTo>
                  <a:lnTo>
                    <a:pt x="369" y="220"/>
                  </a:lnTo>
                  <a:lnTo>
                    <a:pt x="369" y="218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73" y="208"/>
                  </a:lnTo>
                  <a:lnTo>
                    <a:pt x="373" y="206"/>
                  </a:lnTo>
                  <a:lnTo>
                    <a:pt x="373" y="201"/>
                  </a:lnTo>
                  <a:lnTo>
                    <a:pt x="375" y="197"/>
                  </a:lnTo>
                  <a:lnTo>
                    <a:pt x="373" y="195"/>
                  </a:lnTo>
                  <a:lnTo>
                    <a:pt x="373" y="193"/>
                  </a:lnTo>
                  <a:lnTo>
                    <a:pt x="373" y="193"/>
                  </a:lnTo>
                  <a:lnTo>
                    <a:pt x="371" y="193"/>
                  </a:lnTo>
                  <a:lnTo>
                    <a:pt x="371" y="193"/>
                  </a:lnTo>
                  <a:lnTo>
                    <a:pt x="371" y="191"/>
                  </a:lnTo>
                  <a:lnTo>
                    <a:pt x="371" y="191"/>
                  </a:lnTo>
                  <a:lnTo>
                    <a:pt x="371" y="191"/>
                  </a:lnTo>
                  <a:lnTo>
                    <a:pt x="369" y="189"/>
                  </a:lnTo>
                  <a:lnTo>
                    <a:pt x="371" y="189"/>
                  </a:lnTo>
                  <a:lnTo>
                    <a:pt x="371" y="189"/>
                  </a:lnTo>
                  <a:lnTo>
                    <a:pt x="369" y="187"/>
                  </a:lnTo>
                  <a:lnTo>
                    <a:pt x="365" y="185"/>
                  </a:lnTo>
                  <a:lnTo>
                    <a:pt x="359" y="180"/>
                  </a:lnTo>
                  <a:lnTo>
                    <a:pt x="354" y="180"/>
                  </a:lnTo>
                  <a:lnTo>
                    <a:pt x="340" y="178"/>
                  </a:lnTo>
                  <a:lnTo>
                    <a:pt x="338" y="178"/>
                  </a:lnTo>
                  <a:lnTo>
                    <a:pt x="338" y="180"/>
                  </a:lnTo>
                  <a:lnTo>
                    <a:pt x="336" y="183"/>
                  </a:lnTo>
                  <a:lnTo>
                    <a:pt x="333" y="183"/>
                  </a:lnTo>
                  <a:lnTo>
                    <a:pt x="333" y="183"/>
                  </a:lnTo>
                  <a:lnTo>
                    <a:pt x="331" y="185"/>
                  </a:lnTo>
                  <a:lnTo>
                    <a:pt x="329" y="183"/>
                  </a:lnTo>
                  <a:lnTo>
                    <a:pt x="329" y="183"/>
                  </a:lnTo>
                  <a:lnTo>
                    <a:pt x="327" y="183"/>
                  </a:lnTo>
                  <a:lnTo>
                    <a:pt x="319" y="185"/>
                  </a:lnTo>
                  <a:lnTo>
                    <a:pt x="319" y="185"/>
                  </a:lnTo>
                  <a:lnTo>
                    <a:pt x="317" y="185"/>
                  </a:lnTo>
                  <a:lnTo>
                    <a:pt x="317" y="185"/>
                  </a:lnTo>
                  <a:lnTo>
                    <a:pt x="315" y="185"/>
                  </a:lnTo>
                  <a:lnTo>
                    <a:pt x="315" y="185"/>
                  </a:lnTo>
                  <a:lnTo>
                    <a:pt x="315" y="185"/>
                  </a:lnTo>
                  <a:lnTo>
                    <a:pt x="315" y="185"/>
                  </a:lnTo>
                  <a:lnTo>
                    <a:pt x="310" y="187"/>
                  </a:lnTo>
                  <a:lnTo>
                    <a:pt x="310" y="187"/>
                  </a:lnTo>
                  <a:lnTo>
                    <a:pt x="308" y="187"/>
                  </a:lnTo>
                  <a:lnTo>
                    <a:pt x="306" y="187"/>
                  </a:lnTo>
                  <a:lnTo>
                    <a:pt x="306" y="189"/>
                  </a:lnTo>
                  <a:lnTo>
                    <a:pt x="308" y="189"/>
                  </a:lnTo>
                  <a:lnTo>
                    <a:pt x="308" y="191"/>
                  </a:lnTo>
                  <a:lnTo>
                    <a:pt x="310" y="191"/>
                  </a:lnTo>
                  <a:lnTo>
                    <a:pt x="310" y="191"/>
                  </a:lnTo>
                  <a:lnTo>
                    <a:pt x="319" y="191"/>
                  </a:lnTo>
                  <a:lnTo>
                    <a:pt x="321" y="191"/>
                  </a:lnTo>
                  <a:lnTo>
                    <a:pt x="321" y="193"/>
                  </a:lnTo>
                  <a:lnTo>
                    <a:pt x="321" y="193"/>
                  </a:lnTo>
                  <a:lnTo>
                    <a:pt x="323" y="193"/>
                  </a:lnTo>
                  <a:lnTo>
                    <a:pt x="327" y="195"/>
                  </a:lnTo>
                  <a:lnTo>
                    <a:pt x="327" y="195"/>
                  </a:lnTo>
                  <a:lnTo>
                    <a:pt x="327" y="197"/>
                  </a:lnTo>
                  <a:lnTo>
                    <a:pt x="325" y="197"/>
                  </a:lnTo>
                  <a:lnTo>
                    <a:pt x="323" y="197"/>
                  </a:lnTo>
                  <a:lnTo>
                    <a:pt x="312" y="199"/>
                  </a:lnTo>
                  <a:lnTo>
                    <a:pt x="308" y="201"/>
                  </a:lnTo>
                  <a:lnTo>
                    <a:pt x="304" y="201"/>
                  </a:lnTo>
                  <a:lnTo>
                    <a:pt x="304" y="199"/>
                  </a:lnTo>
                  <a:lnTo>
                    <a:pt x="302" y="199"/>
                  </a:lnTo>
                  <a:lnTo>
                    <a:pt x="300" y="199"/>
                  </a:lnTo>
                  <a:lnTo>
                    <a:pt x="298" y="197"/>
                  </a:lnTo>
                  <a:lnTo>
                    <a:pt x="296" y="197"/>
                  </a:lnTo>
                  <a:lnTo>
                    <a:pt x="296" y="197"/>
                  </a:lnTo>
                  <a:lnTo>
                    <a:pt x="296" y="197"/>
                  </a:lnTo>
                  <a:lnTo>
                    <a:pt x="294" y="197"/>
                  </a:lnTo>
                  <a:lnTo>
                    <a:pt x="294" y="199"/>
                  </a:lnTo>
                  <a:lnTo>
                    <a:pt x="289" y="199"/>
                  </a:lnTo>
                  <a:lnTo>
                    <a:pt x="283" y="197"/>
                  </a:lnTo>
                  <a:lnTo>
                    <a:pt x="281" y="197"/>
                  </a:lnTo>
                  <a:lnTo>
                    <a:pt x="277" y="197"/>
                  </a:lnTo>
                  <a:lnTo>
                    <a:pt x="258" y="199"/>
                  </a:lnTo>
                  <a:lnTo>
                    <a:pt x="256" y="199"/>
                  </a:lnTo>
                  <a:lnTo>
                    <a:pt x="252" y="201"/>
                  </a:lnTo>
                  <a:lnTo>
                    <a:pt x="252" y="204"/>
                  </a:lnTo>
                  <a:lnTo>
                    <a:pt x="252" y="206"/>
                  </a:lnTo>
                  <a:lnTo>
                    <a:pt x="252" y="210"/>
                  </a:lnTo>
                  <a:lnTo>
                    <a:pt x="250" y="212"/>
                  </a:lnTo>
                  <a:lnTo>
                    <a:pt x="248" y="214"/>
                  </a:lnTo>
                  <a:lnTo>
                    <a:pt x="245" y="214"/>
                  </a:lnTo>
                  <a:lnTo>
                    <a:pt x="243" y="212"/>
                  </a:lnTo>
                  <a:lnTo>
                    <a:pt x="241" y="212"/>
                  </a:lnTo>
                  <a:lnTo>
                    <a:pt x="239" y="212"/>
                  </a:lnTo>
                  <a:lnTo>
                    <a:pt x="237" y="214"/>
                  </a:lnTo>
                  <a:lnTo>
                    <a:pt x="235" y="214"/>
                  </a:lnTo>
                  <a:lnTo>
                    <a:pt x="231" y="216"/>
                  </a:lnTo>
                  <a:lnTo>
                    <a:pt x="227" y="216"/>
                  </a:lnTo>
                  <a:lnTo>
                    <a:pt x="222" y="214"/>
                  </a:lnTo>
                  <a:lnTo>
                    <a:pt x="218" y="214"/>
                  </a:lnTo>
                  <a:lnTo>
                    <a:pt x="210" y="214"/>
                  </a:lnTo>
                  <a:lnTo>
                    <a:pt x="210" y="214"/>
                  </a:lnTo>
                  <a:lnTo>
                    <a:pt x="210" y="214"/>
                  </a:lnTo>
                  <a:lnTo>
                    <a:pt x="208" y="212"/>
                  </a:lnTo>
                  <a:lnTo>
                    <a:pt x="206" y="210"/>
                  </a:lnTo>
                  <a:lnTo>
                    <a:pt x="206" y="208"/>
                  </a:lnTo>
                  <a:lnTo>
                    <a:pt x="206" y="204"/>
                  </a:lnTo>
                  <a:lnTo>
                    <a:pt x="206" y="204"/>
                  </a:lnTo>
                  <a:lnTo>
                    <a:pt x="204" y="201"/>
                  </a:lnTo>
                  <a:lnTo>
                    <a:pt x="204" y="201"/>
                  </a:lnTo>
                  <a:lnTo>
                    <a:pt x="204" y="201"/>
                  </a:lnTo>
                  <a:lnTo>
                    <a:pt x="201" y="201"/>
                  </a:lnTo>
                  <a:lnTo>
                    <a:pt x="199" y="201"/>
                  </a:lnTo>
                  <a:lnTo>
                    <a:pt x="199" y="204"/>
                  </a:lnTo>
                  <a:lnTo>
                    <a:pt x="199" y="204"/>
                  </a:lnTo>
                  <a:lnTo>
                    <a:pt x="199" y="206"/>
                  </a:lnTo>
                  <a:lnTo>
                    <a:pt x="199" y="206"/>
                  </a:lnTo>
                  <a:lnTo>
                    <a:pt x="197" y="206"/>
                  </a:lnTo>
                  <a:lnTo>
                    <a:pt x="193" y="206"/>
                  </a:lnTo>
                  <a:lnTo>
                    <a:pt x="191" y="206"/>
                  </a:lnTo>
                  <a:lnTo>
                    <a:pt x="191" y="208"/>
                  </a:lnTo>
                  <a:lnTo>
                    <a:pt x="187" y="212"/>
                  </a:lnTo>
                  <a:lnTo>
                    <a:pt x="185" y="214"/>
                  </a:lnTo>
                  <a:lnTo>
                    <a:pt x="178" y="222"/>
                  </a:lnTo>
                  <a:lnTo>
                    <a:pt x="174" y="227"/>
                  </a:lnTo>
                  <a:lnTo>
                    <a:pt x="170" y="231"/>
                  </a:lnTo>
                  <a:lnTo>
                    <a:pt x="170" y="233"/>
                  </a:lnTo>
                  <a:lnTo>
                    <a:pt x="168" y="235"/>
                  </a:lnTo>
                  <a:lnTo>
                    <a:pt x="168" y="235"/>
                  </a:lnTo>
                  <a:lnTo>
                    <a:pt x="166" y="235"/>
                  </a:lnTo>
                  <a:lnTo>
                    <a:pt x="164" y="237"/>
                  </a:lnTo>
                  <a:lnTo>
                    <a:pt x="164" y="239"/>
                  </a:lnTo>
                  <a:lnTo>
                    <a:pt x="162" y="239"/>
                  </a:lnTo>
                  <a:lnTo>
                    <a:pt x="162" y="241"/>
                  </a:lnTo>
                  <a:lnTo>
                    <a:pt x="160" y="246"/>
                  </a:lnTo>
                  <a:lnTo>
                    <a:pt x="160" y="250"/>
                  </a:lnTo>
                  <a:lnTo>
                    <a:pt x="160" y="250"/>
                  </a:lnTo>
                  <a:lnTo>
                    <a:pt x="155" y="256"/>
                  </a:lnTo>
                  <a:lnTo>
                    <a:pt x="153" y="258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5" y="258"/>
                  </a:lnTo>
                  <a:lnTo>
                    <a:pt x="143" y="256"/>
                  </a:lnTo>
                  <a:lnTo>
                    <a:pt x="143" y="256"/>
                  </a:lnTo>
                  <a:lnTo>
                    <a:pt x="141" y="256"/>
                  </a:lnTo>
                  <a:lnTo>
                    <a:pt x="139" y="256"/>
                  </a:lnTo>
                  <a:lnTo>
                    <a:pt x="132" y="258"/>
                  </a:lnTo>
                  <a:lnTo>
                    <a:pt x="130" y="258"/>
                  </a:lnTo>
                  <a:lnTo>
                    <a:pt x="128" y="256"/>
                  </a:lnTo>
                  <a:lnTo>
                    <a:pt x="128" y="256"/>
                  </a:lnTo>
                  <a:lnTo>
                    <a:pt x="126" y="256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18" y="254"/>
                  </a:lnTo>
                  <a:lnTo>
                    <a:pt x="118" y="254"/>
                  </a:lnTo>
                  <a:lnTo>
                    <a:pt x="113" y="258"/>
                  </a:lnTo>
                  <a:lnTo>
                    <a:pt x="111" y="256"/>
                  </a:lnTo>
                  <a:lnTo>
                    <a:pt x="109" y="254"/>
                  </a:lnTo>
                  <a:lnTo>
                    <a:pt x="109" y="252"/>
                  </a:lnTo>
                  <a:lnTo>
                    <a:pt x="109" y="248"/>
                  </a:lnTo>
                  <a:lnTo>
                    <a:pt x="107" y="248"/>
                  </a:lnTo>
                  <a:lnTo>
                    <a:pt x="103" y="241"/>
                  </a:lnTo>
                  <a:lnTo>
                    <a:pt x="103" y="241"/>
                  </a:lnTo>
                  <a:lnTo>
                    <a:pt x="103" y="239"/>
                  </a:lnTo>
                  <a:lnTo>
                    <a:pt x="103" y="237"/>
                  </a:lnTo>
                  <a:lnTo>
                    <a:pt x="103" y="235"/>
                  </a:lnTo>
                  <a:lnTo>
                    <a:pt x="103" y="235"/>
                  </a:lnTo>
                  <a:lnTo>
                    <a:pt x="103" y="235"/>
                  </a:lnTo>
                  <a:lnTo>
                    <a:pt x="103" y="233"/>
                  </a:lnTo>
                  <a:lnTo>
                    <a:pt x="105" y="233"/>
                  </a:lnTo>
                  <a:lnTo>
                    <a:pt x="105" y="231"/>
                  </a:lnTo>
                  <a:lnTo>
                    <a:pt x="103" y="231"/>
                  </a:lnTo>
                  <a:lnTo>
                    <a:pt x="99" y="222"/>
                  </a:lnTo>
                  <a:lnTo>
                    <a:pt x="97" y="218"/>
                  </a:lnTo>
                  <a:lnTo>
                    <a:pt x="97" y="218"/>
                  </a:lnTo>
                  <a:lnTo>
                    <a:pt x="95" y="218"/>
                  </a:lnTo>
                  <a:lnTo>
                    <a:pt x="93" y="218"/>
                  </a:lnTo>
                  <a:lnTo>
                    <a:pt x="93" y="218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88" y="212"/>
                  </a:lnTo>
                  <a:lnTo>
                    <a:pt x="88" y="212"/>
                  </a:lnTo>
                  <a:lnTo>
                    <a:pt x="86" y="212"/>
                  </a:lnTo>
                  <a:lnTo>
                    <a:pt x="84" y="212"/>
                  </a:lnTo>
                  <a:lnTo>
                    <a:pt x="82" y="214"/>
                  </a:lnTo>
                  <a:lnTo>
                    <a:pt x="80" y="214"/>
                  </a:lnTo>
                  <a:lnTo>
                    <a:pt x="78" y="214"/>
                  </a:lnTo>
                  <a:lnTo>
                    <a:pt x="74" y="212"/>
                  </a:lnTo>
                  <a:lnTo>
                    <a:pt x="72" y="210"/>
                  </a:lnTo>
                  <a:lnTo>
                    <a:pt x="57" y="189"/>
                  </a:lnTo>
                  <a:lnTo>
                    <a:pt x="55" y="185"/>
                  </a:lnTo>
                  <a:lnTo>
                    <a:pt x="55" y="174"/>
                  </a:lnTo>
                  <a:lnTo>
                    <a:pt x="53" y="172"/>
                  </a:lnTo>
                  <a:lnTo>
                    <a:pt x="53" y="172"/>
                  </a:lnTo>
                  <a:lnTo>
                    <a:pt x="53" y="170"/>
                  </a:lnTo>
                  <a:lnTo>
                    <a:pt x="55" y="170"/>
                  </a:lnTo>
                  <a:lnTo>
                    <a:pt x="55" y="168"/>
                  </a:lnTo>
                  <a:lnTo>
                    <a:pt x="55" y="166"/>
                  </a:lnTo>
                  <a:lnTo>
                    <a:pt x="51" y="162"/>
                  </a:lnTo>
                  <a:lnTo>
                    <a:pt x="51" y="162"/>
                  </a:lnTo>
                  <a:lnTo>
                    <a:pt x="49" y="149"/>
                  </a:lnTo>
                  <a:lnTo>
                    <a:pt x="49" y="147"/>
                  </a:lnTo>
                  <a:lnTo>
                    <a:pt x="49" y="145"/>
                  </a:lnTo>
                  <a:lnTo>
                    <a:pt x="51" y="143"/>
                  </a:lnTo>
                  <a:lnTo>
                    <a:pt x="51" y="141"/>
                  </a:lnTo>
                  <a:lnTo>
                    <a:pt x="51" y="136"/>
                  </a:lnTo>
                  <a:lnTo>
                    <a:pt x="51" y="134"/>
                  </a:lnTo>
                  <a:lnTo>
                    <a:pt x="51" y="132"/>
                  </a:lnTo>
                  <a:lnTo>
                    <a:pt x="51" y="132"/>
                  </a:lnTo>
                  <a:lnTo>
                    <a:pt x="55" y="130"/>
                  </a:lnTo>
                  <a:lnTo>
                    <a:pt x="57" y="128"/>
                  </a:lnTo>
                  <a:lnTo>
                    <a:pt x="57" y="126"/>
                  </a:lnTo>
                  <a:lnTo>
                    <a:pt x="57" y="122"/>
                  </a:lnTo>
                  <a:lnTo>
                    <a:pt x="59" y="117"/>
                  </a:lnTo>
                  <a:lnTo>
                    <a:pt x="59" y="115"/>
                  </a:lnTo>
                  <a:lnTo>
                    <a:pt x="59" y="113"/>
                  </a:lnTo>
                  <a:lnTo>
                    <a:pt x="61" y="113"/>
                  </a:lnTo>
                  <a:lnTo>
                    <a:pt x="61" y="109"/>
                  </a:lnTo>
                  <a:lnTo>
                    <a:pt x="61" y="109"/>
                  </a:lnTo>
                  <a:lnTo>
                    <a:pt x="63" y="105"/>
                  </a:lnTo>
                  <a:lnTo>
                    <a:pt x="69" y="99"/>
                  </a:lnTo>
                  <a:lnTo>
                    <a:pt x="74" y="90"/>
                  </a:lnTo>
                  <a:lnTo>
                    <a:pt x="78" y="86"/>
                  </a:lnTo>
                  <a:lnTo>
                    <a:pt x="82" y="86"/>
                  </a:lnTo>
                  <a:lnTo>
                    <a:pt x="82" y="84"/>
                  </a:lnTo>
                  <a:lnTo>
                    <a:pt x="82" y="82"/>
                  </a:lnTo>
                  <a:lnTo>
                    <a:pt x="84" y="82"/>
                  </a:lnTo>
                  <a:lnTo>
                    <a:pt x="86" y="82"/>
                  </a:lnTo>
                  <a:lnTo>
                    <a:pt x="88" y="82"/>
                  </a:lnTo>
                  <a:lnTo>
                    <a:pt x="95" y="78"/>
                  </a:lnTo>
                  <a:lnTo>
                    <a:pt x="97" y="78"/>
                  </a:lnTo>
                  <a:lnTo>
                    <a:pt x="113" y="78"/>
                  </a:lnTo>
                  <a:lnTo>
                    <a:pt x="116" y="78"/>
                  </a:lnTo>
                  <a:lnTo>
                    <a:pt x="118" y="80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2" y="80"/>
                  </a:lnTo>
                  <a:lnTo>
                    <a:pt x="124" y="80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6" y="82"/>
                  </a:lnTo>
                  <a:lnTo>
                    <a:pt x="128" y="84"/>
                  </a:lnTo>
                  <a:lnTo>
                    <a:pt x="128" y="84"/>
                  </a:lnTo>
                  <a:lnTo>
                    <a:pt x="130" y="84"/>
                  </a:lnTo>
                  <a:lnTo>
                    <a:pt x="130" y="86"/>
                  </a:lnTo>
                  <a:lnTo>
                    <a:pt x="130" y="86"/>
                  </a:lnTo>
                  <a:lnTo>
                    <a:pt x="132" y="86"/>
                  </a:lnTo>
                  <a:lnTo>
                    <a:pt x="132" y="86"/>
                  </a:lnTo>
                  <a:lnTo>
                    <a:pt x="139" y="86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5" y="86"/>
                  </a:lnTo>
                  <a:lnTo>
                    <a:pt x="147" y="88"/>
                  </a:lnTo>
                  <a:lnTo>
                    <a:pt x="149" y="88"/>
                  </a:lnTo>
                  <a:lnTo>
                    <a:pt x="153" y="88"/>
                  </a:lnTo>
                  <a:lnTo>
                    <a:pt x="153" y="88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5" y="86"/>
                  </a:lnTo>
                  <a:lnTo>
                    <a:pt x="157" y="84"/>
                  </a:lnTo>
                  <a:lnTo>
                    <a:pt x="160" y="84"/>
                  </a:lnTo>
                  <a:lnTo>
                    <a:pt x="160" y="84"/>
                  </a:lnTo>
                  <a:lnTo>
                    <a:pt x="162" y="84"/>
                  </a:lnTo>
                  <a:lnTo>
                    <a:pt x="164" y="82"/>
                  </a:lnTo>
                  <a:lnTo>
                    <a:pt x="168" y="82"/>
                  </a:lnTo>
                  <a:lnTo>
                    <a:pt x="170" y="82"/>
                  </a:lnTo>
                  <a:lnTo>
                    <a:pt x="172" y="82"/>
                  </a:lnTo>
                  <a:lnTo>
                    <a:pt x="174" y="84"/>
                  </a:lnTo>
                  <a:lnTo>
                    <a:pt x="174" y="84"/>
                  </a:lnTo>
                  <a:lnTo>
                    <a:pt x="174" y="84"/>
                  </a:lnTo>
                  <a:lnTo>
                    <a:pt x="174" y="84"/>
                  </a:lnTo>
                  <a:lnTo>
                    <a:pt x="176" y="82"/>
                  </a:lnTo>
                  <a:lnTo>
                    <a:pt x="176" y="80"/>
                  </a:lnTo>
                  <a:lnTo>
                    <a:pt x="176" y="75"/>
                  </a:lnTo>
                  <a:lnTo>
                    <a:pt x="174" y="73"/>
                  </a:lnTo>
                  <a:lnTo>
                    <a:pt x="174" y="73"/>
                  </a:lnTo>
                  <a:lnTo>
                    <a:pt x="174" y="71"/>
                  </a:lnTo>
                  <a:lnTo>
                    <a:pt x="174" y="71"/>
                  </a:lnTo>
                  <a:lnTo>
                    <a:pt x="174" y="71"/>
                  </a:lnTo>
                  <a:lnTo>
                    <a:pt x="172" y="73"/>
                  </a:lnTo>
                  <a:lnTo>
                    <a:pt x="172" y="73"/>
                  </a:lnTo>
                  <a:lnTo>
                    <a:pt x="172" y="73"/>
                  </a:lnTo>
                  <a:lnTo>
                    <a:pt x="172" y="73"/>
                  </a:lnTo>
                  <a:lnTo>
                    <a:pt x="170" y="71"/>
                  </a:lnTo>
                  <a:lnTo>
                    <a:pt x="168" y="71"/>
                  </a:lnTo>
                  <a:lnTo>
                    <a:pt x="166" y="71"/>
                  </a:lnTo>
                  <a:lnTo>
                    <a:pt x="164" y="69"/>
                  </a:lnTo>
                  <a:lnTo>
                    <a:pt x="164" y="67"/>
                  </a:lnTo>
                  <a:lnTo>
                    <a:pt x="157" y="63"/>
                  </a:lnTo>
                  <a:lnTo>
                    <a:pt x="164" y="61"/>
                  </a:lnTo>
                  <a:lnTo>
                    <a:pt x="164" y="59"/>
                  </a:lnTo>
                  <a:lnTo>
                    <a:pt x="166" y="59"/>
                  </a:lnTo>
                  <a:lnTo>
                    <a:pt x="166" y="57"/>
                  </a:lnTo>
                  <a:lnTo>
                    <a:pt x="168" y="54"/>
                  </a:lnTo>
                  <a:lnTo>
                    <a:pt x="168" y="52"/>
                  </a:lnTo>
                  <a:lnTo>
                    <a:pt x="170" y="50"/>
                  </a:lnTo>
                  <a:lnTo>
                    <a:pt x="170" y="50"/>
                  </a:lnTo>
                  <a:lnTo>
                    <a:pt x="172" y="48"/>
                  </a:lnTo>
                  <a:lnTo>
                    <a:pt x="176" y="46"/>
                  </a:lnTo>
                  <a:lnTo>
                    <a:pt x="176" y="46"/>
                  </a:lnTo>
                  <a:lnTo>
                    <a:pt x="178" y="46"/>
                  </a:lnTo>
                  <a:lnTo>
                    <a:pt x="181" y="46"/>
                  </a:lnTo>
                  <a:lnTo>
                    <a:pt x="183" y="46"/>
                  </a:lnTo>
                  <a:lnTo>
                    <a:pt x="187" y="46"/>
                  </a:lnTo>
                  <a:lnTo>
                    <a:pt x="189" y="46"/>
                  </a:lnTo>
                  <a:lnTo>
                    <a:pt x="189" y="48"/>
                  </a:lnTo>
                  <a:lnTo>
                    <a:pt x="189" y="48"/>
                  </a:lnTo>
                  <a:lnTo>
                    <a:pt x="191" y="46"/>
                  </a:lnTo>
                  <a:lnTo>
                    <a:pt x="195" y="46"/>
                  </a:lnTo>
                  <a:lnTo>
                    <a:pt x="201" y="44"/>
                  </a:lnTo>
                  <a:lnTo>
                    <a:pt x="204" y="44"/>
                  </a:lnTo>
                  <a:lnTo>
                    <a:pt x="206" y="42"/>
                  </a:lnTo>
                  <a:lnTo>
                    <a:pt x="212" y="40"/>
                  </a:lnTo>
                  <a:lnTo>
                    <a:pt x="222" y="35"/>
                  </a:lnTo>
                  <a:lnTo>
                    <a:pt x="224" y="35"/>
                  </a:lnTo>
                  <a:lnTo>
                    <a:pt x="224" y="35"/>
                  </a:lnTo>
                  <a:lnTo>
                    <a:pt x="227" y="35"/>
                  </a:lnTo>
                  <a:lnTo>
                    <a:pt x="227" y="35"/>
                  </a:lnTo>
                  <a:lnTo>
                    <a:pt x="237" y="38"/>
                  </a:lnTo>
                  <a:lnTo>
                    <a:pt x="241" y="38"/>
                  </a:lnTo>
                  <a:lnTo>
                    <a:pt x="252" y="33"/>
                  </a:lnTo>
                  <a:lnTo>
                    <a:pt x="256" y="31"/>
                  </a:lnTo>
                  <a:lnTo>
                    <a:pt x="256" y="29"/>
                  </a:lnTo>
                  <a:lnTo>
                    <a:pt x="256" y="29"/>
                  </a:lnTo>
                  <a:lnTo>
                    <a:pt x="254" y="29"/>
                  </a:lnTo>
                  <a:lnTo>
                    <a:pt x="252" y="29"/>
                  </a:lnTo>
                  <a:lnTo>
                    <a:pt x="245" y="27"/>
                  </a:lnTo>
                  <a:lnTo>
                    <a:pt x="243" y="27"/>
                  </a:lnTo>
                  <a:lnTo>
                    <a:pt x="241" y="27"/>
                  </a:lnTo>
                  <a:lnTo>
                    <a:pt x="239" y="29"/>
                  </a:lnTo>
                  <a:lnTo>
                    <a:pt x="239" y="31"/>
                  </a:lnTo>
                  <a:lnTo>
                    <a:pt x="237" y="31"/>
                  </a:lnTo>
                  <a:lnTo>
                    <a:pt x="235" y="29"/>
                  </a:lnTo>
                  <a:lnTo>
                    <a:pt x="233" y="29"/>
                  </a:lnTo>
                  <a:lnTo>
                    <a:pt x="233" y="25"/>
                  </a:lnTo>
                  <a:lnTo>
                    <a:pt x="231" y="23"/>
                  </a:lnTo>
                  <a:lnTo>
                    <a:pt x="204" y="27"/>
                  </a:lnTo>
                  <a:lnTo>
                    <a:pt x="199" y="27"/>
                  </a:lnTo>
                  <a:lnTo>
                    <a:pt x="195" y="25"/>
                  </a:lnTo>
                  <a:lnTo>
                    <a:pt x="193" y="25"/>
                  </a:lnTo>
                  <a:lnTo>
                    <a:pt x="189" y="21"/>
                  </a:lnTo>
                  <a:lnTo>
                    <a:pt x="187" y="19"/>
                  </a:lnTo>
                  <a:lnTo>
                    <a:pt x="187" y="19"/>
                  </a:lnTo>
                  <a:lnTo>
                    <a:pt x="185" y="17"/>
                  </a:lnTo>
                  <a:lnTo>
                    <a:pt x="185" y="17"/>
                  </a:lnTo>
                  <a:lnTo>
                    <a:pt x="185" y="14"/>
                  </a:lnTo>
                  <a:lnTo>
                    <a:pt x="185" y="14"/>
                  </a:lnTo>
                  <a:lnTo>
                    <a:pt x="185" y="14"/>
                  </a:lnTo>
                  <a:lnTo>
                    <a:pt x="185" y="12"/>
                  </a:lnTo>
                  <a:lnTo>
                    <a:pt x="185" y="10"/>
                  </a:lnTo>
                  <a:lnTo>
                    <a:pt x="185" y="10"/>
                  </a:lnTo>
                  <a:lnTo>
                    <a:pt x="185" y="10"/>
                  </a:lnTo>
                  <a:lnTo>
                    <a:pt x="187" y="10"/>
                  </a:lnTo>
                  <a:lnTo>
                    <a:pt x="187" y="10"/>
                  </a:lnTo>
                  <a:lnTo>
                    <a:pt x="187" y="8"/>
                  </a:lnTo>
                  <a:lnTo>
                    <a:pt x="187" y="8"/>
                  </a:lnTo>
                  <a:lnTo>
                    <a:pt x="187" y="6"/>
                  </a:lnTo>
                  <a:lnTo>
                    <a:pt x="187" y="6"/>
                  </a:lnTo>
                  <a:lnTo>
                    <a:pt x="187" y="4"/>
                  </a:lnTo>
                  <a:lnTo>
                    <a:pt x="185" y="4"/>
                  </a:lnTo>
                  <a:lnTo>
                    <a:pt x="183" y="6"/>
                  </a:lnTo>
                  <a:lnTo>
                    <a:pt x="181" y="8"/>
                  </a:lnTo>
                  <a:lnTo>
                    <a:pt x="178" y="8"/>
                  </a:lnTo>
                  <a:lnTo>
                    <a:pt x="174" y="8"/>
                  </a:lnTo>
                  <a:lnTo>
                    <a:pt x="174" y="8"/>
                  </a:lnTo>
                  <a:lnTo>
                    <a:pt x="168" y="10"/>
                  </a:lnTo>
                  <a:lnTo>
                    <a:pt x="160" y="6"/>
                  </a:lnTo>
                  <a:lnTo>
                    <a:pt x="157" y="4"/>
                  </a:lnTo>
                  <a:lnTo>
                    <a:pt x="155" y="4"/>
                  </a:lnTo>
                  <a:lnTo>
                    <a:pt x="151" y="2"/>
                  </a:lnTo>
                  <a:lnTo>
                    <a:pt x="149" y="2"/>
                  </a:lnTo>
                  <a:lnTo>
                    <a:pt x="141" y="0"/>
                  </a:lnTo>
                  <a:lnTo>
                    <a:pt x="139" y="0"/>
                  </a:lnTo>
                  <a:lnTo>
                    <a:pt x="137" y="2"/>
                  </a:lnTo>
                  <a:lnTo>
                    <a:pt x="137" y="4"/>
                  </a:lnTo>
                  <a:lnTo>
                    <a:pt x="134" y="4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0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6" y="4"/>
                  </a:lnTo>
                  <a:lnTo>
                    <a:pt x="126" y="6"/>
                  </a:lnTo>
                  <a:lnTo>
                    <a:pt x="126" y="8"/>
                  </a:lnTo>
                  <a:lnTo>
                    <a:pt x="126" y="12"/>
                  </a:lnTo>
                  <a:lnTo>
                    <a:pt x="126" y="14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4" y="19"/>
                  </a:lnTo>
                  <a:lnTo>
                    <a:pt x="124" y="19"/>
                  </a:lnTo>
                  <a:lnTo>
                    <a:pt x="124" y="19"/>
                  </a:lnTo>
                  <a:lnTo>
                    <a:pt x="124" y="21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33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1" y="35"/>
                  </a:lnTo>
                  <a:lnTo>
                    <a:pt x="107" y="42"/>
                  </a:lnTo>
                  <a:lnTo>
                    <a:pt x="105" y="46"/>
                  </a:lnTo>
                  <a:lnTo>
                    <a:pt x="107" y="48"/>
                  </a:lnTo>
                  <a:lnTo>
                    <a:pt x="105" y="52"/>
                  </a:lnTo>
                  <a:lnTo>
                    <a:pt x="103" y="52"/>
                  </a:lnTo>
                  <a:lnTo>
                    <a:pt x="101" y="52"/>
                  </a:lnTo>
                  <a:lnTo>
                    <a:pt x="101" y="52"/>
                  </a:lnTo>
                  <a:lnTo>
                    <a:pt x="99" y="50"/>
                  </a:lnTo>
                  <a:lnTo>
                    <a:pt x="97" y="50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5" y="52"/>
                  </a:lnTo>
                  <a:lnTo>
                    <a:pt x="93" y="52"/>
                  </a:lnTo>
                  <a:lnTo>
                    <a:pt x="93" y="50"/>
                  </a:lnTo>
                  <a:lnTo>
                    <a:pt x="88" y="50"/>
                  </a:lnTo>
                  <a:lnTo>
                    <a:pt x="86" y="50"/>
                  </a:lnTo>
                  <a:lnTo>
                    <a:pt x="86" y="48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2" y="44"/>
                  </a:lnTo>
                  <a:lnTo>
                    <a:pt x="82" y="40"/>
                  </a:lnTo>
                  <a:lnTo>
                    <a:pt x="82" y="35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76" y="33"/>
                  </a:lnTo>
                  <a:lnTo>
                    <a:pt x="74" y="35"/>
                  </a:lnTo>
                  <a:lnTo>
                    <a:pt x="72" y="40"/>
                  </a:lnTo>
                  <a:lnTo>
                    <a:pt x="72" y="48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1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3" y="57"/>
                  </a:lnTo>
                  <a:lnTo>
                    <a:pt x="53" y="59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3" y="67"/>
                  </a:lnTo>
                  <a:lnTo>
                    <a:pt x="53" y="71"/>
                  </a:lnTo>
                  <a:lnTo>
                    <a:pt x="53" y="75"/>
                  </a:lnTo>
                  <a:lnTo>
                    <a:pt x="53" y="78"/>
                  </a:lnTo>
                  <a:lnTo>
                    <a:pt x="51" y="80"/>
                  </a:lnTo>
                  <a:lnTo>
                    <a:pt x="46" y="80"/>
                  </a:lnTo>
                  <a:lnTo>
                    <a:pt x="44" y="80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0" y="82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6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6" y="92"/>
                  </a:lnTo>
                  <a:lnTo>
                    <a:pt x="36" y="94"/>
                  </a:lnTo>
                  <a:lnTo>
                    <a:pt x="36" y="96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101"/>
                  </a:lnTo>
                  <a:lnTo>
                    <a:pt x="30" y="103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7"/>
                  </a:lnTo>
                  <a:lnTo>
                    <a:pt x="30" y="109"/>
                  </a:lnTo>
                  <a:lnTo>
                    <a:pt x="36" y="117"/>
                  </a:lnTo>
                  <a:lnTo>
                    <a:pt x="38" y="120"/>
                  </a:lnTo>
                  <a:lnTo>
                    <a:pt x="38" y="122"/>
                  </a:lnTo>
                  <a:lnTo>
                    <a:pt x="36" y="130"/>
                  </a:lnTo>
                  <a:lnTo>
                    <a:pt x="34" y="132"/>
                  </a:lnTo>
                  <a:lnTo>
                    <a:pt x="34" y="134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28" y="134"/>
                  </a:lnTo>
                  <a:lnTo>
                    <a:pt x="28" y="132"/>
                  </a:lnTo>
                  <a:lnTo>
                    <a:pt x="25" y="130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19" y="124"/>
                  </a:lnTo>
                  <a:lnTo>
                    <a:pt x="17" y="124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3" y="128"/>
                  </a:lnTo>
                  <a:lnTo>
                    <a:pt x="15" y="132"/>
                  </a:lnTo>
                  <a:lnTo>
                    <a:pt x="17" y="134"/>
                  </a:lnTo>
                  <a:lnTo>
                    <a:pt x="19" y="136"/>
                  </a:lnTo>
                  <a:lnTo>
                    <a:pt x="21" y="136"/>
                  </a:lnTo>
                  <a:lnTo>
                    <a:pt x="23" y="138"/>
                  </a:lnTo>
                  <a:lnTo>
                    <a:pt x="28" y="138"/>
                  </a:lnTo>
                  <a:lnTo>
                    <a:pt x="30" y="136"/>
                  </a:lnTo>
                  <a:lnTo>
                    <a:pt x="30" y="138"/>
                  </a:lnTo>
                  <a:lnTo>
                    <a:pt x="30" y="141"/>
                  </a:lnTo>
                  <a:lnTo>
                    <a:pt x="32" y="143"/>
                  </a:lnTo>
                  <a:lnTo>
                    <a:pt x="30" y="145"/>
                  </a:lnTo>
                  <a:lnTo>
                    <a:pt x="30" y="147"/>
                  </a:lnTo>
                  <a:lnTo>
                    <a:pt x="28" y="149"/>
                  </a:lnTo>
                  <a:lnTo>
                    <a:pt x="25" y="170"/>
                  </a:lnTo>
                  <a:lnTo>
                    <a:pt x="25" y="172"/>
                  </a:lnTo>
                  <a:lnTo>
                    <a:pt x="28" y="176"/>
                  </a:lnTo>
                  <a:lnTo>
                    <a:pt x="28" y="176"/>
                  </a:lnTo>
                  <a:lnTo>
                    <a:pt x="28" y="180"/>
                  </a:lnTo>
                  <a:lnTo>
                    <a:pt x="30" y="183"/>
                  </a:lnTo>
                  <a:lnTo>
                    <a:pt x="32" y="189"/>
                  </a:lnTo>
                  <a:lnTo>
                    <a:pt x="32" y="189"/>
                  </a:lnTo>
                  <a:lnTo>
                    <a:pt x="32" y="191"/>
                  </a:lnTo>
                  <a:lnTo>
                    <a:pt x="34" y="193"/>
                  </a:lnTo>
                  <a:lnTo>
                    <a:pt x="36" y="193"/>
                  </a:lnTo>
                  <a:lnTo>
                    <a:pt x="36" y="195"/>
                  </a:lnTo>
                  <a:lnTo>
                    <a:pt x="36" y="197"/>
                  </a:lnTo>
                  <a:lnTo>
                    <a:pt x="36" y="199"/>
                  </a:lnTo>
                  <a:lnTo>
                    <a:pt x="36" y="199"/>
                  </a:lnTo>
                  <a:lnTo>
                    <a:pt x="36" y="201"/>
                  </a:lnTo>
                  <a:lnTo>
                    <a:pt x="36" y="204"/>
                  </a:lnTo>
                  <a:lnTo>
                    <a:pt x="36" y="206"/>
                  </a:lnTo>
                  <a:lnTo>
                    <a:pt x="34" y="208"/>
                  </a:lnTo>
                  <a:lnTo>
                    <a:pt x="32" y="208"/>
                  </a:lnTo>
                  <a:lnTo>
                    <a:pt x="32" y="206"/>
                  </a:lnTo>
                  <a:lnTo>
                    <a:pt x="30" y="199"/>
                  </a:lnTo>
                  <a:lnTo>
                    <a:pt x="25" y="193"/>
                  </a:lnTo>
                  <a:lnTo>
                    <a:pt x="25" y="191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3" y="187"/>
                  </a:lnTo>
                  <a:lnTo>
                    <a:pt x="21" y="189"/>
                  </a:lnTo>
                  <a:lnTo>
                    <a:pt x="19" y="191"/>
                  </a:lnTo>
                  <a:lnTo>
                    <a:pt x="17" y="191"/>
                  </a:lnTo>
                  <a:lnTo>
                    <a:pt x="17" y="191"/>
                  </a:lnTo>
                  <a:lnTo>
                    <a:pt x="17" y="193"/>
                  </a:lnTo>
                  <a:lnTo>
                    <a:pt x="17" y="193"/>
                  </a:lnTo>
                  <a:lnTo>
                    <a:pt x="19" y="195"/>
                  </a:lnTo>
                  <a:lnTo>
                    <a:pt x="15" y="199"/>
                  </a:lnTo>
                  <a:lnTo>
                    <a:pt x="11" y="201"/>
                  </a:lnTo>
                  <a:lnTo>
                    <a:pt x="11" y="201"/>
                  </a:lnTo>
                  <a:lnTo>
                    <a:pt x="11" y="204"/>
                  </a:lnTo>
                  <a:lnTo>
                    <a:pt x="9" y="204"/>
                  </a:lnTo>
                  <a:lnTo>
                    <a:pt x="9" y="206"/>
                  </a:lnTo>
                  <a:lnTo>
                    <a:pt x="9" y="206"/>
                  </a:lnTo>
                  <a:lnTo>
                    <a:pt x="9" y="206"/>
                  </a:lnTo>
                  <a:lnTo>
                    <a:pt x="9" y="210"/>
                  </a:lnTo>
                  <a:lnTo>
                    <a:pt x="9" y="220"/>
                  </a:lnTo>
                  <a:lnTo>
                    <a:pt x="9" y="222"/>
                  </a:lnTo>
                  <a:lnTo>
                    <a:pt x="9" y="225"/>
                  </a:lnTo>
                  <a:lnTo>
                    <a:pt x="11" y="231"/>
                  </a:lnTo>
                  <a:lnTo>
                    <a:pt x="11" y="235"/>
                  </a:lnTo>
                  <a:lnTo>
                    <a:pt x="11" y="237"/>
                  </a:lnTo>
                  <a:lnTo>
                    <a:pt x="11" y="237"/>
                  </a:lnTo>
                  <a:lnTo>
                    <a:pt x="5" y="241"/>
                  </a:lnTo>
                  <a:lnTo>
                    <a:pt x="2" y="243"/>
                  </a:lnTo>
                  <a:lnTo>
                    <a:pt x="2" y="243"/>
                  </a:lnTo>
                  <a:lnTo>
                    <a:pt x="0" y="248"/>
                  </a:lnTo>
                  <a:lnTo>
                    <a:pt x="0" y="250"/>
                  </a:lnTo>
                  <a:lnTo>
                    <a:pt x="0" y="252"/>
                  </a:lnTo>
                  <a:lnTo>
                    <a:pt x="2" y="252"/>
                  </a:lnTo>
                  <a:lnTo>
                    <a:pt x="5" y="254"/>
                  </a:lnTo>
                  <a:lnTo>
                    <a:pt x="15" y="258"/>
                  </a:lnTo>
                  <a:lnTo>
                    <a:pt x="17" y="258"/>
                  </a:lnTo>
                  <a:lnTo>
                    <a:pt x="17" y="260"/>
                  </a:lnTo>
                  <a:lnTo>
                    <a:pt x="19" y="260"/>
                  </a:lnTo>
                  <a:lnTo>
                    <a:pt x="19" y="264"/>
                  </a:lnTo>
                  <a:lnTo>
                    <a:pt x="21" y="273"/>
                  </a:lnTo>
                  <a:lnTo>
                    <a:pt x="21" y="277"/>
                  </a:lnTo>
                  <a:lnTo>
                    <a:pt x="23" y="277"/>
                  </a:lnTo>
                  <a:lnTo>
                    <a:pt x="28" y="283"/>
                  </a:lnTo>
                  <a:lnTo>
                    <a:pt x="30" y="286"/>
                  </a:lnTo>
                  <a:lnTo>
                    <a:pt x="32" y="290"/>
                  </a:lnTo>
                  <a:lnTo>
                    <a:pt x="34" y="292"/>
                  </a:lnTo>
                  <a:lnTo>
                    <a:pt x="34" y="294"/>
                  </a:lnTo>
                  <a:lnTo>
                    <a:pt x="34" y="294"/>
                  </a:lnTo>
                  <a:lnTo>
                    <a:pt x="34" y="298"/>
                  </a:lnTo>
                  <a:lnTo>
                    <a:pt x="32" y="302"/>
                  </a:lnTo>
                  <a:lnTo>
                    <a:pt x="32" y="304"/>
                  </a:lnTo>
                  <a:lnTo>
                    <a:pt x="32" y="307"/>
                  </a:lnTo>
                  <a:lnTo>
                    <a:pt x="32" y="307"/>
                  </a:lnTo>
                  <a:lnTo>
                    <a:pt x="34" y="309"/>
                  </a:lnTo>
                  <a:lnTo>
                    <a:pt x="34" y="309"/>
                  </a:lnTo>
                  <a:lnTo>
                    <a:pt x="36" y="311"/>
                  </a:lnTo>
                  <a:lnTo>
                    <a:pt x="36" y="311"/>
                  </a:lnTo>
                  <a:lnTo>
                    <a:pt x="40" y="309"/>
                  </a:lnTo>
                  <a:lnTo>
                    <a:pt x="46" y="304"/>
                  </a:lnTo>
                  <a:lnTo>
                    <a:pt x="53" y="302"/>
                  </a:lnTo>
                  <a:lnTo>
                    <a:pt x="55" y="300"/>
                  </a:lnTo>
                  <a:lnTo>
                    <a:pt x="59" y="300"/>
                  </a:lnTo>
                  <a:lnTo>
                    <a:pt x="63" y="302"/>
                  </a:lnTo>
                  <a:lnTo>
                    <a:pt x="76" y="304"/>
                  </a:lnTo>
                  <a:lnTo>
                    <a:pt x="80" y="304"/>
                  </a:lnTo>
                  <a:lnTo>
                    <a:pt x="82" y="304"/>
                  </a:lnTo>
                  <a:lnTo>
                    <a:pt x="82" y="304"/>
                  </a:lnTo>
                  <a:lnTo>
                    <a:pt x="82" y="304"/>
                  </a:lnTo>
                  <a:lnTo>
                    <a:pt x="84" y="302"/>
                  </a:lnTo>
                  <a:lnTo>
                    <a:pt x="84" y="300"/>
                  </a:lnTo>
                  <a:lnTo>
                    <a:pt x="84" y="300"/>
                  </a:lnTo>
                  <a:lnTo>
                    <a:pt x="86" y="300"/>
                  </a:lnTo>
                  <a:lnTo>
                    <a:pt x="88" y="300"/>
                  </a:lnTo>
                  <a:lnTo>
                    <a:pt x="90" y="302"/>
                  </a:lnTo>
                  <a:lnTo>
                    <a:pt x="101" y="317"/>
                  </a:lnTo>
                  <a:lnTo>
                    <a:pt x="105" y="321"/>
                  </a:lnTo>
                  <a:lnTo>
                    <a:pt x="107" y="323"/>
                  </a:lnTo>
                  <a:lnTo>
                    <a:pt x="122" y="336"/>
                  </a:lnTo>
                  <a:lnTo>
                    <a:pt x="124" y="336"/>
                  </a:lnTo>
                  <a:lnTo>
                    <a:pt x="176" y="346"/>
                  </a:lnTo>
                  <a:lnTo>
                    <a:pt x="181" y="349"/>
                  </a:lnTo>
                  <a:lnTo>
                    <a:pt x="185" y="351"/>
                  </a:lnTo>
                  <a:lnTo>
                    <a:pt x="187" y="353"/>
                  </a:lnTo>
                  <a:lnTo>
                    <a:pt x="189" y="353"/>
                  </a:lnTo>
                  <a:lnTo>
                    <a:pt x="195" y="359"/>
                  </a:lnTo>
                  <a:lnTo>
                    <a:pt x="201" y="365"/>
                  </a:lnTo>
                  <a:lnTo>
                    <a:pt x="204" y="367"/>
                  </a:lnTo>
                  <a:lnTo>
                    <a:pt x="214" y="372"/>
                  </a:lnTo>
                  <a:lnTo>
                    <a:pt x="216" y="374"/>
                  </a:lnTo>
                  <a:lnTo>
                    <a:pt x="216" y="376"/>
                  </a:lnTo>
                  <a:lnTo>
                    <a:pt x="218" y="378"/>
                  </a:lnTo>
                  <a:lnTo>
                    <a:pt x="218" y="380"/>
                  </a:lnTo>
                  <a:lnTo>
                    <a:pt x="218" y="382"/>
                  </a:lnTo>
                  <a:lnTo>
                    <a:pt x="218" y="384"/>
                  </a:lnTo>
                  <a:lnTo>
                    <a:pt x="218" y="386"/>
                  </a:lnTo>
                  <a:lnTo>
                    <a:pt x="218" y="388"/>
                  </a:lnTo>
                  <a:lnTo>
                    <a:pt x="216" y="391"/>
                  </a:lnTo>
                  <a:lnTo>
                    <a:pt x="201" y="405"/>
                  </a:lnTo>
                  <a:lnTo>
                    <a:pt x="199" y="405"/>
                  </a:lnTo>
                  <a:lnTo>
                    <a:pt x="206" y="407"/>
                  </a:lnTo>
                  <a:lnTo>
                    <a:pt x="216" y="407"/>
                  </a:lnTo>
                  <a:lnTo>
                    <a:pt x="220" y="407"/>
                  </a:lnTo>
                  <a:lnTo>
                    <a:pt x="243" y="418"/>
                  </a:lnTo>
                  <a:lnTo>
                    <a:pt x="245" y="418"/>
                  </a:lnTo>
                  <a:lnTo>
                    <a:pt x="250" y="418"/>
                  </a:lnTo>
                  <a:lnTo>
                    <a:pt x="252" y="418"/>
                  </a:lnTo>
                  <a:lnTo>
                    <a:pt x="254" y="418"/>
                  </a:lnTo>
                  <a:lnTo>
                    <a:pt x="256" y="418"/>
                  </a:lnTo>
                  <a:lnTo>
                    <a:pt x="258" y="420"/>
                  </a:lnTo>
                  <a:lnTo>
                    <a:pt x="264" y="426"/>
                  </a:lnTo>
                  <a:lnTo>
                    <a:pt x="271" y="430"/>
                  </a:lnTo>
                  <a:lnTo>
                    <a:pt x="271" y="430"/>
                  </a:lnTo>
                  <a:lnTo>
                    <a:pt x="271" y="428"/>
                  </a:lnTo>
                  <a:lnTo>
                    <a:pt x="273" y="430"/>
                  </a:lnTo>
                  <a:lnTo>
                    <a:pt x="275" y="430"/>
                  </a:lnTo>
                  <a:lnTo>
                    <a:pt x="275" y="430"/>
                  </a:lnTo>
                  <a:lnTo>
                    <a:pt x="275" y="430"/>
                  </a:lnTo>
                  <a:lnTo>
                    <a:pt x="275" y="430"/>
                  </a:lnTo>
                  <a:lnTo>
                    <a:pt x="277" y="430"/>
                  </a:lnTo>
                  <a:lnTo>
                    <a:pt x="277" y="430"/>
                  </a:lnTo>
                  <a:lnTo>
                    <a:pt x="277" y="433"/>
                  </a:lnTo>
                  <a:lnTo>
                    <a:pt x="279" y="433"/>
                  </a:lnTo>
                  <a:lnTo>
                    <a:pt x="279" y="430"/>
                  </a:lnTo>
                  <a:lnTo>
                    <a:pt x="279" y="430"/>
                  </a:lnTo>
                  <a:lnTo>
                    <a:pt x="279" y="428"/>
                  </a:lnTo>
                  <a:lnTo>
                    <a:pt x="279" y="428"/>
                  </a:lnTo>
                  <a:lnTo>
                    <a:pt x="279" y="426"/>
                  </a:lnTo>
                  <a:lnTo>
                    <a:pt x="279" y="426"/>
                  </a:lnTo>
                  <a:lnTo>
                    <a:pt x="279" y="426"/>
                  </a:lnTo>
                  <a:lnTo>
                    <a:pt x="281" y="426"/>
                  </a:lnTo>
                  <a:lnTo>
                    <a:pt x="281" y="424"/>
                  </a:lnTo>
                  <a:lnTo>
                    <a:pt x="281" y="424"/>
                  </a:lnTo>
                  <a:lnTo>
                    <a:pt x="283" y="422"/>
                  </a:lnTo>
                  <a:lnTo>
                    <a:pt x="281" y="422"/>
                  </a:lnTo>
                  <a:lnTo>
                    <a:pt x="281" y="424"/>
                  </a:lnTo>
                  <a:lnTo>
                    <a:pt x="279" y="422"/>
                  </a:lnTo>
                  <a:lnTo>
                    <a:pt x="279" y="422"/>
                  </a:lnTo>
                  <a:lnTo>
                    <a:pt x="279" y="420"/>
                  </a:lnTo>
                  <a:lnTo>
                    <a:pt x="279" y="420"/>
                  </a:lnTo>
                  <a:lnTo>
                    <a:pt x="277" y="420"/>
                  </a:lnTo>
                  <a:lnTo>
                    <a:pt x="277" y="420"/>
                  </a:lnTo>
                  <a:lnTo>
                    <a:pt x="275" y="422"/>
                  </a:lnTo>
                  <a:lnTo>
                    <a:pt x="275" y="420"/>
                  </a:lnTo>
                  <a:lnTo>
                    <a:pt x="266" y="414"/>
                  </a:lnTo>
                  <a:lnTo>
                    <a:pt x="264" y="414"/>
                  </a:lnTo>
                  <a:lnTo>
                    <a:pt x="264" y="412"/>
                  </a:lnTo>
                  <a:lnTo>
                    <a:pt x="262" y="409"/>
                  </a:lnTo>
                  <a:lnTo>
                    <a:pt x="264" y="405"/>
                  </a:lnTo>
                  <a:lnTo>
                    <a:pt x="266" y="401"/>
                  </a:lnTo>
                  <a:lnTo>
                    <a:pt x="264" y="399"/>
                  </a:lnTo>
                  <a:lnTo>
                    <a:pt x="262" y="397"/>
                  </a:lnTo>
                  <a:lnTo>
                    <a:pt x="260" y="397"/>
                  </a:lnTo>
                  <a:lnTo>
                    <a:pt x="258" y="397"/>
                  </a:lnTo>
                  <a:lnTo>
                    <a:pt x="256" y="397"/>
                  </a:lnTo>
                  <a:lnTo>
                    <a:pt x="256" y="395"/>
                  </a:lnTo>
                  <a:lnTo>
                    <a:pt x="254" y="393"/>
                  </a:lnTo>
                  <a:lnTo>
                    <a:pt x="254" y="391"/>
                  </a:lnTo>
                  <a:lnTo>
                    <a:pt x="254" y="391"/>
                  </a:lnTo>
                  <a:lnTo>
                    <a:pt x="252" y="391"/>
                  </a:lnTo>
                  <a:lnTo>
                    <a:pt x="252" y="388"/>
                  </a:lnTo>
                  <a:lnTo>
                    <a:pt x="252" y="388"/>
                  </a:lnTo>
                  <a:lnTo>
                    <a:pt x="252" y="388"/>
                  </a:lnTo>
                  <a:lnTo>
                    <a:pt x="250" y="386"/>
                  </a:lnTo>
                  <a:lnTo>
                    <a:pt x="248" y="386"/>
                  </a:lnTo>
                  <a:lnTo>
                    <a:pt x="245" y="386"/>
                  </a:lnTo>
                  <a:lnTo>
                    <a:pt x="243" y="384"/>
                  </a:lnTo>
                  <a:lnTo>
                    <a:pt x="239" y="380"/>
                  </a:lnTo>
                  <a:lnTo>
                    <a:pt x="239" y="378"/>
                  </a:lnTo>
                  <a:lnTo>
                    <a:pt x="239" y="374"/>
                  </a:lnTo>
                  <a:lnTo>
                    <a:pt x="239" y="372"/>
                  </a:lnTo>
                  <a:lnTo>
                    <a:pt x="239" y="370"/>
                  </a:lnTo>
                  <a:lnTo>
                    <a:pt x="235" y="367"/>
                  </a:lnTo>
                  <a:lnTo>
                    <a:pt x="235" y="363"/>
                  </a:lnTo>
                  <a:lnTo>
                    <a:pt x="231" y="359"/>
                  </a:lnTo>
                  <a:lnTo>
                    <a:pt x="227" y="353"/>
                  </a:lnTo>
                  <a:lnTo>
                    <a:pt x="227" y="353"/>
                  </a:lnTo>
                  <a:lnTo>
                    <a:pt x="224" y="351"/>
                  </a:lnTo>
                  <a:lnTo>
                    <a:pt x="224" y="349"/>
                  </a:lnTo>
                  <a:lnTo>
                    <a:pt x="222" y="344"/>
                  </a:lnTo>
                  <a:lnTo>
                    <a:pt x="220" y="342"/>
                  </a:lnTo>
                  <a:lnTo>
                    <a:pt x="216" y="338"/>
                  </a:lnTo>
                  <a:lnTo>
                    <a:pt x="212" y="334"/>
                  </a:lnTo>
                  <a:lnTo>
                    <a:pt x="210" y="332"/>
                  </a:lnTo>
                  <a:lnTo>
                    <a:pt x="206" y="332"/>
                  </a:lnTo>
                  <a:lnTo>
                    <a:pt x="201" y="332"/>
                  </a:lnTo>
                  <a:lnTo>
                    <a:pt x="197" y="330"/>
                  </a:lnTo>
                  <a:lnTo>
                    <a:pt x="195" y="328"/>
                  </a:lnTo>
                  <a:lnTo>
                    <a:pt x="193" y="319"/>
                  </a:lnTo>
                  <a:lnTo>
                    <a:pt x="191" y="317"/>
                  </a:lnTo>
                  <a:lnTo>
                    <a:pt x="189" y="317"/>
                  </a:lnTo>
                  <a:lnTo>
                    <a:pt x="189" y="317"/>
                  </a:lnTo>
                  <a:lnTo>
                    <a:pt x="187" y="315"/>
                  </a:lnTo>
                  <a:lnTo>
                    <a:pt x="185" y="313"/>
                  </a:lnTo>
                  <a:lnTo>
                    <a:pt x="183" y="309"/>
                  </a:lnTo>
                  <a:lnTo>
                    <a:pt x="181" y="307"/>
                  </a:lnTo>
                  <a:lnTo>
                    <a:pt x="181" y="307"/>
                  </a:lnTo>
                  <a:lnTo>
                    <a:pt x="178" y="309"/>
                  </a:lnTo>
                  <a:lnTo>
                    <a:pt x="178" y="309"/>
                  </a:lnTo>
                  <a:lnTo>
                    <a:pt x="178" y="311"/>
                  </a:lnTo>
                  <a:lnTo>
                    <a:pt x="178" y="311"/>
                  </a:lnTo>
                  <a:lnTo>
                    <a:pt x="176" y="313"/>
                  </a:lnTo>
                  <a:lnTo>
                    <a:pt x="176" y="313"/>
                  </a:lnTo>
                  <a:lnTo>
                    <a:pt x="176" y="313"/>
                  </a:lnTo>
                  <a:lnTo>
                    <a:pt x="176" y="309"/>
                  </a:lnTo>
                  <a:lnTo>
                    <a:pt x="174" y="309"/>
                  </a:lnTo>
                  <a:lnTo>
                    <a:pt x="174" y="309"/>
                  </a:lnTo>
                  <a:lnTo>
                    <a:pt x="174" y="307"/>
                  </a:lnTo>
                  <a:lnTo>
                    <a:pt x="174" y="304"/>
                  </a:lnTo>
                  <a:lnTo>
                    <a:pt x="176" y="302"/>
                  </a:lnTo>
                  <a:lnTo>
                    <a:pt x="176" y="300"/>
                  </a:lnTo>
                  <a:lnTo>
                    <a:pt x="176" y="300"/>
                  </a:lnTo>
                  <a:lnTo>
                    <a:pt x="172" y="300"/>
                  </a:lnTo>
                  <a:lnTo>
                    <a:pt x="172" y="298"/>
                  </a:lnTo>
                  <a:lnTo>
                    <a:pt x="172" y="294"/>
                  </a:lnTo>
                  <a:lnTo>
                    <a:pt x="176" y="294"/>
                  </a:lnTo>
                  <a:lnTo>
                    <a:pt x="176" y="294"/>
                  </a:lnTo>
                  <a:lnTo>
                    <a:pt x="178" y="296"/>
                  </a:lnTo>
                  <a:lnTo>
                    <a:pt x="178" y="296"/>
                  </a:lnTo>
                  <a:lnTo>
                    <a:pt x="183" y="296"/>
                  </a:lnTo>
                  <a:lnTo>
                    <a:pt x="185" y="296"/>
                  </a:lnTo>
                  <a:lnTo>
                    <a:pt x="185" y="298"/>
                  </a:lnTo>
                  <a:lnTo>
                    <a:pt x="185" y="300"/>
                  </a:lnTo>
                  <a:lnTo>
                    <a:pt x="187" y="302"/>
                  </a:lnTo>
                  <a:lnTo>
                    <a:pt x="189" y="302"/>
                  </a:lnTo>
                  <a:lnTo>
                    <a:pt x="191" y="302"/>
                  </a:lnTo>
                  <a:lnTo>
                    <a:pt x="191" y="302"/>
                  </a:lnTo>
                  <a:lnTo>
                    <a:pt x="191" y="304"/>
                  </a:lnTo>
                  <a:lnTo>
                    <a:pt x="193" y="307"/>
                  </a:lnTo>
                  <a:lnTo>
                    <a:pt x="193" y="307"/>
                  </a:lnTo>
                  <a:lnTo>
                    <a:pt x="195" y="307"/>
                  </a:lnTo>
                  <a:lnTo>
                    <a:pt x="195" y="309"/>
                  </a:lnTo>
                  <a:lnTo>
                    <a:pt x="197" y="309"/>
                  </a:lnTo>
                  <a:lnTo>
                    <a:pt x="201" y="309"/>
                  </a:lnTo>
                  <a:lnTo>
                    <a:pt x="206" y="307"/>
                  </a:lnTo>
                  <a:lnTo>
                    <a:pt x="208" y="307"/>
                  </a:lnTo>
                  <a:lnTo>
                    <a:pt x="212" y="304"/>
                  </a:lnTo>
                  <a:lnTo>
                    <a:pt x="212" y="302"/>
                  </a:lnTo>
                  <a:lnTo>
                    <a:pt x="214" y="298"/>
                  </a:lnTo>
                  <a:lnTo>
                    <a:pt x="216" y="294"/>
                  </a:lnTo>
                  <a:lnTo>
                    <a:pt x="218" y="290"/>
                  </a:lnTo>
                  <a:lnTo>
                    <a:pt x="218" y="288"/>
                  </a:lnTo>
                  <a:lnTo>
                    <a:pt x="220" y="288"/>
                  </a:lnTo>
                  <a:lnTo>
                    <a:pt x="220" y="288"/>
                  </a:lnTo>
                  <a:lnTo>
                    <a:pt x="222" y="286"/>
                  </a:lnTo>
                  <a:lnTo>
                    <a:pt x="222" y="286"/>
                  </a:lnTo>
                  <a:lnTo>
                    <a:pt x="224" y="286"/>
                  </a:lnTo>
                  <a:lnTo>
                    <a:pt x="224" y="283"/>
                  </a:lnTo>
                  <a:lnTo>
                    <a:pt x="229" y="283"/>
                  </a:lnTo>
                  <a:lnTo>
                    <a:pt x="231" y="283"/>
                  </a:lnTo>
                  <a:lnTo>
                    <a:pt x="233" y="283"/>
                  </a:lnTo>
                  <a:lnTo>
                    <a:pt x="233" y="283"/>
                  </a:lnTo>
                  <a:lnTo>
                    <a:pt x="235" y="281"/>
                  </a:lnTo>
                  <a:lnTo>
                    <a:pt x="237" y="279"/>
                  </a:lnTo>
                  <a:lnTo>
                    <a:pt x="239" y="279"/>
                  </a:lnTo>
                  <a:lnTo>
                    <a:pt x="239" y="279"/>
                  </a:lnTo>
                  <a:lnTo>
                    <a:pt x="239" y="279"/>
                  </a:lnTo>
                  <a:lnTo>
                    <a:pt x="239" y="279"/>
                  </a:lnTo>
                  <a:lnTo>
                    <a:pt x="241" y="279"/>
                  </a:lnTo>
                  <a:lnTo>
                    <a:pt x="243" y="279"/>
                  </a:lnTo>
                  <a:lnTo>
                    <a:pt x="243" y="279"/>
                  </a:lnTo>
                  <a:lnTo>
                    <a:pt x="245" y="279"/>
                  </a:lnTo>
                  <a:lnTo>
                    <a:pt x="250" y="277"/>
                  </a:lnTo>
                  <a:lnTo>
                    <a:pt x="252" y="277"/>
                  </a:lnTo>
                  <a:lnTo>
                    <a:pt x="252" y="277"/>
                  </a:lnTo>
                  <a:lnTo>
                    <a:pt x="254" y="277"/>
                  </a:lnTo>
                  <a:lnTo>
                    <a:pt x="256" y="279"/>
                  </a:lnTo>
                  <a:lnTo>
                    <a:pt x="256" y="277"/>
                  </a:lnTo>
                  <a:lnTo>
                    <a:pt x="260" y="275"/>
                  </a:lnTo>
                  <a:lnTo>
                    <a:pt x="266" y="271"/>
                  </a:lnTo>
                  <a:lnTo>
                    <a:pt x="273" y="267"/>
                  </a:lnTo>
                  <a:lnTo>
                    <a:pt x="273" y="264"/>
                  </a:lnTo>
                  <a:lnTo>
                    <a:pt x="277" y="262"/>
                  </a:lnTo>
                  <a:lnTo>
                    <a:pt x="283" y="256"/>
                  </a:lnTo>
                  <a:lnTo>
                    <a:pt x="283" y="256"/>
                  </a:lnTo>
                  <a:lnTo>
                    <a:pt x="285" y="254"/>
                  </a:lnTo>
                  <a:lnTo>
                    <a:pt x="285" y="252"/>
                  </a:lnTo>
                  <a:lnTo>
                    <a:pt x="285" y="252"/>
                  </a:lnTo>
                  <a:lnTo>
                    <a:pt x="285" y="252"/>
                  </a:lnTo>
                  <a:lnTo>
                    <a:pt x="287" y="250"/>
                  </a:lnTo>
                  <a:lnTo>
                    <a:pt x="292" y="243"/>
                  </a:lnTo>
                  <a:lnTo>
                    <a:pt x="294" y="243"/>
                  </a:lnTo>
                  <a:lnTo>
                    <a:pt x="296" y="241"/>
                  </a:lnTo>
                  <a:lnTo>
                    <a:pt x="298" y="239"/>
                  </a:lnTo>
                  <a:lnTo>
                    <a:pt x="298" y="235"/>
                  </a:lnTo>
                  <a:lnTo>
                    <a:pt x="300" y="233"/>
                  </a:lnTo>
                  <a:lnTo>
                    <a:pt x="302" y="231"/>
                  </a:lnTo>
                  <a:lnTo>
                    <a:pt x="304" y="231"/>
                  </a:lnTo>
                  <a:lnTo>
                    <a:pt x="304" y="231"/>
                  </a:lnTo>
                  <a:lnTo>
                    <a:pt x="306" y="231"/>
                  </a:lnTo>
                  <a:lnTo>
                    <a:pt x="306" y="229"/>
                  </a:lnTo>
                  <a:lnTo>
                    <a:pt x="306" y="229"/>
                  </a:lnTo>
                  <a:lnTo>
                    <a:pt x="306" y="229"/>
                  </a:lnTo>
                  <a:lnTo>
                    <a:pt x="306" y="227"/>
                  </a:lnTo>
                  <a:lnTo>
                    <a:pt x="306" y="227"/>
                  </a:lnTo>
                  <a:lnTo>
                    <a:pt x="308" y="225"/>
                  </a:lnTo>
                  <a:lnTo>
                    <a:pt x="310" y="222"/>
                  </a:lnTo>
                  <a:lnTo>
                    <a:pt x="315" y="214"/>
                  </a:lnTo>
                  <a:lnTo>
                    <a:pt x="317" y="212"/>
                  </a:lnTo>
                  <a:close/>
                  <a:moveTo>
                    <a:pt x="111" y="29"/>
                  </a:moveTo>
                  <a:lnTo>
                    <a:pt x="113" y="29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09" y="27"/>
                  </a:lnTo>
                  <a:lnTo>
                    <a:pt x="111" y="29"/>
                  </a:lnTo>
                  <a:close/>
                  <a:moveTo>
                    <a:pt x="84" y="31"/>
                  </a:moveTo>
                  <a:lnTo>
                    <a:pt x="86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9"/>
                  </a:lnTo>
                  <a:lnTo>
                    <a:pt x="84" y="31"/>
                  </a:lnTo>
                  <a:close/>
                  <a:moveTo>
                    <a:pt x="227" y="174"/>
                  </a:moveTo>
                  <a:lnTo>
                    <a:pt x="227" y="174"/>
                  </a:lnTo>
                  <a:lnTo>
                    <a:pt x="229" y="174"/>
                  </a:lnTo>
                  <a:lnTo>
                    <a:pt x="229" y="174"/>
                  </a:lnTo>
                  <a:lnTo>
                    <a:pt x="229" y="172"/>
                  </a:lnTo>
                  <a:lnTo>
                    <a:pt x="229" y="170"/>
                  </a:lnTo>
                  <a:lnTo>
                    <a:pt x="229" y="170"/>
                  </a:lnTo>
                  <a:lnTo>
                    <a:pt x="229" y="168"/>
                  </a:lnTo>
                  <a:lnTo>
                    <a:pt x="229" y="166"/>
                  </a:lnTo>
                  <a:lnTo>
                    <a:pt x="224" y="164"/>
                  </a:lnTo>
                  <a:lnTo>
                    <a:pt x="220" y="166"/>
                  </a:lnTo>
                  <a:lnTo>
                    <a:pt x="218" y="166"/>
                  </a:lnTo>
                  <a:lnTo>
                    <a:pt x="216" y="166"/>
                  </a:lnTo>
                  <a:lnTo>
                    <a:pt x="214" y="164"/>
                  </a:lnTo>
                  <a:lnTo>
                    <a:pt x="214" y="168"/>
                  </a:lnTo>
                  <a:lnTo>
                    <a:pt x="212" y="168"/>
                  </a:lnTo>
                  <a:lnTo>
                    <a:pt x="210" y="168"/>
                  </a:lnTo>
                  <a:lnTo>
                    <a:pt x="208" y="170"/>
                  </a:lnTo>
                  <a:lnTo>
                    <a:pt x="208" y="170"/>
                  </a:lnTo>
                  <a:lnTo>
                    <a:pt x="204" y="174"/>
                  </a:lnTo>
                  <a:lnTo>
                    <a:pt x="204" y="176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8" y="178"/>
                  </a:lnTo>
                  <a:lnTo>
                    <a:pt x="210" y="176"/>
                  </a:lnTo>
                  <a:lnTo>
                    <a:pt x="212" y="172"/>
                  </a:lnTo>
                  <a:lnTo>
                    <a:pt x="212" y="172"/>
                  </a:lnTo>
                  <a:lnTo>
                    <a:pt x="214" y="172"/>
                  </a:lnTo>
                  <a:lnTo>
                    <a:pt x="218" y="172"/>
                  </a:lnTo>
                  <a:lnTo>
                    <a:pt x="218" y="172"/>
                  </a:lnTo>
                  <a:lnTo>
                    <a:pt x="220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2" y="174"/>
                  </a:lnTo>
                  <a:lnTo>
                    <a:pt x="222" y="172"/>
                  </a:lnTo>
                  <a:lnTo>
                    <a:pt x="222" y="172"/>
                  </a:lnTo>
                  <a:lnTo>
                    <a:pt x="227" y="174"/>
                  </a:lnTo>
                  <a:close/>
                  <a:moveTo>
                    <a:pt x="204" y="138"/>
                  </a:moveTo>
                  <a:lnTo>
                    <a:pt x="199" y="138"/>
                  </a:lnTo>
                  <a:lnTo>
                    <a:pt x="197" y="141"/>
                  </a:lnTo>
                  <a:lnTo>
                    <a:pt x="197" y="143"/>
                  </a:lnTo>
                  <a:lnTo>
                    <a:pt x="199" y="145"/>
                  </a:lnTo>
                  <a:lnTo>
                    <a:pt x="201" y="145"/>
                  </a:lnTo>
                  <a:lnTo>
                    <a:pt x="204" y="143"/>
                  </a:lnTo>
                  <a:lnTo>
                    <a:pt x="204" y="141"/>
                  </a:lnTo>
                  <a:lnTo>
                    <a:pt x="204" y="138"/>
                  </a:lnTo>
                  <a:close/>
                  <a:moveTo>
                    <a:pt x="235" y="166"/>
                  </a:moveTo>
                  <a:lnTo>
                    <a:pt x="237" y="164"/>
                  </a:lnTo>
                  <a:lnTo>
                    <a:pt x="239" y="166"/>
                  </a:lnTo>
                  <a:lnTo>
                    <a:pt x="239" y="166"/>
                  </a:lnTo>
                  <a:lnTo>
                    <a:pt x="241" y="164"/>
                  </a:lnTo>
                  <a:lnTo>
                    <a:pt x="243" y="162"/>
                  </a:lnTo>
                  <a:lnTo>
                    <a:pt x="243" y="159"/>
                  </a:lnTo>
                  <a:lnTo>
                    <a:pt x="243" y="159"/>
                  </a:lnTo>
                  <a:lnTo>
                    <a:pt x="241" y="157"/>
                  </a:lnTo>
                  <a:lnTo>
                    <a:pt x="241" y="157"/>
                  </a:lnTo>
                  <a:lnTo>
                    <a:pt x="239" y="157"/>
                  </a:lnTo>
                  <a:lnTo>
                    <a:pt x="237" y="157"/>
                  </a:lnTo>
                  <a:lnTo>
                    <a:pt x="235" y="157"/>
                  </a:lnTo>
                  <a:lnTo>
                    <a:pt x="235" y="155"/>
                  </a:lnTo>
                  <a:lnTo>
                    <a:pt x="231" y="155"/>
                  </a:lnTo>
                  <a:lnTo>
                    <a:pt x="231" y="155"/>
                  </a:lnTo>
                  <a:lnTo>
                    <a:pt x="231" y="157"/>
                  </a:lnTo>
                  <a:lnTo>
                    <a:pt x="231" y="159"/>
                  </a:lnTo>
                  <a:lnTo>
                    <a:pt x="229" y="159"/>
                  </a:lnTo>
                  <a:lnTo>
                    <a:pt x="229" y="157"/>
                  </a:lnTo>
                  <a:lnTo>
                    <a:pt x="229" y="157"/>
                  </a:lnTo>
                  <a:lnTo>
                    <a:pt x="229" y="157"/>
                  </a:lnTo>
                  <a:lnTo>
                    <a:pt x="227" y="157"/>
                  </a:lnTo>
                  <a:lnTo>
                    <a:pt x="224" y="157"/>
                  </a:lnTo>
                  <a:lnTo>
                    <a:pt x="224" y="159"/>
                  </a:lnTo>
                  <a:lnTo>
                    <a:pt x="224" y="159"/>
                  </a:lnTo>
                  <a:lnTo>
                    <a:pt x="224" y="162"/>
                  </a:lnTo>
                  <a:lnTo>
                    <a:pt x="224" y="162"/>
                  </a:lnTo>
                  <a:lnTo>
                    <a:pt x="227" y="164"/>
                  </a:lnTo>
                  <a:lnTo>
                    <a:pt x="229" y="166"/>
                  </a:lnTo>
                  <a:lnTo>
                    <a:pt x="231" y="166"/>
                  </a:lnTo>
                  <a:lnTo>
                    <a:pt x="235" y="166"/>
                  </a:lnTo>
                  <a:close/>
                  <a:moveTo>
                    <a:pt x="260" y="147"/>
                  </a:moveTo>
                  <a:lnTo>
                    <a:pt x="262" y="149"/>
                  </a:lnTo>
                  <a:lnTo>
                    <a:pt x="262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8" y="151"/>
                  </a:lnTo>
                  <a:lnTo>
                    <a:pt x="271" y="157"/>
                  </a:lnTo>
                  <a:lnTo>
                    <a:pt x="273" y="159"/>
                  </a:lnTo>
                  <a:lnTo>
                    <a:pt x="273" y="159"/>
                  </a:lnTo>
                  <a:lnTo>
                    <a:pt x="273" y="157"/>
                  </a:lnTo>
                  <a:lnTo>
                    <a:pt x="273" y="155"/>
                  </a:lnTo>
                  <a:lnTo>
                    <a:pt x="273" y="153"/>
                  </a:lnTo>
                  <a:lnTo>
                    <a:pt x="273" y="151"/>
                  </a:lnTo>
                  <a:lnTo>
                    <a:pt x="271" y="149"/>
                  </a:lnTo>
                  <a:lnTo>
                    <a:pt x="271" y="149"/>
                  </a:lnTo>
                  <a:lnTo>
                    <a:pt x="268" y="149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2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58" y="145"/>
                  </a:lnTo>
                  <a:lnTo>
                    <a:pt x="260" y="147"/>
                  </a:lnTo>
                  <a:lnTo>
                    <a:pt x="260" y="147"/>
                  </a:lnTo>
                  <a:close/>
                  <a:moveTo>
                    <a:pt x="287" y="174"/>
                  </a:moveTo>
                  <a:lnTo>
                    <a:pt x="289" y="174"/>
                  </a:lnTo>
                  <a:lnTo>
                    <a:pt x="289" y="174"/>
                  </a:lnTo>
                  <a:lnTo>
                    <a:pt x="289" y="174"/>
                  </a:lnTo>
                  <a:lnTo>
                    <a:pt x="292" y="174"/>
                  </a:lnTo>
                  <a:lnTo>
                    <a:pt x="292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6" y="172"/>
                  </a:lnTo>
                  <a:lnTo>
                    <a:pt x="294" y="172"/>
                  </a:lnTo>
                  <a:lnTo>
                    <a:pt x="294" y="172"/>
                  </a:lnTo>
                  <a:lnTo>
                    <a:pt x="294" y="172"/>
                  </a:lnTo>
                  <a:lnTo>
                    <a:pt x="292" y="172"/>
                  </a:lnTo>
                  <a:lnTo>
                    <a:pt x="292" y="172"/>
                  </a:lnTo>
                  <a:lnTo>
                    <a:pt x="289" y="172"/>
                  </a:lnTo>
                  <a:lnTo>
                    <a:pt x="287" y="172"/>
                  </a:lnTo>
                  <a:lnTo>
                    <a:pt x="287" y="174"/>
                  </a:lnTo>
                  <a:lnTo>
                    <a:pt x="287" y="174"/>
                  </a:lnTo>
                  <a:lnTo>
                    <a:pt x="287" y="174"/>
                  </a:lnTo>
                  <a:close/>
                  <a:moveTo>
                    <a:pt x="250" y="159"/>
                  </a:moveTo>
                  <a:lnTo>
                    <a:pt x="250" y="157"/>
                  </a:lnTo>
                  <a:lnTo>
                    <a:pt x="248" y="157"/>
                  </a:lnTo>
                  <a:lnTo>
                    <a:pt x="248" y="155"/>
                  </a:lnTo>
                  <a:lnTo>
                    <a:pt x="248" y="151"/>
                  </a:lnTo>
                  <a:lnTo>
                    <a:pt x="245" y="151"/>
                  </a:lnTo>
                  <a:lnTo>
                    <a:pt x="243" y="155"/>
                  </a:lnTo>
                  <a:lnTo>
                    <a:pt x="243" y="157"/>
                  </a:lnTo>
                  <a:lnTo>
                    <a:pt x="243" y="159"/>
                  </a:lnTo>
                  <a:lnTo>
                    <a:pt x="243" y="164"/>
                  </a:lnTo>
                  <a:lnTo>
                    <a:pt x="245" y="166"/>
                  </a:lnTo>
                  <a:lnTo>
                    <a:pt x="245" y="164"/>
                  </a:lnTo>
                  <a:lnTo>
                    <a:pt x="245" y="164"/>
                  </a:lnTo>
                  <a:lnTo>
                    <a:pt x="248" y="162"/>
                  </a:lnTo>
                  <a:lnTo>
                    <a:pt x="248" y="162"/>
                  </a:lnTo>
                  <a:lnTo>
                    <a:pt x="248" y="164"/>
                  </a:lnTo>
                  <a:lnTo>
                    <a:pt x="250" y="164"/>
                  </a:lnTo>
                  <a:lnTo>
                    <a:pt x="252" y="164"/>
                  </a:lnTo>
                  <a:lnTo>
                    <a:pt x="252" y="162"/>
                  </a:lnTo>
                  <a:lnTo>
                    <a:pt x="252" y="159"/>
                  </a:lnTo>
                  <a:lnTo>
                    <a:pt x="250" y="159"/>
                  </a:lnTo>
                  <a:close/>
                  <a:moveTo>
                    <a:pt x="254" y="149"/>
                  </a:moveTo>
                  <a:lnTo>
                    <a:pt x="256" y="147"/>
                  </a:lnTo>
                  <a:lnTo>
                    <a:pt x="254" y="145"/>
                  </a:lnTo>
                  <a:lnTo>
                    <a:pt x="252" y="147"/>
                  </a:lnTo>
                  <a:lnTo>
                    <a:pt x="252" y="149"/>
                  </a:lnTo>
                  <a:lnTo>
                    <a:pt x="252" y="149"/>
                  </a:lnTo>
                  <a:lnTo>
                    <a:pt x="254" y="149"/>
                  </a:lnTo>
                  <a:lnTo>
                    <a:pt x="256" y="151"/>
                  </a:lnTo>
                  <a:lnTo>
                    <a:pt x="258" y="151"/>
                  </a:lnTo>
                  <a:lnTo>
                    <a:pt x="258" y="151"/>
                  </a:lnTo>
                  <a:lnTo>
                    <a:pt x="258" y="151"/>
                  </a:lnTo>
                  <a:lnTo>
                    <a:pt x="260" y="153"/>
                  </a:lnTo>
                  <a:lnTo>
                    <a:pt x="260" y="153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58" y="151"/>
                  </a:lnTo>
                  <a:lnTo>
                    <a:pt x="258" y="149"/>
                  </a:lnTo>
                  <a:lnTo>
                    <a:pt x="258" y="149"/>
                  </a:lnTo>
                  <a:lnTo>
                    <a:pt x="256" y="149"/>
                  </a:lnTo>
                  <a:lnTo>
                    <a:pt x="256" y="149"/>
                  </a:lnTo>
                  <a:lnTo>
                    <a:pt x="254" y="149"/>
                  </a:lnTo>
                  <a:close/>
                  <a:moveTo>
                    <a:pt x="430" y="302"/>
                  </a:moveTo>
                  <a:lnTo>
                    <a:pt x="428" y="298"/>
                  </a:lnTo>
                  <a:lnTo>
                    <a:pt x="428" y="298"/>
                  </a:lnTo>
                  <a:lnTo>
                    <a:pt x="428" y="296"/>
                  </a:lnTo>
                  <a:lnTo>
                    <a:pt x="426" y="296"/>
                  </a:lnTo>
                  <a:lnTo>
                    <a:pt x="426" y="298"/>
                  </a:lnTo>
                  <a:lnTo>
                    <a:pt x="426" y="298"/>
                  </a:lnTo>
                  <a:lnTo>
                    <a:pt x="428" y="302"/>
                  </a:lnTo>
                  <a:lnTo>
                    <a:pt x="428" y="304"/>
                  </a:lnTo>
                  <a:lnTo>
                    <a:pt x="430" y="304"/>
                  </a:lnTo>
                  <a:lnTo>
                    <a:pt x="430" y="302"/>
                  </a:lnTo>
                  <a:lnTo>
                    <a:pt x="430" y="302"/>
                  </a:lnTo>
                  <a:close/>
                  <a:moveTo>
                    <a:pt x="394" y="304"/>
                  </a:moveTo>
                  <a:lnTo>
                    <a:pt x="394" y="304"/>
                  </a:lnTo>
                  <a:lnTo>
                    <a:pt x="394" y="309"/>
                  </a:lnTo>
                  <a:lnTo>
                    <a:pt x="394" y="311"/>
                  </a:lnTo>
                  <a:lnTo>
                    <a:pt x="394" y="311"/>
                  </a:lnTo>
                  <a:lnTo>
                    <a:pt x="394" y="311"/>
                  </a:lnTo>
                  <a:lnTo>
                    <a:pt x="394" y="309"/>
                  </a:lnTo>
                  <a:lnTo>
                    <a:pt x="394" y="307"/>
                  </a:lnTo>
                  <a:lnTo>
                    <a:pt x="394" y="304"/>
                  </a:lnTo>
                  <a:close/>
                  <a:moveTo>
                    <a:pt x="411" y="315"/>
                  </a:moveTo>
                  <a:lnTo>
                    <a:pt x="413" y="313"/>
                  </a:lnTo>
                  <a:lnTo>
                    <a:pt x="413" y="315"/>
                  </a:lnTo>
                  <a:lnTo>
                    <a:pt x="413" y="313"/>
                  </a:lnTo>
                  <a:lnTo>
                    <a:pt x="413" y="311"/>
                  </a:lnTo>
                  <a:lnTo>
                    <a:pt x="413" y="309"/>
                  </a:lnTo>
                  <a:lnTo>
                    <a:pt x="411" y="309"/>
                  </a:lnTo>
                  <a:lnTo>
                    <a:pt x="407" y="302"/>
                  </a:lnTo>
                  <a:lnTo>
                    <a:pt x="405" y="304"/>
                  </a:lnTo>
                  <a:lnTo>
                    <a:pt x="405" y="307"/>
                  </a:lnTo>
                  <a:lnTo>
                    <a:pt x="407" y="313"/>
                  </a:lnTo>
                  <a:lnTo>
                    <a:pt x="407" y="313"/>
                  </a:lnTo>
                  <a:lnTo>
                    <a:pt x="409" y="315"/>
                  </a:lnTo>
                  <a:lnTo>
                    <a:pt x="411" y="315"/>
                  </a:lnTo>
                  <a:lnTo>
                    <a:pt x="411" y="315"/>
                  </a:lnTo>
                  <a:lnTo>
                    <a:pt x="411" y="315"/>
                  </a:lnTo>
                  <a:close/>
                  <a:moveTo>
                    <a:pt x="400" y="307"/>
                  </a:moveTo>
                  <a:lnTo>
                    <a:pt x="400" y="304"/>
                  </a:lnTo>
                  <a:lnTo>
                    <a:pt x="398" y="307"/>
                  </a:lnTo>
                  <a:lnTo>
                    <a:pt x="398" y="309"/>
                  </a:lnTo>
                  <a:lnTo>
                    <a:pt x="398" y="311"/>
                  </a:lnTo>
                  <a:lnTo>
                    <a:pt x="403" y="309"/>
                  </a:lnTo>
                  <a:lnTo>
                    <a:pt x="403" y="309"/>
                  </a:lnTo>
                  <a:lnTo>
                    <a:pt x="403" y="309"/>
                  </a:lnTo>
                  <a:lnTo>
                    <a:pt x="403" y="307"/>
                  </a:lnTo>
                  <a:lnTo>
                    <a:pt x="400" y="307"/>
                  </a:lnTo>
                  <a:close/>
                  <a:moveTo>
                    <a:pt x="415" y="317"/>
                  </a:moveTo>
                  <a:lnTo>
                    <a:pt x="415" y="317"/>
                  </a:lnTo>
                  <a:lnTo>
                    <a:pt x="413" y="315"/>
                  </a:lnTo>
                  <a:lnTo>
                    <a:pt x="413" y="315"/>
                  </a:lnTo>
                  <a:lnTo>
                    <a:pt x="411" y="317"/>
                  </a:lnTo>
                  <a:lnTo>
                    <a:pt x="411" y="319"/>
                  </a:lnTo>
                  <a:lnTo>
                    <a:pt x="413" y="319"/>
                  </a:lnTo>
                  <a:lnTo>
                    <a:pt x="413" y="319"/>
                  </a:lnTo>
                  <a:lnTo>
                    <a:pt x="413" y="319"/>
                  </a:lnTo>
                  <a:lnTo>
                    <a:pt x="415" y="321"/>
                  </a:lnTo>
                  <a:lnTo>
                    <a:pt x="415" y="321"/>
                  </a:lnTo>
                  <a:lnTo>
                    <a:pt x="415" y="321"/>
                  </a:lnTo>
                  <a:lnTo>
                    <a:pt x="415" y="319"/>
                  </a:lnTo>
                  <a:lnTo>
                    <a:pt x="415" y="317"/>
                  </a:lnTo>
                  <a:close/>
                  <a:moveTo>
                    <a:pt x="346" y="294"/>
                  </a:moveTo>
                  <a:lnTo>
                    <a:pt x="344" y="292"/>
                  </a:lnTo>
                  <a:lnTo>
                    <a:pt x="344" y="292"/>
                  </a:lnTo>
                  <a:lnTo>
                    <a:pt x="344" y="292"/>
                  </a:lnTo>
                  <a:lnTo>
                    <a:pt x="342" y="292"/>
                  </a:lnTo>
                  <a:lnTo>
                    <a:pt x="342" y="292"/>
                  </a:lnTo>
                  <a:lnTo>
                    <a:pt x="340" y="292"/>
                  </a:lnTo>
                  <a:lnTo>
                    <a:pt x="340" y="294"/>
                  </a:lnTo>
                  <a:lnTo>
                    <a:pt x="340" y="298"/>
                  </a:lnTo>
                  <a:lnTo>
                    <a:pt x="338" y="300"/>
                  </a:lnTo>
                  <a:lnTo>
                    <a:pt x="338" y="304"/>
                  </a:lnTo>
                  <a:lnTo>
                    <a:pt x="340" y="304"/>
                  </a:lnTo>
                  <a:lnTo>
                    <a:pt x="340" y="304"/>
                  </a:lnTo>
                  <a:lnTo>
                    <a:pt x="342" y="304"/>
                  </a:lnTo>
                  <a:lnTo>
                    <a:pt x="342" y="304"/>
                  </a:lnTo>
                  <a:lnTo>
                    <a:pt x="342" y="302"/>
                  </a:lnTo>
                  <a:lnTo>
                    <a:pt x="344" y="300"/>
                  </a:lnTo>
                  <a:lnTo>
                    <a:pt x="344" y="300"/>
                  </a:lnTo>
                  <a:lnTo>
                    <a:pt x="346" y="300"/>
                  </a:lnTo>
                  <a:lnTo>
                    <a:pt x="346" y="298"/>
                  </a:lnTo>
                  <a:lnTo>
                    <a:pt x="346" y="296"/>
                  </a:lnTo>
                  <a:lnTo>
                    <a:pt x="346" y="294"/>
                  </a:lnTo>
                  <a:close/>
                  <a:moveTo>
                    <a:pt x="367" y="283"/>
                  </a:moveTo>
                  <a:lnTo>
                    <a:pt x="367" y="283"/>
                  </a:lnTo>
                  <a:lnTo>
                    <a:pt x="367" y="283"/>
                  </a:lnTo>
                  <a:lnTo>
                    <a:pt x="365" y="283"/>
                  </a:lnTo>
                  <a:lnTo>
                    <a:pt x="363" y="286"/>
                  </a:lnTo>
                  <a:lnTo>
                    <a:pt x="359" y="292"/>
                  </a:lnTo>
                  <a:lnTo>
                    <a:pt x="356" y="292"/>
                  </a:lnTo>
                  <a:lnTo>
                    <a:pt x="359" y="294"/>
                  </a:lnTo>
                  <a:lnTo>
                    <a:pt x="361" y="294"/>
                  </a:lnTo>
                  <a:lnTo>
                    <a:pt x="363" y="294"/>
                  </a:lnTo>
                  <a:lnTo>
                    <a:pt x="365" y="290"/>
                  </a:lnTo>
                  <a:lnTo>
                    <a:pt x="365" y="290"/>
                  </a:lnTo>
                  <a:lnTo>
                    <a:pt x="367" y="288"/>
                  </a:lnTo>
                  <a:lnTo>
                    <a:pt x="367" y="288"/>
                  </a:lnTo>
                  <a:lnTo>
                    <a:pt x="367" y="286"/>
                  </a:lnTo>
                  <a:lnTo>
                    <a:pt x="367" y="286"/>
                  </a:lnTo>
                  <a:lnTo>
                    <a:pt x="367" y="283"/>
                  </a:lnTo>
                  <a:close/>
                  <a:moveTo>
                    <a:pt x="359" y="241"/>
                  </a:moveTo>
                  <a:lnTo>
                    <a:pt x="359" y="241"/>
                  </a:lnTo>
                  <a:lnTo>
                    <a:pt x="361" y="248"/>
                  </a:lnTo>
                  <a:lnTo>
                    <a:pt x="361" y="248"/>
                  </a:lnTo>
                  <a:lnTo>
                    <a:pt x="361" y="246"/>
                  </a:lnTo>
                  <a:lnTo>
                    <a:pt x="363" y="239"/>
                  </a:lnTo>
                  <a:lnTo>
                    <a:pt x="361" y="237"/>
                  </a:lnTo>
                  <a:lnTo>
                    <a:pt x="359" y="239"/>
                  </a:lnTo>
                  <a:lnTo>
                    <a:pt x="359" y="241"/>
                  </a:lnTo>
                  <a:close/>
                  <a:moveTo>
                    <a:pt x="388" y="277"/>
                  </a:moveTo>
                  <a:lnTo>
                    <a:pt x="388" y="277"/>
                  </a:lnTo>
                  <a:lnTo>
                    <a:pt x="386" y="277"/>
                  </a:lnTo>
                  <a:lnTo>
                    <a:pt x="386" y="277"/>
                  </a:lnTo>
                  <a:lnTo>
                    <a:pt x="384" y="275"/>
                  </a:lnTo>
                  <a:lnTo>
                    <a:pt x="384" y="273"/>
                  </a:lnTo>
                  <a:lnTo>
                    <a:pt x="384" y="273"/>
                  </a:lnTo>
                  <a:lnTo>
                    <a:pt x="384" y="271"/>
                  </a:lnTo>
                  <a:lnTo>
                    <a:pt x="384" y="267"/>
                  </a:lnTo>
                  <a:lnTo>
                    <a:pt x="382" y="267"/>
                  </a:lnTo>
                  <a:lnTo>
                    <a:pt x="382" y="267"/>
                  </a:lnTo>
                  <a:lnTo>
                    <a:pt x="382" y="267"/>
                  </a:lnTo>
                  <a:lnTo>
                    <a:pt x="382" y="267"/>
                  </a:lnTo>
                  <a:lnTo>
                    <a:pt x="382" y="269"/>
                  </a:lnTo>
                  <a:lnTo>
                    <a:pt x="380" y="269"/>
                  </a:lnTo>
                  <a:lnTo>
                    <a:pt x="380" y="269"/>
                  </a:lnTo>
                  <a:lnTo>
                    <a:pt x="377" y="271"/>
                  </a:lnTo>
                  <a:lnTo>
                    <a:pt x="377" y="271"/>
                  </a:lnTo>
                  <a:lnTo>
                    <a:pt x="377" y="273"/>
                  </a:lnTo>
                  <a:lnTo>
                    <a:pt x="377" y="273"/>
                  </a:lnTo>
                  <a:lnTo>
                    <a:pt x="377" y="275"/>
                  </a:lnTo>
                  <a:lnTo>
                    <a:pt x="377" y="275"/>
                  </a:lnTo>
                  <a:lnTo>
                    <a:pt x="377" y="275"/>
                  </a:lnTo>
                  <a:lnTo>
                    <a:pt x="377" y="275"/>
                  </a:lnTo>
                  <a:lnTo>
                    <a:pt x="377" y="277"/>
                  </a:lnTo>
                  <a:lnTo>
                    <a:pt x="377" y="277"/>
                  </a:lnTo>
                  <a:lnTo>
                    <a:pt x="377" y="277"/>
                  </a:lnTo>
                  <a:lnTo>
                    <a:pt x="377" y="279"/>
                  </a:lnTo>
                  <a:lnTo>
                    <a:pt x="377" y="279"/>
                  </a:lnTo>
                  <a:lnTo>
                    <a:pt x="377" y="279"/>
                  </a:lnTo>
                  <a:lnTo>
                    <a:pt x="377" y="281"/>
                  </a:lnTo>
                  <a:lnTo>
                    <a:pt x="377" y="283"/>
                  </a:lnTo>
                  <a:lnTo>
                    <a:pt x="377" y="286"/>
                  </a:lnTo>
                  <a:lnTo>
                    <a:pt x="377" y="286"/>
                  </a:lnTo>
                  <a:lnTo>
                    <a:pt x="377" y="288"/>
                  </a:lnTo>
                  <a:lnTo>
                    <a:pt x="380" y="288"/>
                  </a:lnTo>
                  <a:lnTo>
                    <a:pt x="380" y="288"/>
                  </a:lnTo>
                  <a:lnTo>
                    <a:pt x="380" y="288"/>
                  </a:lnTo>
                  <a:lnTo>
                    <a:pt x="382" y="288"/>
                  </a:lnTo>
                  <a:lnTo>
                    <a:pt x="382" y="288"/>
                  </a:lnTo>
                  <a:lnTo>
                    <a:pt x="384" y="288"/>
                  </a:lnTo>
                  <a:lnTo>
                    <a:pt x="384" y="288"/>
                  </a:lnTo>
                  <a:lnTo>
                    <a:pt x="386" y="288"/>
                  </a:lnTo>
                  <a:lnTo>
                    <a:pt x="386" y="288"/>
                  </a:lnTo>
                  <a:lnTo>
                    <a:pt x="386" y="288"/>
                  </a:lnTo>
                  <a:lnTo>
                    <a:pt x="388" y="288"/>
                  </a:lnTo>
                  <a:lnTo>
                    <a:pt x="388" y="286"/>
                  </a:lnTo>
                  <a:lnTo>
                    <a:pt x="390" y="286"/>
                  </a:lnTo>
                  <a:lnTo>
                    <a:pt x="390" y="283"/>
                  </a:lnTo>
                  <a:lnTo>
                    <a:pt x="390" y="281"/>
                  </a:lnTo>
                  <a:lnTo>
                    <a:pt x="390" y="281"/>
                  </a:lnTo>
                  <a:lnTo>
                    <a:pt x="390" y="279"/>
                  </a:lnTo>
                  <a:lnTo>
                    <a:pt x="390" y="277"/>
                  </a:lnTo>
                  <a:lnTo>
                    <a:pt x="388" y="277"/>
                  </a:lnTo>
                  <a:close/>
                  <a:moveTo>
                    <a:pt x="382" y="260"/>
                  </a:moveTo>
                  <a:lnTo>
                    <a:pt x="382" y="260"/>
                  </a:lnTo>
                  <a:lnTo>
                    <a:pt x="382" y="258"/>
                  </a:lnTo>
                  <a:lnTo>
                    <a:pt x="382" y="256"/>
                  </a:lnTo>
                  <a:lnTo>
                    <a:pt x="384" y="254"/>
                  </a:lnTo>
                  <a:lnTo>
                    <a:pt x="384" y="252"/>
                  </a:lnTo>
                  <a:lnTo>
                    <a:pt x="384" y="250"/>
                  </a:lnTo>
                  <a:lnTo>
                    <a:pt x="384" y="248"/>
                  </a:lnTo>
                  <a:lnTo>
                    <a:pt x="384" y="246"/>
                  </a:lnTo>
                  <a:lnTo>
                    <a:pt x="382" y="246"/>
                  </a:lnTo>
                  <a:lnTo>
                    <a:pt x="380" y="246"/>
                  </a:lnTo>
                  <a:lnTo>
                    <a:pt x="377" y="246"/>
                  </a:lnTo>
                  <a:lnTo>
                    <a:pt x="375" y="243"/>
                  </a:lnTo>
                  <a:lnTo>
                    <a:pt x="375" y="241"/>
                  </a:lnTo>
                  <a:lnTo>
                    <a:pt x="373" y="243"/>
                  </a:lnTo>
                  <a:lnTo>
                    <a:pt x="373" y="243"/>
                  </a:lnTo>
                  <a:lnTo>
                    <a:pt x="373" y="246"/>
                  </a:lnTo>
                  <a:lnTo>
                    <a:pt x="371" y="243"/>
                  </a:lnTo>
                  <a:lnTo>
                    <a:pt x="371" y="243"/>
                  </a:lnTo>
                  <a:lnTo>
                    <a:pt x="371" y="241"/>
                  </a:lnTo>
                  <a:lnTo>
                    <a:pt x="371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9" y="241"/>
                  </a:lnTo>
                  <a:lnTo>
                    <a:pt x="367" y="241"/>
                  </a:lnTo>
                  <a:lnTo>
                    <a:pt x="365" y="241"/>
                  </a:lnTo>
                  <a:lnTo>
                    <a:pt x="365" y="243"/>
                  </a:lnTo>
                  <a:lnTo>
                    <a:pt x="363" y="246"/>
                  </a:lnTo>
                  <a:lnTo>
                    <a:pt x="363" y="248"/>
                  </a:lnTo>
                  <a:lnTo>
                    <a:pt x="363" y="248"/>
                  </a:lnTo>
                  <a:lnTo>
                    <a:pt x="361" y="250"/>
                  </a:lnTo>
                  <a:lnTo>
                    <a:pt x="361" y="250"/>
                  </a:lnTo>
                  <a:lnTo>
                    <a:pt x="359" y="254"/>
                  </a:lnTo>
                  <a:lnTo>
                    <a:pt x="356" y="256"/>
                  </a:lnTo>
                  <a:lnTo>
                    <a:pt x="354" y="258"/>
                  </a:lnTo>
                  <a:lnTo>
                    <a:pt x="354" y="256"/>
                  </a:lnTo>
                  <a:lnTo>
                    <a:pt x="354" y="254"/>
                  </a:lnTo>
                  <a:lnTo>
                    <a:pt x="352" y="252"/>
                  </a:lnTo>
                  <a:lnTo>
                    <a:pt x="352" y="252"/>
                  </a:lnTo>
                  <a:lnTo>
                    <a:pt x="352" y="250"/>
                  </a:lnTo>
                  <a:lnTo>
                    <a:pt x="350" y="250"/>
                  </a:lnTo>
                  <a:lnTo>
                    <a:pt x="350" y="248"/>
                  </a:lnTo>
                  <a:lnTo>
                    <a:pt x="350" y="246"/>
                  </a:lnTo>
                  <a:lnTo>
                    <a:pt x="350" y="246"/>
                  </a:lnTo>
                  <a:lnTo>
                    <a:pt x="352" y="243"/>
                  </a:lnTo>
                  <a:lnTo>
                    <a:pt x="352" y="243"/>
                  </a:lnTo>
                  <a:lnTo>
                    <a:pt x="354" y="243"/>
                  </a:lnTo>
                  <a:lnTo>
                    <a:pt x="354" y="241"/>
                  </a:lnTo>
                  <a:lnTo>
                    <a:pt x="354" y="241"/>
                  </a:lnTo>
                  <a:lnTo>
                    <a:pt x="350" y="235"/>
                  </a:lnTo>
                  <a:lnTo>
                    <a:pt x="350" y="235"/>
                  </a:lnTo>
                  <a:lnTo>
                    <a:pt x="350" y="235"/>
                  </a:lnTo>
                  <a:lnTo>
                    <a:pt x="348" y="233"/>
                  </a:lnTo>
                  <a:lnTo>
                    <a:pt x="348" y="235"/>
                  </a:lnTo>
                  <a:lnTo>
                    <a:pt x="348" y="235"/>
                  </a:lnTo>
                  <a:lnTo>
                    <a:pt x="348" y="237"/>
                  </a:lnTo>
                  <a:lnTo>
                    <a:pt x="346" y="237"/>
                  </a:lnTo>
                  <a:lnTo>
                    <a:pt x="346" y="237"/>
                  </a:lnTo>
                  <a:lnTo>
                    <a:pt x="344" y="237"/>
                  </a:lnTo>
                  <a:lnTo>
                    <a:pt x="344" y="237"/>
                  </a:lnTo>
                  <a:lnTo>
                    <a:pt x="344" y="235"/>
                  </a:lnTo>
                  <a:lnTo>
                    <a:pt x="342" y="235"/>
                  </a:lnTo>
                  <a:lnTo>
                    <a:pt x="340" y="235"/>
                  </a:lnTo>
                  <a:lnTo>
                    <a:pt x="336" y="237"/>
                  </a:lnTo>
                  <a:lnTo>
                    <a:pt x="333" y="237"/>
                  </a:lnTo>
                  <a:lnTo>
                    <a:pt x="331" y="239"/>
                  </a:lnTo>
                  <a:lnTo>
                    <a:pt x="331" y="239"/>
                  </a:lnTo>
                  <a:lnTo>
                    <a:pt x="329" y="239"/>
                  </a:lnTo>
                  <a:lnTo>
                    <a:pt x="325" y="237"/>
                  </a:lnTo>
                  <a:lnTo>
                    <a:pt x="323" y="237"/>
                  </a:lnTo>
                  <a:lnTo>
                    <a:pt x="323" y="237"/>
                  </a:lnTo>
                  <a:lnTo>
                    <a:pt x="317" y="246"/>
                  </a:lnTo>
                  <a:lnTo>
                    <a:pt x="315" y="250"/>
                  </a:lnTo>
                  <a:lnTo>
                    <a:pt x="315" y="254"/>
                  </a:lnTo>
                  <a:lnTo>
                    <a:pt x="315" y="258"/>
                  </a:lnTo>
                  <a:lnTo>
                    <a:pt x="315" y="262"/>
                  </a:lnTo>
                  <a:lnTo>
                    <a:pt x="321" y="275"/>
                  </a:lnTo>
                  <a:lnTo>
                    <a:pt x="323" y="275"/>
                  </a:lnTo>
                  <a:lnTo>
                    <a:pt x="325" y="275"/>
                  </a:lnTo>
                  <a:lnTo>
                    <a:pt x="331" y="269"/>
                  </a:lnTo>
                  <a:lnTo>
                    <a:pt x="333" y="267"/>
                  </a:lnTo>
                  <a:lnTo>
                    <a:pt x="336" y="262"/>
                  </a:lnTo>
                  <a:lnTo>
                    <a:pt x="336" y="260"/>
                  </a:lnTo>
                  <a:lnTo>
                    <a:pt x="338" y="258"/>
                  </a:lnTo>
                  <a:lnTo>
                    <a:pt x="338" y="258"/>
                  </a:lnTo>
                  <a:lnTo>
                    <a:pt x="340" y="258"/>
                  </a:lnTo>
                  <a:lnTo>
                    <a:pt x="342" y="254"/>
                  </a:lnTo>
                  <a:lnTo>
                    <a:pt x="342" y="252"/>
                  </a:lnTo>
                  <a:lnTo>
                    <a:pt x="344" y="252"/>
                  </a:lnTo>
                  <a:lnTo>
                    <a:pt x="344" y="252"/>
                  </a:lnTo>
                  <a:lnTo>
                    <a:pt x="346" y="248"/>
                  </a:lnTo>
                  <a:lnTo>
                    <a:pt x="346" y="248"/>
                  </a:lnTo>
                  <a:lnTo>
                    <a:pt x="346" y="250"/>
                  </a:lnTo>
                  <a:lnTo>
                    <a:pt x="348" y="250"/>
                  </a:lnTo>
                  <a:lnTo>
                    <a:pt x="348" y="250"/>
                  </a:lnTo>
                  <a:lnTo>
                    <a:pt x="348" y="254"/>
                  </a:lnTo>
                  <a:lnTo>
                    <a:pt x="350" y="267"/>
                  </a:lnTo>
                  <a:lnTo>
                    <a:pt x="348" y="269"/>
                  </a:lnTo>
                  <a:lnTo>
                    <a:pt x="344" y="273"/>
                  </a:lnTo>
                  <a:lnTo>
                    <a:pt x="344" y="273"/>
                  </a:lnTo>
                  <a:lnTo>
                    <a:pt x="342" y="273"/>
                  </a:lnTo>
                  <a:lnTo>
                    <a:pt x="342" y="273"/>
                  </a:lnTo>
                  <a:lnTo>
                    <a:pt x="342" y="275"/>
                  </a:lnTo>
                  <a:lnTo>
                    <a:pt x="342" y="275"/>
                  </a:lnTo>
                  <a:lnTo>
                    <a:pt x="344" y="277"/>
                  </a:lnTo>
                  <a:lnTo>
                    <a:pt x="346" y="277"/>
                  </a:lnTo>
                  <a:lnTo>
                    <a:pt x="348" y="277"/>
                  </a:lnTo>
                  <a:lnTo>
                    <a:pt x="348" y="279"/>
                  </a:lnTo>
                  <a:lnTo>
                    <a:pt x="348" y="279"/>
                  </a:lnTo>
                  <a:lnTo>
                    <a:pt x="352" y="277"/>
                  </a:lnTo>
                  <a:lnTo>
                    <a:pt x="352" y="277"/>
                  </a:lnTo>
                  <a:lnTo>
                    <a:pt x="354" y="277"/>
                  </a:lnTo>
                  <a:lnTo>
                    <a:pt x="354" y="279"/>
                  </a:lnTo>
                  <a:lnTo>
                    <a:pt x="354" y="279"/>
                  </a:lnTo>
                  <a:lnTo>
                    <a:pt x="356" y="279"/>
                  </a:lnTo>
                  <a:lnTo>
                    <a:pt x="356" y="277"/>
                  </a:lnTo>
                  <a:lnTo>
                    <a:pt x="356" y="269"/>
                  </a:lnTo>
                  <a:lnTo>
                    <a:pt x="356" y="264"/>
                  </a:lnTo>
                  <a:lnTo>
                    <a:pt x="359" y="260"/>
                  </a:lnTo>
                  <a:lnTo>
                    <a:pt x="359" y="260"/>
                  </a:lnTo>
                  <a:lnTo>
                    <a:pt x="361" y="260"/>
                  </a:lnTo>
                  <a:lnTo>
                    <a:pt x="361" y="260"/>
                  </a:lnTo>
                  <a:lnTo>
                    <a:pt x="363" y="260"/>
                  </a:lnTo>
                  <a:lnTo>
                    <a:pt x="363" y="260"/>
                  </a:lnTo>
                  <a:lnTo>
                    <a:pt x="363" y="260"/>
                  </a:lnTo>
                  <a:lnTo>
                    <a:pt x="363" y="262"/>
                  </a:lnTo>
                  <a:lnTo>
                    <a:pt x="363" y="262"/>
                  </a:lnTo>
                  <a:lnTo>
                    <a:pt x="365" y="262"/>
                  </a:lnTo>
                  <a:lnTo>
                    <a:pt x="365" y="264"/>
                  </a:lnTo>
                  <a:lnTo>
                    <a:pt x="367" y="269"/>
                  </a:lnTo>
                  <a:lnTo>
                    <a:pt x="367" y="267"/>
                  </a:lnTo>
                  <a:lnTo>
                    <a:pt x="371" y="269"/>
                  </a:lnTo>
                  <a:lnTo>
                    <a:pt x="373" y="269"/>
                  </a:lnTo>
                  <a:lnTo>
                    <a:pt x="373" y="269"/>
                  </a:lnTo>
                  <a:lnTo>
                    <a:pt x="375" y="267"/>
                  </a:lnTo>
                  <a:lnTo>
                    <a:pt x="375" y="267"/>
                  </a:lnTo>
                  <a:lnTo>
                    <a:pt x="380" y="264"/>
                  </a:lnTo>
                  <a:lnTo>
                    <a:pt x="382" y="260"/>
                  </a:lnTo>
                  <a:close/>
                </a:path>
              </a:pathLst>
            </a:custGeom>
            <a:solidFill>
              <a:schemeClr val="accent4"/>
            </a:solidFill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EE055323-2CA9-45F5-9842-B2E06426E8F4}"/>
              </a:ext>
            </a:extLst>
          </p:cNvPr>
          <p:cNvGrpSpPr/>
          <p:nvPr/>
        </p:nvGrpSpPr>
        <p:grpSpPr>
          <a:xfrm>
            <a:off x="8047591" y="4785081"/>
            <a:ext cx="543488" cy="523998"/>
            <a:chOff x="5333131" y="576674"/>
            <a:chExt cx="1162050" cy="1120378"/>
          </a:xfrm>
          <a:solidFill>
            <a:schemeClr val="accent3"/>
          </a:solidFill>
        </p:grpSpPr>
        <p:sp>
          <p:nvSpPr>
            <p:cNvPr id="106" name="Freeform 96">
              <a:extLst>
                <a:ext uri="{FF2B5EF4-FFF2-40B4-BE49-F238E27FC236}">
                  <a16:creationId xmlns:a16="http://schemas.microsoft.com/office/drawing/2014/main" id="{3D993607-A653-471C-ADB5-D838514EAE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33131" y="836230"/>
              <a:ext cx="621506" cy="578644"/>
            </a:xfrm>
            <a:custGeom>
              <a:avLst/>
              <a:gdLst>
                <a:gd name="T0" fmla="*/ 15 w 522"/>
                <a:gd name="T1" fmla="*/ 349 h 486"/>
                <a:gd name="T2" fmla="*/ 42 w 522"/>
                <a:gd name="T3" fmla="*/ 318 h 486"/>
                <a:gd name="T4" fmla="*/ 46 w 522"/>
                <a:gd name="T5" fmla="*/ 316 h 486"/>
                <a:gd name="T6" fmla="*/ 17 w 522"/>
                <a:gd name="T7" fmla="*/ 150 h 486"/>
                <a:gd name="T8" fmla="*/ 4 w 522"/>
                <a:gd name="T9" fmla="*/ 356 h 486"/>
                <a:gd name="T10" fmla="*/ 141 w 522"/>
                <a:gd name="T11" fmla="*/ 469 h 486"/>
                <a:gd name="T12" fmla="*/ 522 w 522"/>
                <a:gd name="T13" fmla="*/ 61 h 486"/>
                <a:gd name="T14" fmla="*/ 459 w 522"/>
                <a:gd name="T15" fmla="*/ 74 h 486"/>
                <a:gd name="T16" fmla="*/ 405 w 522"/>
                <a:gd name="T17" fmla="*/ 61 h 486"/>
                <a:gd name="T18" fmla="*/ 392 w 522"/>
                <a:gd name="T19" fmla="*/ 51 h 486"/>
                <a:gd name="T20" fmla="*/ 331 w 522"/>
                <a:gd name="T21" fmla="*/ 66 h 486"/>
                <a:gd name="T22" fmla="*/ 270 w 522"/>
                <a:gd name="T23" fmla="*/ 103 h 486"/>
                <a:gd name="T24" fmla="*/ 206 w 522"/>
                <a:gd name="T25" fmla="*/ 103 h 486"/>
                <a:gd name="T26" fmla="*/ 189 w 522"/>
                <a:gd name="T27" fmla="*/ 114 h 486"/>
                <a:gd name="T28" fmla="*/ 153 w 522"/>
                <a:gd name="T29" fmla="*/ 103 h 486"/>
                <a:gd name="T30" fmla="*/ 120 w 522"/>
                <a:gd name="T31" fmla="*/ 68 h 486"/>
                <a:gd name="T32" fmla="*/ 92 w 522"/>
                <a:gd name="T33" fmla="*/ 38 h 486"/>
                <a:gd name="T34" fmla="*/ 88 w 522"/>
                <a:gd name="T35" fmla="*/ 11 h 486"/>
                <a:gd name="T36" fmla="*/ 59 w 522"/>
                <a:gd name="T37" fmla="*/ 28 h 486"/>
                <a:gd name="T38" fmla="*/ 38 w 522"/>
                <a:gd name="T39" fmla="*/ 53 h 486"/>
                <a:gd name="T40" fmla="*/ 46 w 522"/>
                <a:gd name="T41" fmla="*/ 76 h 486"/>
                <a:gd name="T42" fmla="*/ 27 w 522"/>
                <a:gd name="T43" fmla="*/ 84 h 486"/>
                <a:gd name="T44" fmla="*/ 21 w 522"/>
                <a:gd name="T45" fmla="*/ 127 h 486"/>
                <a:gd name="T46" fmla="*/ 23 w 522"/>
                <a:gd name="T47" fmla="*/ 164 h 486"/>
                <a:gd name="T48" fmla="*/ 46 w 522"/>
                <a:gd name="T49" fmla="*/ 198 h 486"/>
                <a:gd name="T50" fmla="*/ 36 w 522"/>
                <a:gd name="T51" fmla="*/ 219 h 486"/>
                <a:gd name="T52" fmla="*/ 44 w 522"/>
                <a:gd name="T53" fmla="*/ 244 h 486"/>
                <a:gd name="T54" fmla="*/ 57 w 522"/>
                <a:gd name="T55" fmla="*/ 253 h 486"/>
                <a:gd name="T56" fmla="*/ 67 w 522"/>
                <a:gd name="T57" fmla="*/ 259 h 486"/>
                <a:gd name="T58" fmla="*/ 67 w 522"/>
                <a:gd name="T59" fmla="*/ 261 h 486"/>
                <a:gd name="T60" fmla="*/ 71 w 522"/>
                <a:gd name="T61" fmla="*/ 278 h 486"/>
                <a:gd name="T62" fmla="*/ 99 w 522"/>
                <a:gd name="T63" fmla="*/ 286 h 486"/>
                <a:gd name="T64" fmla="*/ 105 w 522"/>
                <a:gd name="T65" fmla="*/ 295 h 486"/>
                <a:gd name="T66" fmla="*/ 124 w 522"/>
                <a:gd name="T67" fmla="*/ 316 h 486"/>
                <a:gd name="T68" fmla="*/ 118 w 522"/>
                <a:gd name="T69" fmla="*/ 366 h 486"/>
                <a:gd name="T70" fmla="*/ 136 w 522"/>
                <a:gd name="T71" fmla="*/ 400 h 486"/>
                <a:gd name="T72" fmla="*/ 145 w 522"/>
                <a:gd name="T73" fmla="*/ 437 h 486"/>
                <a:gd name="T74" fmla="*/ 149 w 522"/>
                <a:gd name="T75" fmla="*/ 475 h 486"/>
                <a:gd name="T76" fmla="*/ 189 w 522"/>
                <a:gd name="T77" fmla="*/ 486 h 486"/>
                <a:gd name="T78" fmla="*/ 224 w 522"/>
                <a:gd name="T79" fmla="*/ 458 h 486"/>
                <a:gd name="T80" fmla="*/ 233 w 522"/>
                <a:gd name="T81" fmla="*/ 425 h 486"/>
                <a:gd name="T82" fmla="*/ 222 w 522"/>
                <a:gd name="T83" fmla="*/ 356 h 486"/>
                <a:gd name="T84" fmla="*/ 216 w 522"/>
                <a:gd name="T85" fmla="*/ 343 h 486"/>
                <a:gd name="T86" fmla="*/ 247 w 522"/>
                <a:gd name="T87" fmla="*/ 328 h 486"/>
                <a:gd name="T88" fmla="*/ 277 w 522"/>
                <a:gd name="T89" fmla="*/ 297 h 486"/>
                <a:gd name="T90" fmla="*/ 346 w 522"/>
                <a:gd name="T91" fmla="*/ 267 h 486"/>
                <a:gd name="T92" fmla="*/ 405 w 522"/>
                <a:gd name="T93" fmla="*/ 248 h 486"/>
                <a:gd name="T94" fmla="*/ 425 w 522"/>
                <a:gd name="T95" fmla="*/ 242 h 486"/>
                <a:gd name="T96" fmla="*/ 434 w 522"/>
                <a:gd name="T97" fmla="*/ 232 h 486"/>
                <a:gd name="T98" fmla="*/ 448 w 522"/>
                <a:gd name="T99" fmla="*/ 215 h 486"/>
                <a:gd name="T100" fmla="*/ 444 w 522"/>
                <a:gd name="T101" fmla="*/ 181 h 486"/>
                <a:gd name="T102" fmla="*/ 465 w 522"/>
                <a:gd name="T103" fmla="*/ 169 h 486"/>
                <a:gd name="T104" fmla="*/ 484 w 522"/>
                <a:gd name="T105" fmla="*/ 141 h 486"/>
                <a:gd name="T106" fmla="*/ 497 w 522"/>
                <a:gd name="T107" fmla="*/ 112 h 486"/>
                <a:gd name="T108" fmla="*/ 499 w 522"/>
                <a:gd name="T109" fmla="*/ 99 h 486"/>
                <a:gd name="T110" fmla="*/ 103 w 522"/>
                <a:gd name="T111" fmla="*/ 301 h 486"/>
                <a:gd name="T112" fmla="*/ 78 w 522"/>
                <a:gd name="T113" fmla="*/ 288 h 486"/>
                <a:gd name="T114" fmla="*/ 97 w 522"/>
                <a:gd name="T115" fmla="*/ 309 h 486"/>
                <a:gd name="T116" fmla="*/ 132 w 522"/>
                <a:gd name="T117" fmla="*/ 450 h 486"/>
                <a:gd name="T118" fmla="*/ 53 w 522"/>
                <a:gd name="T119" fmla="*/ 309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22" h="486">
                  <a:moveTo>
                    <a:pt x="27" y="343"/>
                  </a:moveTo>
                  <a:lnTo>
                    <a:pt x="25" y="341"/>
                  </a:lnTo>
                  <a:lnTo>
                    <a:pt x="23" y="341"/>
                  </a:lnTo>
                  <a:lnTo>
                    <a:pt x="21" y="341"/>
                  </a:lnTo>
                  <a:lnTo>
                    <a:pt x="21" y="341"/>
                  </a:lnTo>
                  <a:lnTo>
                    <a:pt x="21" y="341"/>
                  </a:lnTo>
                  <a:lnTo>
                    <a:pt x="19" y="341"/>
                  </a:lnTo>
                  <a:lnTo>
                    <a:pt x="15" y="343"/>
                  </a:lnTo>
                  <a:lnTo>
                    <a:pt x="13" y="343"/>
                  </a:lnTo>
                  <a:lnTo>
                    <a:pt x="13" y="345"/>
                  </a:lnTo>
                  <a:lnTo>
                    <a:pt x="13" y="345"/>
                  </a:lnTo>
                  <a:lnTo>
                    <a:pt x="15" y="345"/>
                  </a:lnTo>
                  <a:lnTo>
                    <a:pt x="15" y="345"/>
                  </a:lnTo>
                  <a:lnTo>
                    <a:pt x="15" y="347"/>
                  </a:lnTo>
                  <a:lnTo>
                    <a:pt x="15" y="347"/>
                  </a:lnTo>
                  <a:lnTo>
                    <a:pt x="15" y="349"/>
                  </a:lnTo>
                  <a:lnTo>
                    <a:pt x="15" y="349"/>
                  </a:lnTo>
                  <a:lnTo>
                    <a:pt x="15" y="349"/>
                  </a:lnTo>
                  <a:lnTo>
                    <a:pt x="15" y="351"/>
                  </a:lnTo>
                  <a:lnTo>
                    <a:pt x="15" y="351"/>
                  </a:lnTo>
                  <a:lnTo>
                    <a:pt x="15" y="353"/>
                  </a:lnTo>
                  <a:lnTo>
                    <a:pt x="19" y="353"/>
                  </a:lnTo>
                  <a:lnTo>
                    <a:pt x="19" y="353"/>
                  </a:lnTo>
                  <a:lnTo>
                    <a:pt x="25" y="351"/>
                  </a:lnTo>
                  <a:lnTo>
                    <a:pt x="27" y="349"/>
                  </a:lnTo>
                  <a:lnTo>
                    <a:pt x="27" y="349"/>
                  </a:lnTo>
                  <a:lnTo>
                    <a:pt x="27" y="347"/>
                  </a:lnTo>
                  <a:lnTo>
                    <a:pt x="27" y="345"/>
                  </a:lnTo>
                  <a:lnTo>
                    <a:pt x="27" y="345"/>
                  </a:lnTo>
                  <a:lnTo>
                    <a:pt x="27" y="343"/>
                  </a:lnTo>
                  <a:close/>
                  <a:moveTo>
                    <a:pt x="46" y="316"/>
                  </a:moveTo>
                  <a:lnTo>
                    <a:pt x="44" y="316"/>
                  </a:lnTo>
                  <a:lnTo>
                    <a:pt x="44" y="316"/>
                  </a:lnTo>
                  <a:lnTo>
                    <a:pt x="42" y="318"/>
                  </a:lnTo>
                  <a:lnTo>
                    <a:pt x="42" y="318"/>
                  </a:lnTo>
                  <a:lnTo>
                    <a:pt x="42" y="318"/>
                  </a:lnTo>
                  <a:lnTo>
                    <a:pt x="42" y="318"/>
                  </a:lnTo>
                  <a:lnTo>
                    <a:pt x="40" y="318"/>
                  </a:lnTo>
                  <a:lnTo>
                    <a:pt x="42" y="320"/>
                  </a:lnTo>
                  <a:lnTo>
                    <a:pt x="42" y="320"/>
                  </a:lnTo>
                  <a:lnTo>
                    <a:pt x="42" y="318"/>
                  </a:lnTo>
                  <a:lnTo>
                    <a:pt x="42" y="318"/>
                  </a:lnTo>
                  <a:lnTo>
                    <a:pt x="44" y="318"/>
                  </a:lnTo>
                  <a:lnTo>
                    <a:pt x="44" y="318"/>
                  </a:lnTo>
                  <a:lnTo>
                    <a:pt x="44" y="320"/>
                  </a:lnTo>
                  <a:lnTo>
                    <a:pt x="44" y="320"/>
                  </a:lnTo>
                  <a:lnTo>
                    <a:pt x="44" y="320"/>
                  </a:lnTo>
                  <a:lnTo>
                    <a:pt x="48" y="318"/>
                  </a:lnTo>
                  <a:lnTo>
                    <a:pt x="48" y="316"/>
                  </a:lnTo>
                  <a:lnTo>
                    <a:pt x="48" y="316"/>
                  </a:lnTo>
                  <a:lnTo>
                    <a:pt x="46" y="316"/>
                  </a:lnTo>
                  <a:close/>
                  <a:moveTo>
                    <a:pt x="17" y="150"/>
                  </a:moveTo>
                  <a:lnTo>
                    <a:pt x="17" y="150"/>
                  </a:lnTo>
                  <a:lnTo>
                    <a:pt x="17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19" y="150"/>
                  </a:lnTo>
                  <a:lnTo>
                    <a:pt x="19" y="150"/>
                  </a:lnTo>
                  <a:lnTo>
                    <a:pt x="19" y="148"/>
                  </a:lnTo>
                  <a:lnTo>
                    <a:pt x="19" y="148"/>
                  </a:lnTo>
                  <a:lnTo>
                    <a:pt x="17" y="148"/>
                  </a:lnTo>
                  <a:lnTo>
                    <a:pt x="17" y="148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0"/>
                  </a:lnTo>
                  <a:lnTo>
                    <a:pt x="17" y="150"/>
                  </a:lnTo>
                  <a:close/>
                  <a:moveTo>
                    <a:pt x="4" y="124"/>
                  </a:moveTo>
                  <a:lnTo>
                    <a:pt x="4" y="124"/>
                  </a:lnTo>
                  <a:lnTo>
                    <a:pt x="4" y="127"/>
                  </a:lnTo>
                  <a:lnTo>
                    <a:pt x="4" y="127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2"/>
                  </a:lnTo>
                  <a:lnTo>
                    <a:pt x="4" y="120"/>
                  </a:lnTo>
                  <a:lnTo>
                    <a:pt x="2" y="122"/>
                  </a:lnTo>
                  <a:lnTo>
                    <a:pt x="4" y="122"/>
                  </a:lnTo>
                  <a:lnTo>
                    <a:pt x="4" y="124"/>
                  </a:lnTo>
                  <a:close/>
                  <a:moveTo>
                    <a:pt x="4" y="356"/>
                  </a:moveTo>
                  <a:lnTo>
                    <a:pt x="2" y="356"/>
                  </a:lnTo>
                  <a:lnTo>
                    <a:pt x="0" y="358"/>
                  </a:lnTo>
                  <a:lnTo>
                    <a:pt x="7" y="358"/>
                  </a:lnTo>
                  <a:lnTo>
                    <a:pt x="9" y="358"/>
                  </a:lnTo>
                  <a:lnTo>
                    <a:pt x="11" y="356"/>
                  </a:lnTo>
                  <a:lnTo>
                    <a:pt x="9" y="356"/>
                  </a:lnTo>
                  <a:lnTo>
                    <a:pt x="4" y="356"/>
                  </a:lnTo>
                  <a:close/>
                  <a:moveTo>
                    <a:pt x="143" y="467"/>
                  </a:moveTo>
                  <a:lnTo>
                    <a:pt x="143" y="465"/>
                  </a:lnTo>
                  <a:lnTo>
                    <a:pt x="143" y="465"/>
                  </a:lnTo>
                  <a:lnTo>
                    <a:pt x="141" y="465"/>
                  </a:lnTo>
                  <a:lnTo>
                    <a:pt x="141" y="467"/>
                  </a:lnTo>
                  <a:lnTo>
                    <a:pt x="138" y="469"/>
                  </a:lnTo>
                  <a:lnTo>
                    <a:pt x="138" y="469"/>
                  </a:lnTo>
                  <a:lnTo>
                    <a:pt x="138" y="469"/>
                  </a:lnTo>
                  <a:lnTo>
                    <a:pt x="141" y="469"/>
                  </a:lnTo>
                  <a:lnTo>
                    <a:pt x="141" y="469"/>
                  </a:lnTo>
                  <a:lnTo>
                    <a:pt x="141" y="471"/>
                  </a:lnTo>
                  <a:lnTo>
                    <a:pt x="143" y="471"/>
                  </a:lnTo>
                  <a:lnTo>
                    <a:pt x="143" y="471"/>
                  </a:lnTo>
                  <a:lnTo>
                    <a:pt x="143" y="471"/>
                  </a:lnTo>
                  <a:lnTo>
                    <a:pt x="145" y="469"/>
                  </a:lnTo>
                  <a:lnTo>
                    <a:pt x="145" y="469"/>
                  </a:lnTo>
                  <a:lnTo>
                    <a:pt x="145" y="467"/>
                  </a:lnTo>
                  <a:lnTo>
                    <a:pt x="145" y="467"/>
                  </a:lnTo>
                  <a:lnTo>
                    <a:pt x="143" y="467"/>
                  </a:lnTo>
                  <a:close/>
                  <a:moveTo>
                    <a:pt x="522" y="76"/>
                  </a:moveTo>
                  <a:lnTo>
                    <a:pt x="522" y="74"/>
                  </a:lnTo>
                  <a:lnTo>
                    <a:pt x="522" y="74"/>
                  </a:lnTo>
                  <a:lnTo>
                    <a:pt x="522" y="72"/>
                  </a:lnTo>
                  <a:lnTo>
                    <a:pt x="522" y="70"/>
                  </a:lnTo>
                  <a:lnTo>
                    <a:pt x="522" y="63"/>
                  </a:lnTo>
                  <a:lnTo>
                    <a:pt x="522" y="61"/>
                  </a:lnTo>
                  <a:lnTo>
                    <a:pt x="522" y="61"/>
                  </a:lnTo>
                  <a:lnTo>
                    <a:pt x="520" y="63"/>
                  </a:lnTo>
                  <a:lnTo>
                    <a:pt x="520" y="63"/>
                  </a:lnTo>
                  <a:lnTo>
                    <a:pt x="518" y="63"/>
                  </a:lnTo>
                  <a:lnTo>
                    <a:pt x="518" y="61"/>
                  </a:lnTo>
                  <a:lnTo>
                    <a:pt x="516" y="61"/>
                  </a:lnTo>
                  <a:lnTo>
                    <a:pt x="516" y="59"/>
                  </a:lnTo>
                  <a:lnTo>
                    <a:pt x="511" y="59"/>
                  </a:lnTo>
                  <a:lnTo>
                    <a:pt x="507" y="59"/>
                  </a:lnTo>
                  <a:lnTo>
                    <a:pt x="495" y="61"/>
                  </a:lnTo>
                  <a:lnTo>
                    <a:pt x="492" y="61"/>
                  </a:lnTo>
                  <a:lnTo>
                    <a:pt x="490" y="63"/>
                  </a:lnTo>
                  <a:lnTo>
                    <a:pt x="484" y="70"/>
                  </a:lnTo>
                  <a:lnTo>
                    <a:pt x="469" y="80"/>
                  </a:lnTo>
                  <a:lnTo>
                    <a:pt x="467" y="80"/>
                  </a:lnTo>
                  <a:lnTo>
                    <a:pt x="465" y="80"/>
                  </a:lnTo>
                  <a:lnTo>
                    <a:pt x="461" y="74"/>
                  </a:lnTo>
                  <a:lnTo>
                    <a:pt x="459" y="74"/>
                  </a:lnTo>
                  <a:lnTo>
                    <a:pt x="457" y="74"/>
                  </a:lnTo>
                  <a:lnTo>
                    <a:pt x="455" y="74"/>
                  </a:lnTo>
                  <a:lnTo>
                    <a:pt x="451" y="76"/>
                  </a:lnTo>
                  <a:lnTo>
                    <a:pt x="446" y="74"/>
                  </a:lnTo>
                  <a:lnTo>
                    <a:pt x="440" y="70"/>
                  </a:lnTo>
                  <a:lnTo>
                    <a:pt x="434" y="68"/>
                  </a:lnTo>
                  <a:lnTo>
                    <a:pt x="430" y="68"/>
                  </a:lnTo>
                  <a:lnTo>
                    <a:pt x="425" y="66"/>
                  </a:lnTo>
                  <a:lnTo>
                    <a:pt x="423" y="66"/>
                  </a:lnTo>
                  <a:lnTo>
                    <a:pt x="421" y="63"/>
                  </a:lnTo>
                  <a:lnTo>
                    <a:pt x="417" y="61"/>
                  </a:lnTo>
                  <a:lnTo>
                    <a:pt x="413" y="61"/>
                  </a:lnTo>
                  <a:lnTo>
                    <a:pt x="411" y="61"/>
                  </a:lnTo>
                  <a:lnTo>
                    <a:pt x="407" y="63"/>
                  </a:lnTo>
                  <a:lnTo>
                    <a:pt x="405" y="63"/>
                  </a:lnTo>
                  <a:lnTo>
                    <a:pt x="405" y="63"/>
                  </a:lnTo>
                  <a:lnTo>
                    <a:pt x="405" y="61"/>
                  </a:lnTo>
                  <a:lnTo>
                    <a:pt x="409" y="59"/>
                  </a:lnTo>
                  <a:lnTo>
                    <a:pt x="409" y="57"/>
                  </a:lnTo>
                  <a:lnTo>
                    <a:pt x="411" y="57"/>
                  </a:lnTo>
                  <a:lnTo>
                    <a:pt x="411" y="55"/>
                  </a:lnTo>
                  <a:lnTo>
                    <a:pt x="411" y="53"/>
                  </a:lnTo>
                  <a:lnTo>
                    <a:pt x="411" y="51"/>
                  </a:lnTo>
                  <a:lnTo>
                    <a:pt x="409" y="51"/>
                  </a:lnTo>
                  <a:lnTo>
                    <a:pt x="407" y="49"/>
                  </a:lnTo>
                  <a:lnTo>
                    <a:pt x="405" y="49"/>
                  </a:lnTo>
                  <a:lnTo>
                    <a:pt x="400" y="49"/>
                  </a:lnTo>
                  <a:lnTo>
                    <a:pt x="398" y="49"/>
                  </a:lnTo>
                  <a:lnTo>
                    <a:pt x="396" y="49"/>
                  </a:lnTo>
                  <a:lnTo>
                    <a:pt x="396" y="49"/>
                  </a:lnTo>
                  <a:lnTo>
                    <a:pt x="394" y="49"/>
                  </a:lnTo>
                  <a:lnTo>
                    <a:pt x="392" y="49"/>
                  </a:lnTo>
                  <a:lnTo>
                    <a:pt x="392" y="51"/>
                  </a:lnTo>
                  <a:lnTo>
                    <a:pt x="392" y="51"/>
                  </a:lnTo>
                  <a:lnTo>
                    <a:pt x="390" y="51"/>
                  </a:lnTo>
                  <a:lnTo>
                    <a:pt x="390" y="51"/>
                  </a:lnTo>
                  <a:lnTo>
                    <a:pt x="388" y="51"/>
                  </a:lnTo>
                  <a:lnTo>
                    <a:pt x="358" y="49"/>
                  </a:lnTo>
                  <a:lnTo>
                    <a:pt x="356" y="49"/>
                  </a:lnTo>
                  <a:lnTo>
                    <a:pt x="354" y="51"/>
                  </a:lnTo>
                  <a:lnTo>
                    <a:pt x="354" y="53"/>
                  </a:lnTo>
                  <a:lnTo>
                    <a:pt x="352" y="53"/>
                  </a:lnTo>
                  <a:lnTo>
                    <a:pt x="350" y="53"/>
                  </a:lnTo>
                  <a:lnTo>
                    <a:pt x="344" y="55"/>
                  </a:lnTo>
                  <a:lnTo>
                    <a:pt x="342" y="55"/>
                  </a:lnTo>
                  <a:lnTo>
                    <a:pt x="331" y="61"/>
                  </a:lnTo>
                  <a:lnTo>
                    <a:pt x="329" y="61"/>
                  </a:lnTo>
                  <a:lnTo>
                    <a:pt x="329" y="63"/>
                  </a:lnTo>
                  <a:lnTo>
                    <a:pt x="329" y="66"/>
                  </a:lnTo>
                  <a:lnTo>
                    <a:pt x="331" y="66"/>
                  </a:lnTo>
                  <a:lnTo>
                    <a:pt x="331" y="66"/>
                  </a:lnTo>
                  <a:lnTo>
                    <a:pt x="331" y="68"/>
                  </a:lnTo>
                  <a:lnTo>
                    <a:pt x="331" y="68"/>
                  </a:lnTo>
                  <a:lnTo>
                    <a:pt x="329" y="74"/>
                  </a:lnTo>
                  <a:lnTo>
                    <a:pt x="325" y="89"/>
                  </a:lnTo>
                  <a:lnTo>
                    <a:pt x="323" y="89"/>
                  </a:lnTo>
                  <a:lnTo>
                    <a:pt x="323" y="89"/>
                  </a:lnTo>
                  <a:lnTo>
                    <a:pt x="319" y="91"/>
                  </a:lnTo>
                  <a:lnTo>
                    <a:pt x="312" y="91"/>
                  </a:lnTo>
                  <a:lnTo>
                    <a:pt x="306" y="91"/>
                  </a:lnTo>
                  <a:lnTo>
                    <a:pt x="298" y="101"/>
                  </a:lnTo>
                  <a:lnTo>
                    <a:pt x="291" y="103"/>
                  </a:lnTo>
                  <a:lnTo>
                    <a:pt x="289" y="103"/>
                  </a:lnTo>
                  <a:lnTo>
                    <a:pt x="285" y="101"/>
                  </a:lnTo>
                  <a:lnTo>
                    <a:pt x="281" y="99"/>
                  </a:lnTo>
                  <a:lnTo>
                    <a:pt x="281" y="99"/>
                  </a:lnTo>
                  <a:lnTo>
                    <a:pt x="279" y="99"/>
                  </a:lnTo>
                  <a:lnTo>
                    <a:pt x="270" y="103"/>
                  </a:lnTo>
                  <a:lnTo>
                    <a:pt x="268" y="105"/>
                  </a:lnTo>
                  <a:lnTo>
                    <a:pt x="268" y="105"/>
                  </a:lnTo>
                  <a:lnTo>
                    <a:pt x="266" y="103"/>
                  </a:lnTo>
                  <a:lnTo>
                    <a:pt x="266" y="103"/>
                  </a:lnTo>
                  <a:lnTo>
                    <a:pt x="266" y="101"/>
                  </a:lnTo>
                  <a:lnTo>
                    <a:pt x="264" y="101"/>
                  </a:lnTo>
                  <a:lnTo>
                    <a:pt x="262" y="101"/>
                  </a:lnTo>
                  <a:lnTo>
                    <a:pt x="260" y="101"/>
                  </a:lnTo>
                  <a:lnTo>
                    <a:pt x="258" y="101"/>
                  </a:lnTo>
                  <a:lnTo>
                    <a:pt x="256" y="101"/>
                  </a:lnTo>
                  <a:lnTo>
                    <a:pt x="254" y="101"/>
                  </a:lnTo>
                  <a:lnTo>
                    <a:pt x="241" y="95"/>
                  </a:lnTo>
                  <a:lnTo>
                    <a:pt x="239" y="95"/>
                  </a:lnTo>
                  <a:lnTo>
                    <a:pt x="218" y="101"/>
                  </a:lnTo>
                  <a:lnTo>
                    <a:pt x="212" y="101"/>
                  </a:lnTo>
                  <a:lnTo>
                    <a:pt x="210" y="101"/>
                  </a:lnTo>
                  <a:lnTo>
                    <a:pt x="206" y="103"/>
                  </a:lnTo>
                  <a:lnTo>
                    <a:pt x="201" y="108"/>
                  </a:lnTo>
                  <a:lnTo>
                    <a:pt x="199" y="110"/>
                  </a:lnTo>
                  <a:lnTo>
                    <a:pt x="199" y="110"/>
                  </a:lnTo>
                  <a:lnTo>
                    <a:pt x="199" y="112"/>
                  </a:lnTo>
                  <a:lnTo>
                    <a:pt x="199" y="112"/>
                  </a:lnTo>
                  <a:lnTo>
                    <a:pt x="199" y="112"/>
                  </a:lnTo>
                  <a:lnTo>
                    <a:pt x="197" y="110"/>
                  </a:lnTo>
                  <a:lnTo>
                    <a:pt x="197" y="110"/>
                  </a:lnTo>
                  <a:lnTo>
                    <a:pt x="197" y="112"/>
                  </a:lnTo>
                  <a:lnTo>
                    <a:pt x="197" y="112"/>
                  </a:lnTo>
                  <a:lnTo>
                    <a:pt x="195" y="112"/>
                  </a:lnTo>
                  <a:lnTo>
                    <a:pt x="193" y="112"/>
                  </a:lnTo>
                  <a:lnTo>
                    <a:pt x="193" y="112"/>
                  </a:lnTo>
                  <a:lnTo>
                    <a:pt x="193" y="112"/>
                  </a:lnTo>
                  <a:lnTo>
                    <a:pt x="191" y="112"/>
                  </a:lnTo>
                  <a:lnTo>
                    <a:pt x="189" y="114"/>
                  </a:lnTo>
                  <a:lnTo>
                    <a:pt x="189" y="114"/>
                  </a:lnTo>
                  <a:lnTo>
                    <a:pt x="187" y="114"/>
                  </a:lnTo>
                  <a:lnTo>
                    <a:pt x="187" y="114"/>
                  </a:lnTo>
                  <a:lnTo>
                    <a:pt x="185" y="114"/>
                  </a:lnTo>
                  <a:lnTo>
                    <a:pt x="185" y="112"/>
                  </a:lnTo>
                  <a:lnTo>
                    <a:pt x="185" y="112"/>
                  </a:lnTo>
                  <a:lnTo>
                    <a:pt x="182" y="112"/>
                  </a:lnTo>
                  <a:lnTo>
                    <a:pt x="182" y="114"/>
                  </a:lnTo>
                  <a:lnTo>
                    <a:pt x="182" y="114"/>
                  </a:lnTo>
                  <a:lnTo>
                    <a:pt x="178" y="116"/>
                  </a:lnTo>
                  <a:lnTo>
                    <a:pt x="174" y="116"/>
                  </a:lnTo>
                  <a:lnTo>
                    <a:pt x="170" y="114"/>
                  </a:lnTo>
                  <a:lnTo>
                    <a:pt x="166" y="112"/>
                  </a:lnTo>
                  <a:lnTo>
                    <a:pt x="162" y="105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55" y="103"/>
                  </a:lnTo>
                  <a:lnTo>
                    <a:pt x="153" y="103"/>
                  </a:lnTo>
                  <a:lnTo>
                    <a:pt x="151" y="103"/>
                  </a:lnTo>
                  <a:lnTo>
                    <a:pt x="151" y="103"/>
                  </a:lnTo>
                  <a:lnTo>
                    <a:pt x="151" y="101"/>
                  </a:lnTo>
                  <a:lnTo>
                    <a:pt x="151" y="99"/>
                  </a:lnTo>
                  <a:lnTo>
                    <a:pt x="145" y="93"/>
                  </a:lnTo>
                  <a:lnTo>
                    <a:pt x="143" y="89"/>
                  </a:lnTo>
                  <a:lnTo>
                    <a:pt x="143" y="87"/>
                  </a:lnTo>
                  <a:lnTo>
                    <a:pt x="141" y="84"/>
                  </a:lnTo>
                  <a:lnTo>
                    <a:pt x="134" y="84"/>
                  </a:lnTo>
                  <a:lnTo>
                    <a:pt x="132" y="84"/>
                  </a:lnTo>
                  <a:lnTo>
                    <a:pt x="130" y="82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4" y="76"/>
                  </a:lnTo>
                  <a:lnTo>
                    <a:pt x="122" y="74"/>
                  </a:lnTo>
                  <a:lnTo>
                    <a:pt x="122" y="72"/>
                  </a:lnTo>
                  <a:lnTo>
                    <a:pt x="120" y="68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5" y="66"/>
                  </a:lnTo>
                  <a:lnTo>
                    <a:pt x="113" y="66"/>
                  </a:lnTo>
                  <a:lnTo>
                    <a:pt x="111" y="66"/>
                  </a:lnTo>
                  <a:lnTo>
                    <a:pt x="109" y="63"/>
                  </a:lnTo>
                  <a:lnTo>
                    <a:pt x="107" y="59"/>
                  </a:lnTo>
                  <a:lnTo>
                    <a:pt x="107" y="59"/>
                  </a:lnTo>
                  <a:lnTo>
                    <a:pt x="105" y="59"/>
                  </a:lnTo>
                  <a:lnTo>
                    <a:pt x="105" y="59"/>
                  </a:lnTo>
                  <a:lnTo>
                    <a:pt x="105" y="57"/>
                  </a:lnTo>
                  <a:lnTo>
                    <a:pt x="103" y="55"/>
                  </a:lnTo>
                  <a:lnTo>
                    <a:pt x="94" y="49"/>
                  </a:lnTo>
                  <a:lnTo>
                    <a:pt x="94" y="47"/>
                  </a:lnTo>
                  <a:lnTo>
                    <a:pt x="92" y="45"/>
                  </a:lnTo>
                  <a:lnTo>
                    <a:pt x="92" y="42"/>
                  </a:lnTo>
                  <a:lnTo>
                    <a:pt x="92" y="38"/>
                  </a:lnTo>
                  <a:lnTo>
                    <a:pt x="92" y="32"/>
                  </a:lnTo>
                  <a:lnTo>
                    <a:pt x="92" y="30"/>
                  </a:lnTo>
                  <a:lnTo>
                    <a:pt x="90" y="28"/>
                  </a:lnTo>
                  <a:lnTo>
                    <a:pt x="86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6"/>
                  </a:lnTo>
                  <a:lnTo>
                    <a:pt x="82" y="26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8" y="11"/>
                  </a:lnTo>
                  <a:lnTo>
                    <a:pt x="90" y="7"/>
                  </a:lnTo>
                  <a:lnTo>
                    <a:pt x="92" y="0"/>
                  </a:lnTo>
                  <a:lnTo>
                    <a:pt x="92" y="3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71" y="13"/>
                  </a:lnTo>
                  <a:lnTo>
                    <a:pt x="65" y="13"/>
                  </a:lnTo>
                  <a:lnTo>
                    <a:pt x="63" y="15"/>
                  </a:lnTo>
                  <a:lnTo>
                    <a:pt x="63" y="17"/>
                  </a:lnTo>
                  <a:lnTo>
                    <a:pt x="63" y="21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1" y="26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30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1" y="30"/>
                  </a:lnTo>
                  <a:lnTo>
                    <a:pt x="61" y="32"/>
                  </a:lnTo>
                  <a:lnTo>
                    <a:pt x="57" y="38"/>
                  </a:lnTo>
                  <a:lnTo>
                    <a:pt x="55" y="40"/>
                  </a:lnTo>
                  <a:lnTo>
                    <a:pt x="40" y="51"/>
                  </a:lnTo>
                  <a:lnTo>
                    <a:pt x="38" y="53"/>
                  </a:lnTo>
                  <a:lnTo>
                    <a:pt x="38" y="55"/>
                  </a:lnTo>
                  <a:lnTo>
                    <a:pt x="38" y="66"/>
                  </a:lnTo>
                  <a:lnTo>
                    <a:pt x="36" y="70"/>
                  </a:lnTo>
                  <a:lnTo>
                    <a:pt x="36" y="72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0" y="82"/>
                  </a:lnTo>
                  <a:lnTo>
                    <a:pt x="32" y="82"/>
                  </a:lnTo>
                  <a:lnTo>
                    <a:pt x="38" y="80"/>
                  </a:lnTo>
                  <a:lnTo>
                    <a:pt x="40" y="80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6" y="74"/>
                  </a:lnTo>
                  <a:lnTo>
                    <a:pt x="48" y="70"/>
                  </a:lnTo>
                  <a:lnTo>
                    <a:pt x="50" y="70"/>
                  </a:lnTo>
                  <a:lnTo>
                    <a:pt x="53" y="68"/>
                  </a:lnTo>
                  <a:lnTo>
                    <a:pt x="53" y="66"/>
                  </a:lnTo>
                  <a:lnTo>
                    <a:pt x="55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5" y="68"/>
                  </a:lnTo>
                  <a:lnTo>
                    <a:pt x="53" y="70"/>
                  </a:lnTo>
                  <a:lnTo>
                    <a:pt x="53" y="72"/>
                  </a:lnTo>
                  <a:lnTo>
                    <a:pt x="46" y="78"/>
                  </a:lnTo>
                  <a:lnTo>
                    <a:pt x="44" y="78"/>
                  </a:lnTo>
                  <a:lnTo>
                    <a:pt x="42" y="80"/>
                  </a:lnTo>
                  <a:lnTo>
                    <a:pt x="34" y="84"/>
                  </a:lnTo>
                  <a:lnTo>
                    <a:pt x="32" y="84"/>
                  </a:lnTo>
                  <a:lnTo>
                    <a:pt x="27" y="84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9"/>
                  </a:lnTo>
                  <a:lnTo>
                    <a:pt x="30" y="103"/>
                  </a:lnTo>
                  <a:lnTo>
                    <a:pt x="30" y="108"/>
                  </a:lnTo>
                  <a:lnTo>
                    <a:pt x="27" y="110"/>
                  </a:lnTo>
                  <a:lnTo>
                    <a:pt x="27" y="112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3" y="114"/>
                  </a:lnTo>
                  <a:lnTo>
                    <a:pt x="21" y="116"/>
                  </a:lnTo>
                  <a:lnTo>
                    <a:pt x="19" y="116"/>
                  </a:lnTo>
                  <a:lnTo>
                    <a:pt x="19" y="118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21" y="124"/>
                  </a:lnTo>
                  <a:lnTo>
                    <a:pt x="21" y="127"/>
                  </a:lnTo>
                  <a:lnTo>
                    <a:pt x="21" y="129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23" y="135"/>
                  </a:lnTo>
                  <a:lnTo>
                    <a:pt x="25" y="137"/>
                  </a:lnTo>
                  <a:lnTo>
                    <a:pt x="25" y="139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23" y="145"/>
                  </a:lnTo>
                  <a:lnTo>
                    <a:pt x="23" y="148"/>
                  </a:lnTo>
                  <a:lnTo>
                    <a:pt x="23" y="150"/>
                  </a:lnTo>
                  <a:lnTo>
                    <a:pt x="25" y="154"/>
                  </a:lnTo>
                  <a:lnTo>
                    <a:pt x="25" y="154"/>
                  </a:lnTo>
                  <a:lnTo>
                    <a:pt x="25" y="156"/>
                  </a:lnTo>
                  <a:lnTo>
                    <a:pt x="25" y="158"/>
                  </a:lnTo>
                  <a:lnTo>
                    <a:pt x="25" y="160"/>
                  </a:lnTo>
                  <a:lnTo>
                    <a:pt x="23" y="164"/>
                  </a:lnTo>
                  <a:lnTo>
                    <a:pt x="25" y="166"/>
                  </a:lnTo>
                  <a:lnTo>
                    <a:pt x="27" y="169"/>
                  </a:lnTo>
                  <a:lnTo>
                    <a:pt x="34" y="169"/>
                  </a:lnTo>
                  <a:lnTo>
                    <a:pt x="34" y="169"/>
                  </a:lnTo>
                  <a:lnTo>
                    <a:pt x="36" y="169"/>
                  </a:lnTo>
                  <a:lnTo>
                    <a:pt x="42" y="173"/>
                  </a:lnTo>
                  <a:lnTo>
                    <a:pt x="46" y="185"/>
                  </a:lnTo>
                  <a:lnTo>
                    <a:pt x="48" y="187"/>
                  </a:lnTo>
                  <a:lnTo>
                    <a:pt x="55" y="192"/>
                  </a:lnTo>
                  <a:lnTo>
                    <a:pt x="59" y="194"/>
                  </a:lnTo>
                  <a:lnTo>
                    <a:pt x="59" y="196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6" y="194"/>
                  </a:lnTo>
                  <a:lnTo>
                    <a:pt x="46" y="194"/>
                  </a:lnTo>
                  <a:lnTo>
                    <a:pt x="46" y="198"/>
                  </a:lnTo>
                  <a:lnTo>
                    <a:pt x="46" y="198"/>
                  </a:lnTo>
                  <a:lnTo>
                    <a:pt x="48" y="202"/>
                  </a:lnTo>
                  <a:lnTo>
                    <a:pt x="48" y="204"/>
                  </a:lnTo>
                  <a:lnTo>
                    <a:pt x="50" y="208"/>
                  </a:lnTo>
                  <a:lnTo>
                    <a:pt x="48" y="213"/>
                  </a:lnTo>
                  <a:lnTo>
                    <a:pt x="50" y="215"/>
                  </a:lnTo>
                  <a:lnTo>
                    <a:pt x="50" y="215"/>
                  </a:lnTo>
                  <a:lnTo>
                    <a:pt x="53" y="217"/>
                  </a:lnTo>
                  <a:lnTo>
                    <a:pt x="53" y="219"/>
                  </a:lnTo>
                  <a:lnTo>
                    <a:pt x="53" y="219"/>
                  </a:lnTo>
                  <a:lnTo>
                    <a:pt x="50" y="217"/>
                  </a:lnTo>
                  <a:lnTo>
                    <a:pt x="48" y="217"/>
                  </a:lnTo>
                  <a:lnTo>
                    <a:pt x="46" y="217"/>
                  </a:lnTo>
                  <a:lnTo>
                    <a:pt x="42" y="215"/>
                  </a:lnTo>
                  <a:lnTo>
                    <a:pt x="40" y="217"/>
                  </a:lnTo>
                  <a:lnTo>
                    <a:pt x="38" y="217"/>
                  </a:lnTo>
                  <a:lnTo>
                    <a:pt x="38" y="217"/>
                  </a:lnTo>
                  <a:lnTo>
                    <a:pt x="36" y="219"/>
                  </a:lnTo>
                  <a:lnTo>
                    <a:pt x="36" y="219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38" y="221"/>
                  </a:lnTo>
                  <a:lnTo>
                    <a:pt x="40" y="221"/>
                  </a:lnTo>
                  <a:lnTo>
                    <a:pt x="42" y="221"/>
                  </a:lnTo>
                  <a:lnTo>
                    <a:pt x="42" y="221"/>
                  </a:lnTo>
                  <a:lnTo>
                    <a:pt x="40" y="223"/>
                  </a:lnTo>
                  <a:lnTo>
                    <a:pt x="42" y="225"/>
                  </a:lnTo>
                  <a:lnTo>
                    <a:pt x="44" y="229"/>
                  </a:lnTo>
                  <a:lnTo>
                    <a:pt x="42" y="229"/>
                  </a:lnTo>
                  <a:lnTo>
                    <a:pt x="42" y="229"/>
                  </a:lnTo>
                  <a:lnTo>
                    <a:pt x="40" y="232"/>
                  </a:lnTo>
                  <a:lnTo>
                    <a:pt x="42" y="236"/>
                  </a:lnTo>
                  <a:lnTo>
                    <a:pt x="42" y="244"/>
                  </a:lnTo>
                  <a:lnTo>
                    <a:pt x="44" y="244"/>
                  </a:lnTo>
                  <a:lnTo>
                    <a:pt x="44" y="246"/>
                  </a:lnTo>
                  <a:lnTo>
                    <a:pt x="46" y="248"/>
                  </a:lnTo>
                  <a:lnTo>
                    <a:pt x="48" y="248"/>
                  </a:lnTo>
                  <a:lnTo>
                    <a:pt x="48" y="248"/>
                  </a:lnTo>
                  <a:lnTo>
                    <a:pt x="48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0" y="248"/>
                  </a:lnTo>
                  <a:lnTo>
                    <a:pt x="53" y="248"/>
                  </a:lnTo>
                  <a:lnTo>
                    <a:pt x="53" y="248"/>
                  </a:lnTo>
                  <a:lnTo>
                    <a:pt x="53" y="250"/>
                  </a:lnTo>
                  <a:lnTo>
                    <a:pt x="53" y="250"/>
                  </a:lnTo>
                  <a:lnTo>
                    <a:pt x="55" y="250"/>
                  </a:lnTo>
                  <a:lnTo>
                    <a:pt x="55" y="250"/>
                  </a:lnTo>
                  <a:lnTo>
                    <a:pt x="55" y="253"/>
                  </a:lnTo>
                  <a:lnTo>
                    <a:pt x="57" y="253"/>
                  </a:lnTo>
                  <a:lnTo>
                    <a:pt x="57" y="253"/>
                  </a:lnTo>
                  <a:lnTo>
                    <a:pt x="63" y="250"/>
                  </a:lnTo>
                  <a:lnTo>
                    <a:pt x="67" y="253"/>
                  </a:lnTo>
                  <a:lnTo>
                    <a:pt x="69" y="253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69" y="255"/>
                  </a:lnTo>
                  <a:lnTo>
                    <a:pt x="67" y="255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5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5" y="257"/>
                  </a:lnTo>
                  <a:lnTo>
                    <a:pt x="67" y="259"/>
                  </a:lnTo>
                  <a:lnTo>
                    <a:pt x="69" y="259"/>
                  </a:lnTo>
                  <a:lnTo>
                    <a:pt x="71" y="259"/>
                  </a:lnTo>
                  <a:lnTo>
                    <a:pt x="74" y="261"/>
                  </a:lnTo>
                  <a:lnTo>
                    <a:pt x="74" y="261"/>
                  </a:lnTo>
                  <a:lnTo>
                    <a:pt x="76" y="263"/>
                  </a:lnTo>
                  <a:lnTo>
                    <a:pt x="76" y="263"/>
                  </a:lnTo>
                  <a:lnTo>
                    <a:pt x="78" y="263"/>
                  </a:lnTo>
                  <a:lnTo>
                    <a:pt x="80" y="263"/>
                  </a:lnTo>
                  <a:lnTo>
                    <a:pt x="80" y="265"/>
                  </a:lnTo>
                  <a:lnTo>
                    <a:pt x="80" y="265"/>
                  </a:lnTo>
                  <a:lnTo>
                    <a:pt x="76" y="265"/>
                  </a:lnTo>
                  <a:lnTo>
                    <a:pt x="76" y="265"/>
                  </a:lnTo>
                  <a:lnTo>
                    <a:pt x="76" y="265"/>
                  </a:lnTo>
                  <a:lnTo>
                    <a:pt x="74" y="265"/>
                  </a:lnTo>
                  <a:lnTo>
                    <a:pt x="71" y="265"/>
                  </a:lnTo>
                  <a:lnTo>
                    <a:pt x="69" y="263"/>
                  </a:lnTo>
                  <a:lnTo>
                    <a:pt x="67" y="261"/>
                  </a:lnTo>
                  <a:lnTo>
                    <a:pt x="61" y="261"/>
                  </a:lnTo>
                  <a:lnTo>
                    <a:pt x="59" y="261"/>
                  </a:lnTo>
                  <a:lnTo>
                    <a:pt x="57" y="259"/>
                  </a:lnTo>
                  <a:lnTo>
                    <a:pt x="57" y="259"/>
                  </a:lnTo>
                  <a:lnTo>
                    <a:pt x="55" y="261"/>
                  </a:lnTo>
                  <a:lnTo>
                    <a:pt x="55" y="261"/>
                  </a:lnTo>
                  <a:lnTo>
                    <a:pt x="57" y="278"/>
                  </a:lnTo>
                  <a:lnTo>
                    <a:pt x="59" y="278"/>
                  </a:lnTo>
                  <a:lnTo>
                    <a:pt x="61" y="280"/>
                  </a:lnTo>
                  <a:lnTo>
                    <a:pt x="63" y="280"/>
                  </a:lnTo>
                  <a:lnTo>
                    <a:pt x="63" y="280"/>
                  </a:lnTo>
                  <a:lnTo>
                    <a:pt x="67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71" y="282"/>
                  </a:lnTo>
                  <a:lnTo>
                    <a:pt x="71" y="280"/>
                  </a:lnTo>
                  <a:lnTo>
                    <a:pt x="71" y="278"/>
                  </a:lnTo>
                  <a:lnTo>
                    <a:pt x="71" y="278"/>
                  </a:lnTo>
                  <a:lnTo>
                    <a:pt x="71" y="278"/>
                  </a:lnTo>
                  <a:lnTo>
                    <a:pt x="71" y="276"/>
                  </a:lnTo>
                  <a:lnTo>
                    <a:pt x="71" y="276"/>
                  </a:lnTo>
                  <a:lnTo>
                    <a:pt x="74" y="276"/>
                  </a:lnTo>
                  <a:lnTo>
                    <a:pt x="78" y="276"/>
                  </a:lnTo>
                  <a:lnTo>
                    <a:pt x="82" y="278"/>
                  </a:lnTo>
                  <a:lnTo>
                    <a:pt x="84" y="280"/>
                  </a:lnTo>
                  <a:lnTo>
                    <a:pt x="86" y="280"/>
                  </a:lnTo>
                  <a:lnTo>
                    <a:pt x="88" y="286"/>
                  </a:lnTo>
                  <a:lnTo>
                    <a:pt x="88" y="286"/>
                  </a:lnTo>
                  <a:lnTo>
                    <a:pt x="90" y="286"/>
                  </a:lnTo>
                  <a:lnTo>
                    <a:pt x="90" y="286"/>
                  </a:lnTo>
                  <a:lnTo>
                    <a:pt x="90" y="286"/>
                  </a:lnTo>
                  <a:lnTo>
                    <a:pt x="92" y="288"/>
                  </a:lnTo>
                  <a:lnTo>
                    <a:pt x="94" y="288"/>
                  </a:lnTo>
                  <a:lnTo>
                    <a:pt x="99" y="286"/>
                  </a:lnTo>
                  <a:lnTo>
                    <a:pt x="99" y="286"/>
                  </a:lnTo>
                  <a:lnTo>
                    <a:pt x="99" y="284"/>
                  </a:lnTo>
                  <a:lnTo>
                    <a:pt x="99" y="282"/>
                  </a:lnTo>
                  <a:lnTo>
                    <a:pt x="101" y="280"/>
                  </a:lnTo>
                  <a:lnTo>
                    <a:pt x="101" y="280"/>
                  </a:lnTo>
                  <a:lnTo>
                    <a:pt x="103" y="278"/>
                  </a:lnTo>
                  <a:lnTo>
                    <a:pt x="103" y="278"/>
                  </a:lnTo>
                  <a:lnTo>
                    <a:pt x="103" y="280"/>
                  </a:lnTo>
                  <a:lnTo>
                    <a:pt x="103" y="282"/>
                  </a:lnTo>
                  <a:lnTo>
                    <a:pt x="101" y="282"/>
                  </a:lnTo>
                  <a:lnTo>
                    <a:pt x="101" y="282"/>
                  </a:lnTo>
                  <a:lnTo>
                    <a:pt x="101" y="284"/>
                  </a:lnTo>
                  <a:lnTo>
                    <a:pt x="101" y="286"/>
                  </a:lnTo>
                  <a:lnTo>
                    <a:pt x="101" y="288"/>
                  </a:lnTo>
                  <a:lnTo>
                    <a:pt x="103" y="290"/>
                  </a:lnTo>
                  <a:lnTo>
                    <a:pt x="105" y="292"/>
                  </a:lnTo>
                  <a:lnTo>
                    <a:pt x="105" y="295"/>
                  </a:lnTo>
                  <a:lnTo>
                    <a:pt x="107" y="295"/>
                  </a:lnTo>
                  <a:lnTo>
                    <a:pt x="109" y="297"/>
                  </a:lnTo>
                  <a:lnTo>
                    <a:pt x="111" y="299"/>
                  </a:lnTo>
                  <a:lnTo>
                    <a:pt x="113" y="299"/>
                  </a:lnTo>
                  <a:lnTo>
                    <a:pt x="113" y="299"/>
                  </a:lnTo>
                  <a:lnTo>
                    <a:pt x="115" y="299"/>
                  </a:lnTo>
                  <a:lnTo>
                    <a:pt x="115" y="301"/>
                  </a:lnTo>
                  <a:lnTo>
                    <a:pt x="118" y="301"/>
                  </a:lnTo>
                  <a:lnTo>
                    <a:pt x="120" y="301"/>
                  </a:lnTo>
                  <a:lnTo>
                    <a:pt x="120" y="303"/>
                  </a:lnTo>
                  <a:lnTo>
                    <a:pt x="120" y="307"/>
                  </a:lnTo>
                  <a:lnTo>
                    <a:pt x="118" y="309"/>
                  </a:lnTo>
                  <a:lnTo>
                    <a:pt x="120" y="311"/>
                  </a:lnTo>
                  <a:lnTo>
                    <a:pt x="122" y="311"/>
                  </a:lnTo>
                  <a:lnTo>
                    <a:pt x="122" y="313"/>
                  </a:lnTo>
                  <a:lnTo>
                    <a:pt x="122" y="316"/>
                  </a:lnTo>
                  <a:lnTo>
                    <a:pt x="124" y="316"/>
                  </a:lnTo>
                  <a:lnTo>
                    <a:pt x="126" y="316"/>
                  </a:lnTo>
                  <a:lnTo>
                    <a:pt x="128" y="318"/>
                  </a:lnTo>
                  <a:lnTo>
                    <a:pt x="130" y="320"/>
                  </a:lnTo>
                  <a:lnTo>
                    <a:pt x="132" y="324"/>
                  </a:lnTo>
                  <a:lnTo>
                    <a:pt x="132" y="326"/>
                  </a:lnTo>
                  <a:lnTo>
                    <a:pt x="132" y="330"/>
                  </a:lnTo>
                  <a:lnTo>
                    <a:pt x="130" y="343"/>
                  </a:lnTo>
                  <a:lnTo>
                    <a:pt x="130" y="349"/>
                  </a:lnTo>
                  <a:lnTo>
                    <a:pt x="128" y="351"/>
                  </a:lnTo>
                  <a:lnTo>
                    <a:pt x="126" y="358"/>
                  </a:lnTo>
                  <a:lnTo>
                    <a:pt x="126" y="360"/>
                  </a:lnTo>
                  <a:lnTo>
                    <a:pt x="124" y="360"/>
                  </a:lnTo>
                  <a:lnTo>
                    <a:pt x="124" y="360"/>
                  </a:lnTo>
                  <a:lnTo>
                    <a:pt x="118" y="362"/>
                  </a:lnTo>
                  <a:lnTo>
                    <a:pt x="118" y="364"/>
                  </a:lnTo>
                  <a:lnTo>
                    <a:pt x="118" y="364"/>
                  </a:lnTo>
                  <a:lnTo>
                    <a:pt x="118" y="366"/>
                  </a:lnTo>
                  <a:lnTo>
                    <a:pt x="118" y="366"/>
                  </a:lnTo>
                  <a:lnTo>
                    <a:pt x="120" y="366"/>
                  </a:lnTo>
                  <a:lnTo>
                    <a:pt x="118" y="368"/>
                  </a:lnTo>
                  <a:lnTo>
                    <a:pt x="118" y="368"/>
                  </a:lnTo>
                  <a:lnTo>
                    <a:pt x="118" y="368"/>
                  </a:lnTo>
                  <a:lnTo>
                    <a:pt x="122" y="372"/>
                  </a:lnTo>
                  <a:lnTo>
                    <a:pt x="124" y="372"/>
                  </a:lnTo>
                  <a:lnTo>
                    <a:pt x="124" y="374"/>
                  </a:lnTo>
                  <a:lnTo>
                    <a:pt x="130" y="377"/>
                  </a:lnTo>
                  <a:lnTo>
                    <a:pt x="132" y="377"/>
                  </a:lnTo>
                  <a:lnTo>
                    <a:pt x="132" y="377"/>
                  </a:lnTo>
                  <a:lnTo>
                    <a:pt x="134" y="381"/>
                  </a:lnTo>
                  <a:lnTo>
                    <a:pt x="134" y="381"/>
                  </a:lnTo>
                  <a:lnTo>
                    <a:pt x="138" y="387"/>
                  </a:lnTo>
                  <a:lnTo>
                    <a:pt x="138" y="391"/>
                  </a:lnTo>
                  <a:lnTo>
                    <a:pt x="136" y="395"/>
                  </a:lnTo>
                  <a:lnTo>
                    <a:pt x="136" y="400"/>
                  </a:lnTo>
                  <a:lnTo>
                    <a:pt x="134" y="404"/>
                  </a:lnTo>
                  <a:lnTo>
                    <a:pt x="134" y="404"/>
                  </a:lnTo>
                  <a:lnTo>
                    <a:pt x="134" y="406"/>
                  </a:lnTo>
                  <a:lnTo>
                    <a:pt x="136" y="408"/>
                  </a:lnTo>
                  <a:lnTo>
                    <a:pt x="136" y="408"/>
                  </a:lnTo>
                  <a:lnTo>
                    <a:pt x="138" y="410"/>
                  </a:lnTo>
                  <a:lnTo>
                    <a:pt x="138" y="412"/>
                  </a:lnTo>
                  <a:lnTo>
                    <a:pt x="141" y="421"/>
                  </a:lnTo>
                  <a:lnTo>
                    <a:pt x="141" y="425"/>
                  </a:lnTo>
                  <a:lnTo>
                    <a:pt x="141" y="425"/>
                  </a:lnTo>
                  <a:lnTo>
                    <a:pt x="145" y="433"/>
                  </a:lnTo>
                  <a:lnTo>
                    <a:pt x="147" y="435"/>
                  </a:lnTo>
                  <a:lnTo>
                    <a:pt x="149" y="435"/>
                  </a:lnTo>
                  <a:lnTo>
                    <a:pt x="153" y="433"/>
                  </a:lnTo>
                  <a:lnTo>
                    <a:pt x="151" y="437"/>
                  </a:lnTo>
                  <a:lnTo>
                    <a:pt x="147" y="437"/>
                  </a:lnTo>
                  <a:lnTo>
                    <a:pt x="145" y="437"/>
                  </a:lnTo>
                  <a:lnTo>
                    <a:pt x="143" y="440"/>
                  </a:lnTo>
                  <a:lnTo>
                    <a:pt x="143" y="440"/>
                  </a:lnTo>
                  <a:lnTo>
                    <a:pt x="141" y="442"/>
                  </a:lnTo>
                  <a:lnTo>
                    <a:pt x="141" y="444"/>
                  </a:lnTo>
                  <a:lnTo>
                    <a:pt x="143" y="444"/>
                  </a:lnTo>
                  <a:lnTo>
                    <a:pt x="145" y="444"/>
                  </a:lnTo>
                  <a:lnTo>
                    <a:pt x="145" y="446"/>
                  </a:lnTo>
                  <a:lnTo>
                    <a:pt x="147" y="448"/>
                  </a:lnTo>
                  <a:lnTo>
                    <a:pt x="147" y="450"/>
                  </a:lnTo>
                  <a:lnTo>
                    <a:pt x="147" y="454"/>
                  </a:lnTo>
                  <a:lnTo>
                    <a:pt x="149" y="458"/>
                  </a:lnTo>
                  <a:lnTo>
                    <a:pt x="149" y="461"/>
                  </a:lnTo>
                  <a:lnTo>
                    <a:pt x="149" y="465"/>
                  </a:lnTo>
                  <a:lnTo>
                    <a:pt x="147" y="467"/>
                  </a:lnTo>
                  <a:lnTo>
                    <a:pt x="145" y="469"/>
                  </a:lnTo>
                  <a:lnTo>
                    <a:pt x="147" y="471"/>
                  </a:lnTo>
                  <a:lnTo>
                    <a:pt x="149" y="475"/>
                  </a:lnTo>
                  <a:lnTo>
                    <a:pt x="151" y="479"/>
                  </a:lnTo>
                  <a:lnTo>
                    <a:pt x="155" y="477"/>
                  </a:lnTo>
                  <a:lnTo>
                    <a:pt x="164" y="471"/>
                  </a:lnTo>
                  <a:lnTo>
                    <a:pt x="174" y="467"/>
                  </a:lnTo>
                  <a:lnTo>
                    <a:pt x="178" y="467"/>
                  </a:lnTo>
                  <a:lnTo>
                    <a:pt x="180" y="467"/>
                  </a:lnTo>
                  <a:lnTo>
                    <a:pt x="185" y="471"/>
                  </a:lnTo>
                  <a:lnTo>
                    <a:pt x="185" y="473"/>
                  </a:lnTo>
                  <a:lnTo>
                    <a:pt x="187" y="475"/>
                  </a:lnTo>
                  <a:lnTo>
                    <a:pt x="187" y="477"/>
                  </a:lnTo>
                  <a:lnTo>
                    <a:pt x="187" y="479"/>
                  </a:lnTo>
                  <a:lnTo>
                    <a:pt x="187" y="482"/>
                  </a:lnTo>
                  <a:lnTo>
                    <a:pt x="187" y="482"/>
                  </a:lnTo>
                  <a:lnTo>
                    <a:pt x="185" y="482"/>
                  </a:lnTo>
                  <a:lnTo>
                    <a:pt x="185" y="482"/>
                  </a:lnTo>
                  <a:lnTo>
                    <a:pt x="185" y="484"/>
                  </a:lnTo>
                  <a:lnTo>
                    <a:pt x="189" y="486"/>
                  </a:lnTo>
                  <a:lnTo>
                    <a:pt x="191" y="484"/>
                  </a:lnTo>
                  <a:lnTo>
                    <a:pt x="199" y="475"/>
                  </a:lnTo>
                  <a:lnTo>
                    <a:pt x="201" y="473"/>
                  </a:lnTo>
                  <a:lnTo>
                    <a:pt x="203" y="473"/>
                  </a:lnTo>
                  <a:lnTo>
                    <a:pt x="203" y="473"/>
                  </a:lnTo>
                  <a:lnTo>
                    <a:pt x="210" y="471"/>
                  </a:lnTo>
                  <a:lnTo>
                    <a:pt x="210" y="471"/>
                  </a:lnTo>
                  <a:lnTo>
                    <a:pt x="214" y="467"/>
                  </a:lnTo>
                  <a:lnTo>
                    <a:pt x="216" y="467"/>
                  </a:lnTo>
                  <a:lnTo>
                    <a:pt x="216" y="467"/>
                  </a:lnTo>
                  <a:lnTo>
                    <a:pt x="216" y="467"/>
                  </a:lnTo>
                  <a:lnTo>
                    <a:pt x="218" y="467"/>
                  </a:lnTo>
                  <a:lnTo>
                    <a:pt x="220" y="467"/>
                  </a:lnTo>
                  <a:lnTo>
                    <a:pt x="220" y="465"/>
                  </a:lnTo>
                  <a:lnTo>
                    <a:pt x="222" y="465"/>
                  </a:lnTo>
                  <a:lnTo>
                    <a:pt x="222" y="463"/>
                  </a:lnTo>
                  <a:lnTo>
                    <a:pt x="224" y="458"/>
                  </a:lnTo>
                  <a:lnTo>
                    <a:pt x="224" y="456"/>
                  </a:lnTo>
                  <a:lnTo>
                    <a:pt x="226" y="456"/>
                  </a:lnTo>
                  <a:lnTo>
                    <a:pt x="233" y="454"/>
                  </a:lnTo>
                  <a:lnTo>
                    <a:pt x="233" y="454"/>
                  </a:lnTo>
                  <a:lnTo>
                    <a:pt x="235" y="452"/>
                  </a:lnTo>
                  <a:lnTo>
                    <a:pt x="235" y="452"/>
                  </a:lnTo>
                  <a:lnTo>
                    <a:pt x="235" y="450"/>
                  </a:lnTo>
                  <a:lnTo>
                    <a:pt x="235" y="448"/>
                  </a:lnTo>
                  <a:lnTo>
                    <a:pt x="235" y="448"/>
                  </a:lnTo>
                  <a:lnTo>
                    <a:pt x="235" y="446"/>
                  </a:lnTo>
                  <a:lnTo>
                    <a:pt x="233" y="444"/>
                  </a:lnTo>
                  <a:lnTo>
                    <a:pt x="233" y="444"/>
                  </a:lnTo>
                  <a:lnTo>
                    <a:pt x="233" y="442"/>
                  </a:lnTo>
                  <a:lnTo>
                    <a:pt x="233" y="440"/>
                  </a:lnTo>
                  <a:lnTo>
                    <a:pt x="233" y="431"/>
                  </a:lnTo>
                  <a:lnTo>
                    <a:pt x="233" y="429"/>
                  </a:lnTo>
                  <a:lnTo>
                    <a:pt x="233" y="425"/>
                  </a:lnTo>
                  <a:lnTo>
                    <a:pt x="233" y="423"/>
                  </a:lnTo>
                  <a:lnTo>
                    <a:pt x="222" y="395"/>
                  </a:lnTo>
                  <a:lnTo>
                    <a:pt x="220" y="393"/>
                  </a:lnTo>
                  <a:lnTo>
                    <a:pt x="220" y="391"/>
                  </a:lnTo>
                  <a:lnTo>
                    <a:pt x="220" y="385"/>
                  </a:lnTo>
                  <a:lnTo>
                    <a:pt x="220" y="383"/>
                  </a:lnTo>
                  <a:lnTo>
                    <a:pt x="222" y="372"/>
                  </a:lnTo>
                  <a:lnTo>
                    <a:pt x="222" y="368"/>
                  </a:lnTo>
                  <a:lnTo>
                    <a:pt x="222" y="366"/>
                  </a:lnTo>
                  <a:lnTo>
                    <a:pt x="222" y="366"/>
                  </a:lnTo>
                  <a:lnTo>
                    <a:pt x="224" y="362"/>
                  </a:lnTo>
                  <a:lnTo>
                    <a:pt x="224" y="360"/>
                  </a:lnTo>
                  <a:lnTo>
                    <a:pt x="222" y="360"/>
                  </a:lnTo>
                  <a:lnTo>
                    <a:pt x="222" y="360"/>
                  </a:lnTo>
                  <a:lnTo>
                    <a:pt x="222" y="358"/>
                  </a:lnTo>
                  <a:lnTo>
                    <a:pt x="222" y="358"/>
                  </a:lnTo>
                  <a:lnTo>
                    <a:pt x="222" y="356"/>
                  </a:lnTo>
                  <a:lnTo>
                    <a:pt x="222" y="353"/>
                  </a:lnTo>
                  <a:lnTo>
                    <a:pt x="222" y="353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20" y="351"/>
                  </a:lnTo>
                  <a:lnTo>
                    <a:pt x="218" y="353"/>
                  </a:lnTo>
                  <a:lnTo>
                    <a:pt x="216" y="353"/>
                  </a:lnTo>
                  <a:lnTo>
                    <a:pt x="216" y="353"/>
                  </a:lnTo>
                  <a:lnTo>
                    <a:pt x="214" y="351"/>
                  </a:lnTo>
                  <a:lnTo>
                    <a:pt x="214" y="351"/>
                  </a:lnTo>
                  <a:lnTo>
                    <a:pt x="212" y="349"/>
                  </a:lnTo>
                  <a:lnTo>
                    <a:pt x="212" y="349"/>
                  </a:lnTo>
                  <a:lnTo>
                    <a:pt x="212" y="347"/>
                  </a:lnTo>
                  <a:lnTo>
                    <a:pt x="214" y="347"/>
                  </a:lnTo>
                  <a:lnTo>
                    <a:pt x="214" y="347"/>
                  </a:lnTo>
                  <a:lnTo>
                    <a:pt x="216" y="343"/>
                  </a:lnTo>
                  <a:lnTo>
                    <a:pt x="218" y="343"/>
                  </a:lnTo>
                  <a:lnTo>
                    <a:pt x="222" y="341"/>
                  </a:lnTo>
                  <a:lnTo>
                    <a:pt x="224" y="339"/>
                  </a:lnTo>
                  <a:lnTo>
                    <a:pt x="224" y="339"/>
                  </a:lnTo>
                  <a:lnTo>
                    <a:pt x="226" y="339"/>
                  </a:lnTo>
                  <a:lnTo>
                    <a:pt x="226" y="341"/>
                  </a:lnTo>
                  <a:lnTo>
                    <a:pt x="229" y="341"/>
                  </a:lnTo>
                  <a:lnTo>
                    <a:pt x="229" y="341"/>
                  </a:lnTo>
                  <a:lnTo>
                    <a:pt x="231" y="341"/>
                  </a:lnTo>
                  <a:lnTo>
                    <a:pt x="231" y="341"/>
                  </a:lnTo>
                  <a:lnTo>
                    <a:pt x="233" y="341"/>
                  </a:lnTo>
                  <a:lnTo>
                    <a:pt x="237" y="337"/>
                  </a:lnTo>
                  <a:lnTo>
                    <a:pt x="237" y="337"/>
                  </a:lnTo>
                  <a:lnTo>
                    <a:pt x="241" y="332"/>
                  </a:lnTo>
                  <a:lnTo>
                    <a:pt x="243" y="330"/>
                  </a:lnTo>
                  <a:lnTo>
                    <a:pt x="245" y="328"/>
                  </a:lnTo>
                  <a:lnTo>
                    <a:pt x="247" y="328"/>
                  </a:lnTo>
                  <a:lnTo>
                    <a:pt x="252" y="326"/>
                  </a:lnTo>
                  <a:lnTo>
                    <a:pt x="254" y="322"/>
                  </a:lnTo>
                  <a:lnTo>
                    <a:pt x="254" y="320"/>
                  </a:lnTo>
                  <a:lnTo>
                    <a:pt x="256" y="320"/>
                  </a:lnTo>
                  <a:lnTo>
                    <a:pt x="258" y="318"/>
                  </a:lnTo>
                  <a:lnTo>
                    <a:pt x="260" y="316"/>
                  </a:lnTo>
                  <a:lnTo>
                    <a:pt x="264" y="313"/>
                  </a:lnTo>
                  <a:lnTo>
                    <a:pt x="266" y="311"/>
                  </a:lnTo>
                  <a:lnTo>
                    <a:pt x="270" y="309"/>
                  </a:lnTo>
                  <a:lnTo>
                    <a:pt x="275" y="307"/>
                  </a:lnTo>
                  <a:lnTo>
                    <a:pt x="277" y="307"/>
                  </a:lnTo>
                  <a:lnTo>
                    <a:pt x="277" y="305"/>
                  </a:lnTo>
                  <a:lnTo>
                    <a:pt x="277" y="303"/>
                  </a:lnTo>
                  <a:lnTo>
                    <a:pt x="275" y="301"/>
                  </a:lnTo>
                  <a:lnTo>
                    <a:pt x="275" y="301"/>
                  </a:lnTo>
                  <a:lnTo>
                    <a:pt x="277" y="299"/>
                  </a:lnTo>
                  <a:lnTo>
                    <a:pt x="277" y="297"/>
                  </a:lnTo>
                  <a:lnTo>
                    <a:pt x="279" y="295"/>
                  </a:lnTo>
                  <a:lnTo>
                    <a:pt x="281" y="292"/>
                  </a:lnTo>
                  <a:lnTo>
                    <a:pt x="291" y="286"/>
                  </a:lnTo>
                  <a:lnTo>
                    <a:pt x="296" y="284"/>
                  </a:lnTo>
                  <a:lnTo>
                    <a:pt x="298" y="282"/>
                  </a:lnTo>
                  <a:lnTo>
                    <a:pt x="302" y="280"/>
                  </a:lnTo>
                  <a:lnTo>
                    <a:pt x="312" y="274"/>
                  </a:lnTo>
                  <a:lnTo>
                    <a:pt x="321" y="271"/>
                  </a:lnTo>
                  <a:lnTo>
                    <a:pt x="323" y="269"/>
                  </a:lnTo>
                  <a:lnTo>
                    <a:pt x="323" y="267"/>
                  </a:lnTo>
                  <a:lnTo>
                    <a:pt x="323" y="267"/>
                  </a:lnTo>
                  <a:lnTo>
                    <a:pt x="325" y="265"/>
                  </a:lnTo>
                  <a:lnTo>
                    <a:pt x="325" y="265"/>
                  </a:lnTo>
                  <a:lnTo>
                    <a:pt x="337" y="265"/>
                  </a:lnTo>
                  <a:lnTo>
                    <a:pt x="342" y="267"/>
                  </a:lnTo>
                  <a:lnTo>
                    <a:pt x="344" y="267"/>
                  </a:lnTo>
                  <a:lnTo>
                    <a:pt x="346" y="267"/>
                  </a:lnTo>
                  <a:lnTo>
                    <a:pt x="348" y="267"/>
                  </a:lnTo>
                  <a:lnTo>
                    <a:pt x="348" y="267"/>
                  </a:lnTo>
                  <a:lnTo>
                    <a:pt x="350" y="267"/>
                  </a:lnTo>
                  <a:lnTo>
                    <a:pt x="358" y="263"/>
                  </a:lnTo>
                  <a:lnTo>
                    <a:pt x="361" y="263"/>
                  </a:lnTo>
                  <a:lnTo>
                    <a:pt x="363" y="263"/>
                  </a:lnTo>
                  <a:lnTo>
                    <a:pt x="363" y="263"/>
                  </a:lnTo>
                  <a:lnTo>
                    <a:pt x="367" y="263"/>
                  </a:lnTo>
                  <a:lnTo>
                    <a:pt x="367" y="263"/>
                  </a:lnTo>
                  <a:lnTo>
                    <a:pt x="369" y="263"/>
                  </a:lnTo>
                  <a:lnTo>
                    <a:pt x="386" y="257"/>
                  </a:lnTo>
                  <a:lnTo>
                    <a:pt x="388" y="255"/>
                  </a:lnTo>
                  <a:lnTo>
                    <a:pt x="388" y="255"/>
                  </a:lnTo>
                  <a:lnTo>
                    <a:pt x="390" y="255"/>
                  </a:lnTo>
                  <a:lnTo>
                    <a:pt x="398" y="250"/>
                  </a:lnTo>
                  <a:lnTo>
                    <a:pt x="402" y="248"/>
                  </a:lnTo>
                  <a:lnTo>
                    <a:pt x="405" y="248"/>
                  </a:lnTo>
                  <a:lnTo>
                    <a:pt x="409" y="246"/>
                  </a:lnTo>
                  <a:lnTo>
                    <a:pt x="411" y="244"/>
                  </a:lnTo>
                  <a:lnTo>
                    <a:pt x="411" y="244"/>
                  </a:lnTo>
                  <a:lnTo>
                    <a:pt x="413" y="246"/>
                  </a:lnTo>
                  <a:lnTo>
                    <a:pt x="415" y="246"/>
                  </a:lnTo>
                  <a:lnTo>
                    <a:pt x="417" y="246"/>
                  </a:lnTo>
                  <a:lnTo>
                    <a:pt x="417" y="244"/>
                  </a:lnTo>
                  <a:lnTo>
                    <a:pt x="417" y="244"/>
                  </a:lnTo>
                  <a:lnTo>
                    <a:pt x="419" y="242"/>
                  </a:lnTo>
                  <a:lnTo>
                    <a:pt x="419" y="242"/>
                  </a:lnTo>
                  <a:lnTo>
                    <a:pt x="419" y="242"/>
                  </a:lnTo>
                  <a:lnTo>
                    <a:pt x="421" y="242"/>
                  </a:lnTo>
                  <a:lnTo>
                    <a:pt x="421" y="242"/>
                  </a:lnTo>
                  <a:lnTo>
                    <a:pt x="423" y="240"/>
                  </a:lnTo>
                  <a:lnTo>
                    <a:pt x="423" y="240"/>
                  </a:lnTo>
                  <a:lnTo>
                    <a:pt x="423" y="240"/>
                  </a:lnTo>
                  <a:lnTo>
                    <a:pt x="425" y="242"/>
                  </a:lnTo>
                  <a:lnTo>
                    <a:pt x="425" y="242"/>
                  </a:lnTo>
                  <a:lnTo>
                    <a:pt x="428" y="246"/>
                  </a:lnTo>
                  <a:lnTo>
                    <a:pt x="428" y="246"/>
                  </a:lnTo>
                  <a:lnTo>
                    <a:pt x="430" y="246"/>
                  </a:lnTo>
                  <a:lnTo>
                    <a:pt x="430" y="248"/>
                  </a:lnTo>
                  <a:lnTo>
                    <a:pt x="432" y="248"/>
                  </a:lnTo>
                  <a:lnTo>
                    <a:pt x="434" y="248"/>
                  </a:lnTo>
                  <a:lnTo>
                    <a:pt x="434" y="248"/>
                  </a:lnTo>
                  <a:lnTo>
                    <a:pt x="436" y="242"/>
                  </a:lnTo>
                  <a:lnTo>
                    <a:pt x="438" y="238"/>
                  </a:lnTo>
                  <a:lnTo>
                    <a:pt x="438" y="238"/>
                  </a:lnTo>
                  <a:lnTo>
                    <a:pt x="438" y="236"/>
                  </a:lnTo>
                  <a:lnTo>
                    <a:pt x="436" y="234"/>
                  </a:lnTo>
                  <a:lnTo>
                    <a:pt x="436" y="234"/>
                  </a:lnTo>
                  <a:lnTo>
                    <a:pt x="434" y="234"/>
                  </a:lnTo>
                  <a:lnTo>
                    <a:pt x="434" y="232"/>
                  </a:lnTo>
                  <a:lnTo>
                    <a:pt x="434" y="232"/>
                  </a:lnTo>
                  <a:lnTo>
                    <a:pt x="432" y="232"/>
                  </a:lnTo>
                  <a:lnTo>
                    <a:pt x="432" y="229"/>
                  </a:lnTo>
                  <a:lnTo>
                    <a:pt x="432" y="229"/>
                  </a:lnTo>
                  <a:lnTo>
                    <a:pt x="432" y="227"/>
                  </a:lnTo>
                  <a:lnTo>
                    <a:pt x="434" y="225"/>
                  </a:lnTo>
                  <a:lnTo>
                    <a:pt x="440" y="221"/>
                  </a:lnTo>
                  <a:lnTo>
                    <a:pt x="440" y="219"/>
                  </a:lnTo>
                  <a:lnTo>
                    <a:pt x="440" y="219"/>
                  </a:lnTo>
                  <a:lnTo>
                    <a:pt x="440" y="219"/>
                  </a:lnTo>
                  <a:lnTo>
                    <a:pt x="442" y="219"/>
                  </a:lnTo>
                  <a:lnTo>
                    <a:pt x="442" y="219"/>
                  </a:lnTo>
                  <a:lnTo>
                    <a:pt x="444" y="219"/>
                  </a:lnTo>
                  <a:lnTo>
                    <a:pt x="444" y="219"/>
                  </a:lnTo>
                  <a:lnTo>
                    <a:pt x="444" y="217"/>
                  </a:lnTo>
                  <a:lnTo>
                    <a:pt x="446" y="217"/>
                  </a:lnTo>
                  <a:lnTo>
                    <a:pt x="446" y="215"/>
                  </a:lnTo>
                  <a:lnTo>
                    <a:pt x="448" y="215"/>
                  </a:lnTo>
                  <a:lnTo>
                    <a:pt x="448" y="215"/>
                  </a:lnTo>
                  <a:lnTo>
                    <a:pt x="448" y="215"/>
                  </a:lnTo>
                  <a:lnTo>
                    <a:pt x="448" y="215"/>
                  </a:lnTo>
                  <a:lnTo>
                    <a:pt x="451" y="213"/>
                  </a:lnTo>
                  <a:lnTo>
                    <a:pt x="451" y="208"/>
                  </a:lnTo>
                  <a:lnTo>
                    <a:pt x="455" y="204"/>
                  </a:lnTo>
                  <a:lnTo>
                    <a:pt x="455" y="204"/>
                  </a:lnTo>
                  <a:lnTo>
                    <a:pt x="455" y="202"/>
                  </a:lnTo>
                  <a:lnTo>
                    <a:pt x="455" y="200"/>
                  </a:lnTo>
                  <a:lnTo>
                    <a:pt x="453" y="194"/>
                  </a:lnTo>
                  <a:lnTo>
                    <a:pt x="453" y="194"/>
                  </a:lnTo>
                  <a:lnTo>
                    <a:pt x="453" y="194"/>
                  </a:lnTo>
                  <a:lnTo>
                    <a:pt x="453" y="192"/>
                  </a:lnTo>
                  <a:lnTo>
                    <a:pt x="451" y="190"/>
                  </a:lnTo>
                  <a:lnTo>
                    <a:pt x="448" y="185"/>
                  </a:lnTo>
                  <a:lnTo>
                    <a:pt x="448" y="183"/>
                  </a:lnTo>
                  <a:lnTo>
                    <a:pt x="444" y="181"/>
                  </a:lnTo>
                  <a:lnTo>
                    <a:pt x="444" y="181"/>
                  </a:lnTo>
                  <a:lnTo>
                    <a:pt x="442" y="177"/>
                  </a:lnTo>
                  <a:lnTo>
                    <a:pt x="440" y="173"/>
                  </a:lnTo>
                  <a:lnTo>
                    <a:pt x="442" y="173"/>
                  </a:lnTo>
                  <a:lnTo>
                    <a:pt x="446" y="171"/>
                  </a:lnTo>
                  <a:lnTo>
                    <a:pt x="448" y="171"/>
                  </a:lnTo>
                  <a:lnTo>
                    <a:pt x="448" y="171"/>
                  </a:lnTo>
                  <a:lnTo>
                    <a:pt x="451" y="171"/>
                  </a:lnTo>
                  <a:lnTo>
                    <a:pt x="451" y="171"/>
                  </a:lnTo>
                  <a:lnTo>
                    <a:pt x="455" y="173"/>
                  </a:lnTo>
                  <a:lnTo>
                    <a:pt x="455" y="173"/>
                  </a:lnTo>
                  <a:lnTo>
                    <a:pt x="457" y="173"/>
                  </a:lnTo>
                  <a:lnTo>
                    <a:pt x="459" y="173"/>
                  </a:lnTo>
                  <a:lnTo>
                    <a:pt x="461" y="173"/>
                  </a:lnTo>
                  <a:lnTo>
                    <a:pt x="461" y="171"/>
                  </a:lnTo>
                  <a:lnTo>
                    <a:pt x="465" y="169"/>
                  </a:lnTo>
                  <a:lnTo>
                    <a:pt x="465" y="169"/>
                  </a:lnTo>
                  <a:lnTo>
                    <a:pt x="467" y="169"/>
                  </a:lnTo>
                  <a:lnTo>
                    <a:pt x="467" y="166"/>
                  </a:lnTo>
                  <a:lnTo>
                    <a:pt x="467" y="166"/>
                  </a:lnTo>
                  <a:lnTo>
                    <a:pt x="469" y="164"/>
                  </a:lnTo>
                  <a:lnTo>
                    <a:pt x="469" y="160"/>
                  </a:lnTo>
                  <a:lnTo>
                    <a:pt x="469" y="160"/>
                  </a:lnTo>
                  <a:lnTo>
                    <a:pt x="469" y="158"/>
                  </a:lnTo>
                  <a:lnTo>
                    <a:pt x="472" y="156"/>
                  </a:lnTo>
                  <a:lnTo>
                    <a:pt x="472" y="156"/>
                  </a:lnTo>
                  <a:lnTo>
                    <a:pt x="474" y="154"/>
                  </a:lnTo>
                  <a:lnTo>
                    <a:pt x="476" y="150"/>
                  </a:lnTo>
                  <a:lnTo>
                    <a:pt x="476" y="150"/>
                  </a:lnTo>
                  <a:lnTo>
                    <a:pt x="478" y="148"/>
                  </a:lnTo>
                  <a:lnTo>
                    <a:pt x="478" y="148"/>
                  </a:lnTo>
                  <a:lnTo>
                    <a:pt x="480" y="145"/>
                  </a:lnTo>
                  <a:lnTo>
                    <a:pt x="482" y="143"/>
                  </a:lnTo>
                  <a:lnTo>
                    <a:pt x="484" y="141"/>
                  </a:lnTo>
                  <a:lnTo>
                    <a:pt x="484" y="139"/>
                  </a:lnTo>
                  <a:lnTo>
                    <a:pt x="484" y="139"/>
                  </a:lnTo>
                  <a:lnTo>
                    <a:pt x="486" y="137"/>
                  </a:lnTo>
                  <a:lnTo>
                    <a:pt x="488" y="137"/>
                  </a:lnTo>
                  <a:lnTo>
                    <a:pt x="488" y="135"/>
                  </a:lnTo>
                  <a:lnTo>
                    <a:pt x="490" y="133"/>
                  </a:lnTo>
                  <a:lnTo>
                    <a:pt x="495" y="129"/>
                  </a:lnTo>
                  <a:lnTo>
                    <a:pt x="495" y="127"/>
                  </a:lnTo>
                  <a:lnTo>
                    <a:pt x="497" y="124"/>
                  </a:lnTo>
                  <a:lnTo>
                    <a:pt x="497" y="122"/>
                  </a:lnTo>
                  <a:lnTo>
                    <a:pt x="497" y="120"/>
                  </a:lnTo>
                  <a:lnTo>
                    <a:pt x="497" y="120"/>
                  </a:lnTo>
                  <a:lnTo>
                    <a:pt x="499" y="118"/>
                  </a:lnTo>
                  <a:lnTo>
                    <a:pt x="499" y="116"/>
                  </a:lnTo>
                  <a:lnTo>
                    <a:pt x="499" y="114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7" y="112"/>
                  </a:lnTo>
                  <a:lnTo>
                    <a:pt x="495" y="112"/>
                  </a:lnTo>
                  <a:lnTo>
                    <a:pt x="495" y="112"/>
                  </a:lnTo>
                  <a:lnTo>
                    <a:pt x="492" y="112"/>
                  </a:lnTo>
                  <a:lnTo>
                    <a:pt x="490" y="112"/>
                  </a:lnTo>
                  <a:lnTo>
                    <a:pt x="490" y="112"/>
                  </a:lnTo>
                  <a:lnTo>
                    <a:pt x="490" y="112"/>
                  </a:lnTo>
                  <a:lnTo>
                    <a:pt x="490" y="112"/>
                  </a:lnTo>
                  <a:lnTo>
                    <a:pt x="490" y="110"/>
                  </a:lnTo>
                  <a:lnTo>
                    <a:pt x="490" y="108"/>
                  </a:lnTo>
                  <a:lnTo>
                    <a:pt x="490" y="108"/>
                  </a:lnTo>
                  <a:lnTo>
                    <a:pt x="490" y="105"/>
                  </a:lnTo>
                  <a:lnTo>
                    <a:pt x="490" y="105"/>
                  </a:lnTo>
                  <a:lnTo>
                    <a:pt x="490" y="103"/>
                  </a:lnTo>
                  <a:lnTo>
                    <a:pt x="492" y="101"/>
                  </a:lnTo>
                  <a:lnTo>
                    <a:pt x="495" y="101"/>
                  </a:lnTo>
                  <a:lnTo>
                    <a:pt x="499" y="99"/>
                  </a:lnTo>
                  <a:lnTo>
                    <a:pt x="501" y="97"/>
                  </a:lnTo>
                  <a:lnTo>
                    <a:pt x="503" y="97"/>
                  </a:lnTo>
                  <a:lnTo>
                    <a:pt x="503" y="95"/>
                  </a:lnTo>
                  <a:lnTo>
                    <a:pt x="505" y="95"/>
                  </a:lnTo>
                  <a:lnTo>
                    <a:pt x="513" y="87"/>
                  </a:lnTo>
                  <a:lnTo>
                    <a:pt x="516" y="87"/>
                  </a:lnTo>
                  <a:lnTo>
                    <a:pt x="518" y="87"/>
                  </a:lnTo>
                  <a:lnTo>
                    <a:pt x="520" y="84"/>
                  </a:lnTo>
                  <a:lnTo>
                    <a:pt x="520" y="82"/>
                  </a:lnTo>
                  <a:lnTo>
                    <a:pt x="522" y="82"/>
                  </a:lnTo>
                  <a:lnTo>
                    <a:pt x="522" y="82"/>
                  </a:lnTo>
                  <a:lnTo>
                    <a:pt x="522" y="80"/>
                  </a:lnTo>
                  <a:lnTo>
                    <a:pt x="522" y="78"/>
                  </a:lnTo>
                  <a:lnTo>
                    <a:pt x="522" y="76"/>
                  </a:lnTo>
                  <a:close/>
                  <a:moveTo>
                    <a:pt x="105" y="301"/>
                  </a:moveTo>
                  <a:lnTo>
                    <a:pt x="103" y="301"/>
                  </a:lnTo>
                  <a:lnTo>
                    <a:pt x="103" y="301"/>
                  </a:lnTo>
                  <a:lnTo>
                    <a:pt x="103" y="292"/>
                  </a:lnTo>
                  <a:lnTo>
                    <a:pt x="103" y="292"/>
                  </a:lnTo>
                  <a:lnTo>
                    <a:pt x="101" y="290"/>
                  </a:lnTo>
                  <a:lnTo>
                    <a:pt x="101" y="288"/>
                  </a:lnTo>
                  <a:lnTo>
                    <a:pt x="99" y="288"/>
                  </a:lnTo>
                  <a:lnTo>
                    <a:pt x="97" y="290"/>
                  </a:lnTo>
                  <a:lnTo>
                    <a:pt x="97" y="290"/>
                  </a:lnTo>
                  <a:lnTo>
                    <a:pt x="94" y="290"/>
                  </a:lnTo>
                  <a:lnTo>
                    <a:pt x="94" y="290"/>
                  </a:lnTo>
                  <a:lnTo>
                    <a:pt x="92" y="290"/>
                  </a:lnTo>
                  <a:lnTo>
                    <a:pt x="88" y="288"/>
                  </a:lnTo>
                  <a:lnTo>
                    <a:pt x="86" y="288"/>
                  </a:lnTo>
                  <a:lnTo>
                    <a:pt x="86" y="288"/>
                  </a:lnTo>
                  <a:lnTo>
                    <a:pt x="84" y="288"/>
                  </a:lnTo>
                  <a:lnTo>
                    <a:pt x="82" y="290"/>
                  </a:lnTo>
                  <a:lnTo>
                    <a:pt x="82" y="290"/>
                  </a:lnTo>
                  <a:lnTo>
                    <a:pt x="78" y="288"/>
                  </a:lnTo>
                  <a:lnTo>
                    <a:pt x="76" y="288"/>
                  </a:lnTo>
                  <a:lnTo>
                    <a:pt x="76" y="288"/>
                  </a:lnTo>
                  <a:lnTo>
                    <a:pt x="74" y="290"/>
                  </a:lnTo>
                  <a:lnTo>
                    <a:pt x="74" y="307"/>
                  </a:lnTo>
                  <a:lnTo>
                    <a:pt x="71" y="311"/>
                  </a:lnTo>
                  <a:lnTo>
                    <a:pt x="71" y="313"/>
                  </a:lnTo>
                  <a:lnTo>
                    <a:pt x="71" y="316"/>
                  </a:lnTo>
                  <a:lnTo>
                    <a:pt x="74" y="318"/>
                  </a:lnTo>
                  <a:lnTo>
                    <a:pt x="76" y="318"/>
                  </a:lnTo>
                  <a:lnTo>
                    <a:pt x="76" y="318"/>
                  </a:lnTo>
                  <a:lnTo>
                    <a:pt x="80" y="318"/>
                  </a:lnTo>
                  <a:lnTo>
                    <a:pt x="82" y="316"/>
                  </a:lnTo>
                  <a:lnTo>
                    <a:pt x="86" y="313"/>
                  </a:lnTo>
                  <a:lnTo>
                    <a:pt x="88" y="311"/>
                  </a:lnTo>
                  <a:lnTo>
                    <a:pt x="94" y="309"/>
                  </a:lnTo>
                  <a:lnTo>
                    <a:pt x="97" y="309"/>
                  </a:lnTo>
                  <a:lnTo>
                    <a:pt x="97" y="309"/>
                  </a:lnTo>
                  <a:lnTo>
                    <a:pt x="103" y="305"/>
                  </a:lnTo>
                  <a:lnTo>
                    <a:pt x="105" y="305"/>
                  </a:lnTo>
                  <a:lnTo>
                    <a:pt x="105" y="303"/>
                  </a:lnTo>
                  <a:lnTo>
                    <a:pt x="105" y="303"/>
                  </a:lnTo>
                  <a:lnTo>
                    <a:pt x="105" y="301"/>
                  </a:lnTo>
                  <a:lnTo>
                    <a:pt x="105" y="301"/>
                  </a:lnTo>
                  <a:close/>
                  <a:moveTo>
                    <a:pt x="136" y="452"/>
                  </a:moveTo>
                  <a:lnTo>
                    <a:pt x="136" y="452"/>
                  </a:lnTo>
                  <a:lnTo>
                    <a:pt x="136" y="450"/>
                  </a:lnTo>
                  <a:lnTo>
                    <a:pt x="136" y="450"/>
                  </a:lnTo>
                  <a:lnTo>
                    <a:pt x="136" y="448"/>
                  </a:lnTo>
                  <a:lnTo>
                    <a:pt x="136" y="448"/>
                  </a:lnTo>
                  <a:lnTo>
                    <a:pt x="136" y="448"/>
                  </a:lnTo>
                  <a:lnTo>
                    <a:pt x="134" y="448"/>
                  </a:lnTo>
                  <a:lnTo>
                    <a:pt x="134" y="448"/>
                  </a:lnTo>
                  <a:lnTo>
                    <a:pt x="132" y="450"/>
                  </a:lnTo>
                  <a:lnTo>
                    <a:pt x="132" y="450"/>
                  </a:lnTo>
                  <a:lnTo>
                    <a:pt x="132" y="452"/>
                  </a:lnTo>
                  <a:lnTo>
                    <a:pt x="132" y="454"/>
                  </a:lnTo>
                  <a:lnTo>
                    <a:pt x="130" y="454"/>
                  </a:lnTo>
                  <a:lnTo>
                    <a:pt x="130" y="454"/>
                  </a:lnTo>
                  <a:lnTo>
                    <a:pt x="132" y="456"/>
                  </a:lnTo>
                  <a:lnTo>
                    <a:pt x="132" y="456"/>
                  </a:lnTo>
                  <a:lnTo>
                    <a:pt x="134" y="456"/>
                  </a:lnTo>
                  <a:lnTo>
                    <a:pt x="136" y="454"/>
                  </a:lnTo>
                  <a:lnTo>
                    <a:pt x="136" y="454"/>
                  </a:lnTo>
                  <a:lnTo>
                    <a:pt x="136" y="454"/>
                  </a:lnTo>
                  <a:lnTo>
                    <a:pt x="136" y="454"/>
                  </a:lnTo>
                  <a:lnTo>
                    <a:pt x="136" y="452"/>
                  </a:lnTo>
                  <a:close/>
                  <a:moveTo>
                    <a:pt x="55" y="307"/>
                  </a:moveTo>
                  <a:lnTo>
                    <a:pt x="55" y="307"/>
                  </a:lnTo>
                  <a:lnTo>
                    <a:pt x="55" y="307"/>
                  </a:lnTo>
                  <a:lnTo>
                    <a:pt x="53" y="309"/>
                  </a:lnTo>
                  <a:lnTo>
                    <a:pt x="53" y="309"/>
                  </a:lnTo>
                  <a:lnTo>
                    <a:pt x="53" y="309"/>
                  </a:lnTo>
                  <a:lnTo>
                    <a:pt x="53" y="311"/>
                  </a:lnTo>
                  <a:lnTo>
                    <a:pt x="53" y="311"/>
                  </a:lnTo>
                  <a:lnTo>
                    <a:pt x="53" y="311"/>
                  </a:lnTo>
                  <a:lnTo>
                    <a:pt x="55" y="311"/>
                  </a:lnTo>
                  <a:lnTo>
                    <a:pt x="55" y="311"/>
                  </a:lnTo>
                  <a:lnTo>
                    <a:pt x="57" y="309"/>
                  </a:lnTo>
                  <a:lnTo>
                    <a:pt x="57" y="307"/>
                  </a:lnTo>
                  <a:lnTo>
                    <a:pt x="57" y="307"/>
                  </a:lnTo>
                  <a:lnTo>
                    <a:pt x="55" y="307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FC45268-9B40-42B4-942F-2BAABE0C0F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66544" y="1221993"/>
              <a:ext cx="254794" cy="475059"/>
            </a:xfrm>
            <a:custGeom>
              <a:avLst/>
              <a:gdLst>
                <a:gd name="T0" fmla="*/ 28 w 214"/>
                <a:gd name="T1" fmla="*/ 351 h 399"/>
                <a:gd name="T2" fmla="*/ 13 w 214"/>
                <a:gd name="T3" fmla="*/ 395 h 399"/>
                <a:gd name="T4" fmla="*/ 11 w 214"/>
                <a:gd name="T5" fmla="*/ 397 h 399"/>
                <a:gd name="T6" fmla="*/ 15 w 214"/>
                <a:gd name="T7" fmla="*/ 395 h 399"/>
                <a:gd name="T8" fmla="*/ 11 w 214"/>
                <a:gd name="T9" fmla="*/ 387 h 399"/>
                <a:gd name="T10" fmla="*/ 13 w 214"/>
                <a:gd name="T11" fmla="*/ 384 h 399"/>
                <a:gd name="T12" fmla="*/ 128 w 214"/>
                <a:gd name="T13" fmla="*/ 334 h 399"/>
                <a:gd name="T14" fmla="*/ 197 w 214"/>
                <a:gd name="T15" fmla="*/ 90 h 399"/>
                <a:gd name="T16" fmla="*/ 155 w 214"/>
                <a:gd name="T17" fmla="*/ 88 h 399"/>
                <a:gd name="T18" fmla="*/ 147 w 214"/>
                <a:gd name="T19" fmla="*/ 92 h 399"/>
                <a:gd name="T20" fmla="*/ 143 w 214"/>
                <a:gd name="T21" fmla="*/ 69 h 399"/>
                <a:gd name="T22" fmla="*/ 134 w 214"/>
                <a:gd name="T23" fmla="*/ 57 h 399"/>
                <a:gd name="T24" fmla="*/ 130 w 214"/>
                <a:gd name="T25" fmla="*/ 25 h 399"/>
                <a:gd name="T26" fmla="*/ 120 w 214"/>
                <a:gd name="T27" fmla="*/ 15 h 399"/>
                <a:gd name="T28" fmla="*/ 130 w 214"/>
                <a:gd name="T29" fmla="*/ 0 h 399"/>
                <a:gd name="T30" fmla="*/ 105 w 214"/>
                <a:gd name="T31" fmla="*/ 8 h 399"/>
                <a:gd name="T32" fmla="*/ 99 w 214"/>
                <a:gd name="T33" fmla="*/ 50 h 399"/>
                <a:gd name="T34" fmla="*/ 78 w 214"/>
                <a:gd name="T35" fmla="*/ 80 h 399"/>
                <a:gd name="T36" fmla="*/ 55 w 214"/>
                <a:gd name="T37" fmla="*/ 88 h 399"/>
                <a:gd name="T38" fmla="*/ 57 w 214"/>
                <a:gd name="T39" fmla="*/ 101 h 399"/>
                <a:gd name="T40" fmla="*/ 46 w 214"/>
                <a:gd name="T41" fmla="*/ 118 h 399"/>
                <a:gd name="T42" fmla="*/ 42 w 214"/>
                <a:gd name="T43" fmla="*/ 130 h 399"/>
                <a:gd name="T44" fmla="*/ 32 w 214"/>
                <a:gd name="T45" fmla="*/ 137 h 399"/>
                <a:gd name="T46" fmla="*/ 17 w 214"/>
                <a:gd name="T47" fmla="*/ 145 h 399"/>
                <a:gd name="T48" fmla="*/ 17 w 214"/>
                <a:gd name="T49" fmla="*/ 200 h 399"/>
                <a:gd name="T50" fmla="*/ 28 w 214"/>
                <a:gd name="T51" fmla="*/ 214 h 399"/>
                <a:gd name="T52" fmla="*/ 34 w 214"/>
                <a:gd name="T53" fmla="*/ 267 h 399"/>
                <a:gd name="T54" fmla="*/ 145 w 214"/>
                <a:gd name="T55" fmla="*/ 214 h 399"/>
                <a:gd name="T56" fmla="*/ 162 w 214"/>
                <a:gd name="T57" fmla="*/ 193 h 399"/>
                <a:gd name="T58" fmla="*/ 174 w 214"/>
                <a:gd name="T59" fmla="*/ 179 h 399"/>
                <a:gd name="T60" fmla="*/ 176 w 214"/>
                <a:gd name="T61" fmla="*/ 179 h 399"/>
                <a:gd name="T62" fmla="*/ 185 w 214"/>
                <a:gd name="T63" fmla="*/ 166 h 399"/>
                <a:gd name="T64" fmla="*/ 170 w 214"/>
                <a:gd name="T65" fmla="*/ 155 h 399"/>
                <a:gd name="T66" fmla="*/ 170 w 214"/>
                <a:gd name="T67" fmla="*/ 147 h 399"/>
                <a:gd name="T68" fmla="*/ 174 w 214"/>
                <a:gd name="T69" fmla="*/ 137 h 399"/>
                <a:gd name="T70" fmla="*/ 178 w 214"/>
                <a:gd name="T71" fmla="*/ 147 h 399"/>
                <a:gd name="T72" fmla="*/ 191 w 214"/>
                <a:gd name="T73" fmla="*/ 147 h 399"/>
                <a:gd name="T74" fmla="*/ 195 w 214"/>
                <a:gd name="T75" fmla="*/ 113 h 399"/>
                <a:gd name="T76" fmla="*/ 189 w 214"/>
                <a:gd name="T77" fmla="*/ 111 h 399"/>
                <a:gd name="T78" fmla="*/ 195 w 214"/>
                <a:gd name="T79" fmla="*/ 109 h 399"/>
                <a:gd name="T80" fmla="*/ 203 w 214"/>
                <a:gd name="T81" fmla="*/ 109 h 399"/>
                <a:gd name="T82" fmla="*/ 189 w 214"/>
                <a:gd name="T83" fmla="*/ 223 h 399"/>
                <a:gd name="T84" fmla="*/ 187 w 214"/>
                <a:gd name="T85" fmla="*/ 206 h 399"/>
                <a:gd name="T86" fmla="*/ 185 w 214"/>
                <a:gd name="T87" fmla="*/ 189 h 399"/>
                <a:gd name="T88" fmla="*/ 183 w 214"/>
                <a:gd name="T89" fmla="*/ 176 h 399"/>
                <a:gd name="T90" fmla="*/ 164 w 214"/>
                <a:gd name="T91" fmla="*/ 200 h 399"/>
                <a:gd name="T92" fmla="*/ 166 w 214"/>
                <a:gd name="T93" fmla="*/ 229 h 399"/>
                <a:gd name="T94" fmla="*/ 168 w 214"/>
                <a:gd name="T95" fmla="*/ 244 h 399"/>
                <a:gd name="T96" fmla="*/ 166 w 214"/>
                <a:gd name="T97" fmla="*/ 252 h 399"/>
                <a:gd name="T98" fmla="*/ 174 w 214"/>
                <a:gd name="T99" fmla="*/ 250 h 399"/>
                <a:gd name="T100" fmla="*/ 178 w 214"/>
                <a:gd name="T101" fmla="*/ 244 h 399"/>
                <a:gd name="T102" fmla="*/ 185 w 214"/>
                <a:gd name="T103" fmla="*/ 242 h 399"/>
                <a:gd name="T104" fmla="*/ 187 w 214"/>
                <a:gd name="T105" fmla="*/ 233 h 399"/>
                <a:gd name="T106" fmla="*/ 197 w 214"/>
                <a:gd name="T107" fmla="*/ 189 h 399"/>
                <a:gd name="T108" fmla="*/ 191 w 214"/>
                <a:gd name="T109" fmla="*/ 206 h 399"/>
                <a:gd name="T110" fmla="*/ 201 w 214"/>
                <a:gd name="T111" fmla="*/ 197 h 399"/>
                <a:gd name="T112" fmla="*/ 145 w 214"/>
                <a:gd name="T113" fmla="*/ 319 h 399"/>
                <a:gd name="T114" fmla="*/ 145 w 214"/>
                <a:gd name="T115" fmla="*/ 321 h 399"/>
                <a:gd name="T116" fmla="*/ 134 w 214"/>
                <a:gd name="T117" fmla="*/ 315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4" h="399">
                  <a:moveTo>
                    <a:pt x="28" y="353"/>
                  </a:moveTo>
                  <a:lnTo>
                    <a:pt x="28" y="353"/>
                  </a:lnTo>
                  <a:lnTo>
                    <a:pt x="28" y="353"/>
                  </a:lnTo>
                  <a:lnTo>
                    <a:pt x="28" y="353"/>
                  </a:lnTo>
                  <a:close/>
                  <a:moveTo>
                    <a:pt x="30" y="347"/>
                  </a:moveTo>
                  <a:lnTo>
                    <a:pt x="28" y="349"/>
                  </a:lnTo>
                  <a:lnTo>
                    <a:pt x="28" y="351"/>
                  </a:lnTo>
                  <a:lnTo>
                    <a:pt x="28" y="351"/>
                  </a:lnTo>
                  <a:lnTo>
                    <a:pt x="28" y="353"/>
                  </a:lnTo>
                  <a:lnTo>
                    <a:pt x="28" y="351"/>
                  </a:lnTo>
                  <a:lnTo>
                    <a:pt x="30" y="351"/>
                  </a:lnTo>
                  <a:lnTo>
                    <a:pt x="30" y="351"/>
                  </a:lnTo>
                  <a:lnTo>
                    <a:pt x="30" y="347"/>
                  </a:lnTo>
                  <a:close/>
                  <a:moveTo>
                    <a:pt x="13" y="395"/>
                  </a:moveTo>
                  <a:lnTo>
                    <a:pt x="13" y="395"/>
                  </a:lnTo>
                  <a:lnTo>
                    <a:pt x="13" y="395"/>
                  </a:lnTo>
                  <a:lnTo>
                    <a:pt x="11" y="395"/>
                  </a:lnTo>
                  <a:lnTo>
                    <a:pt x="11" y="393"/>
                  </a:lnTo>
                  <a:lnTo>
                    <a:pt x="11" y="393"/>
                  </a:lnTo>
                  <a:lnTo>
                    <a:pt x="9" y="393"/>
                  </a:lnTo>
                  <a:lnTo>
                    <a:pt x="9" y="395"/>
                  </a:lnTo>
                  <a:lnTo>
                    <a:pt x="9" y="395"/>
                  </a:lnTo>
                  <a:lnTo>
                    <a:pt x="9" y="397"/>
                  </a:lnTo>
                  <a:lnTo>
                    <a:pt x="11" y="397"/>
                  </a:lnTo>
                  <a:lnTo>
                    <a:pt x="11" y="397"/>
                  </a:lnTo>
                  <a:lnTo>
                    <a:pt x="11" y="399"/>
                  </a:lnTo>
                  <a:lnTo>
                    <a:pt x="13" y="399"/>
                  </a:lnTo>
                  <a:lnTo>
                    <a:pt x="13" y="397"/>
                  </a:lnTo>
                  <a:lnTo>
                    <a:pt x="13" y="397"/>
                  </a:lnTo>
                  <a:lnTo>
                    <a:pt x="15" y="397"/>
                  </a:lnTo>
                  <a:lnTo>
                    <a:pt x="15" y="395"/>
                  </a:lnTo>
                  <a:lnTo>
                    <a:pt x="15" y="395"/>
                  </a:lnTo>
                  <a:lnTo>
                    <a:pt x="13" y="395"/>
                  </a:lnTo>
                  <a:close/>
                  <a:moveTo>
                    <a:pt x="13" y="384"/>
                  </a:moveTo>
                  <a:lnTo>
                    <a:pt x="11" y="382"/>
                  </a:lnTo>
                  <a:lnTo>
                    <a:pt x="11" y="382"/>
                  </a:lnTo>
                  <a:lnTo>
                    <a:pt x="11" y="384"/>
                  </a:lnTo>
                  <a:lnTo>
                    <a:pt x="11" y="384"/>
                  </a:lnTo>
                  <a:lnTo>
                    <a:pt x="11" y="384"/>
                  </a:lnTo>
                  <a:lnTo>
                    <a:pt x="11" y="387"/>
                  </a:lnTo>
                  <a:lnTo>
                    <a:pt x="11" y="387"/>
                  </a:lnTo>
                  <a:lnTo>
                    <a:pt x="11" y="387"/>
                  </a:lnTo>
                  <a:lnTo>
                    <a:pt x="13" y="387"/>
                  </a:lnTo>
                  <a:lnTo>
                    <a:pt x="13" y="387"/>
                  </a:lnTo>
                  <a:lnTo>
                    <a:pt x="13" y="384"/>
                  </a:lnTo>
                  <a:lnTo>
                    <a:pt x="13" y="384"/>
                  </a:lnTo>
                  <a:lnTo>
                    <a:pt x="13" y="384"/>
                  </a:lnTo>
                  <a:lnTo>
                    <a:pt x="13" y="384"/>
                  </a:lnTo>
                  <a:close/>
                  <a:moveTo>
                    <a:pt x="128" y="334"/>
                  </a:moveTo>
                  <a:lnTo>
                    <a:pt x="126" y="334"/>
                  </a:lnTo>
                  <a:lnTo>
                    <a:pt x="126" y="334"/>
                  </a:lnTo>
                  <a:lnTo>
                    <a:pt x="124" y="336"/>
                  </a:lnTo>
                  <a:lnTo>
                    <a:pt x="124" y="338"/>
                  </a:lnTo>
                  <a:lnTo>
                    <a:pt x="126" y="336"/>
                  </a:lnTo>
                  <a:lnTo>
                    <a:pt x="126" y="336"/>
                  </a:lnTo>
                  <a:lnTo>
                    <a:pt x="128" y="334"/>
                  </a:lnTo>
                  <a:lnTo>
                    <a:pt x="128" y="334"/>
                  </a:lnTo>
                  <a:lnTo>
                    <a:pt x="128" y="332"/>
                  </a:lnTo>
                  <a:lnTo>
                    <a:pt x="130" y="332"/>
                  </a:lnTo>
                  <a:lnTo>
                    <a:pt x="128" y="332"/>
                  </a:lnTo>
                  <a:lnTo>
                    <a:pt x="128" y="334"/>
                  </a:lnTo>
                  <a:close/>
                  <a:moveTo>
                    <a:pt x="214" y="95"/>
                  </a:moveTo>
                  <a:lnTo>
                    <a:pt x="203" y="90"/>
                  </a:lnTo>
                  <a:lnTo>
                    <a:pt x="197" y="90"/>
                  </a:lnTo>
                  <a:lnTo>
                    <a:pt x="174" y="88"/>
                  </a:lnTo>
                  <a:lnTo>
                    <a:pt x="172" y="88"/>
                  </a:lnTo>
                  <a:lnTo>
                    <a:pt x="164" y="88"/>
                  </a:lnTo>
                  <a:lnTo>
                    <a:pt x="162" y="86"/>
                  </a:lnTo>
                  <a:lnTo>
                    <a:pt x="159" y="86"/>
                  </a:lnTo>
                  <a:lnTo>
                    <a:pt x="157" y="86"/>
                  </a:lnTo>
                  <a:lnTo>
                    <a:pt x="157" y="86"/>
                  </a:lnTo>
                  <a:lnTo>
                    <a:pt x="155" y="88"/>
                  </a:lnTo>
                  <a:lnTo>
                    <a:pt x="155" y="88"/>
                  </a:lnTo>
                  <a:lnTo>
                    <a:pt x="153" y="90"/>
                  </a:lnTo>
                  <a:lnTo>
                    <a:pt x="151" y="90"/>
                  </a:lnTo>
                  <a:lnTo>
                    <a:pt x="151" y="90"/>
                  </a:lnTo>
                  <a:lnTo>
                    <a:pt x="151" y="92"/>
                  </a:lnTo>
                  <a:lnTo>
                    <a:pt x="149" y="92"/>
                  </a:lnTo>
                  <a:lnTo>
                    <a:pt x="147" y="92"/>
                  </a:lnTo>
                  <a:lnTo>
                    <a:pt x="147" y="92"/>
                  </a:lnTo>
                  <a:lnTo>
                    <a:pt x="147" y="92"/>
                  </a:lnTo>
                  <a:lnTo>
                    <a:pt x="145" y="90"/>
                  </a:lnTo>
                  <a:lnTo>
                    <a:pt x="145" y="90"/>
                  </a:lnTo>
                  <a:lnTo>
                    <a:pt x="145" y="90"/>
                  </a:lnTo>
                  <a:lnTo>
                    <a:pt x="145" y="84"/>
                  </a:lnTo>
                  <a:lnTo>
                    <a:pt x="143" y="78"/>
                  </a:lnTo>
                  <a:lnTo>
                    <a:pt x="143" y="76"/>
                  </a:lnTo>
                  <a:lnTo>
                    <a:pt x="143" y="69"/>
                  </a:lnTo>
                  <a:lnTo>
                    <a:pt x="143" y="65"/>
                  </a:lnTo>
                  <a:lnTo>
                    <a:pt x="143" y="63"/>
                  </a:lnTo>
                  <a:lnTo>
                    <a:pt x="143" y="63"/>
                  </a:lnTo>
                  <a:lnTo>
                    <a:pt x="139" y="63"/>
                  </a:lnTo>
                  <a:lnTo>
                    <a:pt x="136" y="63"/>
                  </a:lnTo>
                  <a:lnTo>
                    <a:pt x="136" y="61"/>
                  </a:lnTo>
                  <a:lnTo>
                    <a:pt x="134" y="59"/>
                  </a:lnTo>
                  <a:lnTo>
                    <a:pt x="134" y="57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4" y="40"/>
                  </a:lnTo>
                  <a:lnTo>
                    <a:pt x="132" y="32"/>
                  </a:lnTo>
                  <a:lnTo>
                    <a:pt x="130" y="27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6" y="21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4" y="17"/>
                  </a:lnTo>
                  <a:lnTo>
                    <a:pt x="124" y="15"/>
                  </a:lnTo>
                  <a:lnTo>
                    <a:pt x="120" y="15"/>
                  </a:lnTo>
                  <a:lnTo>
                    <a:pt x="122" y="10"/>
                  </a:lnTo>
                  <a:lnTo>
                    <a:pt x="124" y="8"/>
                  </a:lnTo>
                  <a:lnTo>
                    <a:pt x="126" y="8"/>
                  </a:lnTo>
                  <a:lnTo>
                    <a:pt x="126" y="6"/>
                  </a:lnTo>
                  <a:lnTo>
                    <a:pt x="130" y="6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0"/>
                  </a:lnTo>
                  <a:lnTo>
                    <a:pt x="128" y="0"/>
                  </a:lnTo>
                  <a:lnTo>
                    <a:pt x="126" y="0"/>
                  </a:lnTo>
                  <a:lnTo>
                    <a:pt x="118" y="4"/>
                  </a:lnTo>
                  <a:lnTo>
                    <a:pt x="113" y="4"/>
                  </a:lnTo>
                  <a:lnTo>
                    <a:pt x="111" y="6"/>
                  </a:lnTo>
                  <a:lnTo>
                    <a:pt x="109" y="6"/>
                  </a:lnTo>
                  <a:lnTo>
                    <a:pt x="105" y="6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3" y="10"/>
                  </a:lnTo>
                  <a:lnTo>
                    <a:pt x="97" y="38"/>
                  </a:lnTo>
                  <a:lnTo>
                    <a:pt x="97" y="42"/>
                  </a:lnTo>
                  <a:lnTo>
                    <a:pt x="97" y="44"/>
                  </a:lnTo>
                  <a:lnTo>
                    <a:pt x="99" y="46"/>
                  </a:lnTo>
                  <a:lnTo>
                    <a:pt x="99" y="48"/>
                  </a:lnTo>
                  <a:lnTo>
                    <a:pt x="99" y="50"/>
                  </a:lnTo>
                  <a:lnTo>
                    <a:pt x="97" y="55"/>
                  </a:lnTo>
                  <a:lnTo>
                    <a:pt x="97" y="57"/>
                  </a:lnTo>
                  <a:lnTo>
                    <a:pt x="95" y="59"/>
                  </a:lnTo>
                  <a:lnTo>
                    <a:pt x="95" y="59"/>
                  </a:lnTo>
                  <a:lnTo>
                    <a:pt x="97" y="63"/>
                  </a:lnTo>
                  <a:lnTo>
                    <a:pt x="84" y="76"/>
                  </a:lnTo>
                  <a:lnTo>
                    <a:pt x="80" y="80"/>
                  </a:lnTo>
                  <a:lnTo>
                    <a:pt x="78" y="80"/>
                  </a:lnTo>
                  <a:lnTo>
                    <a:pt x="74" y="82"/>
                  </a:lnTo>
                  <a:lnTo>
                    <a:pt x="67" y="82"/>
                  </a:lnTo>
                  <a:lnTo>
                    <a:pt x="57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90"/>
                  </a:lnTo>
                  <a:lnTo>
                    <a:pt x="55" y="92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7" y="95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7" y="101"/>
                  </a:lnTo>
                  <a:lnTo>
                    <a:pt x="55" y="105"/>
                  </a:lnTo>
                  <a:lnTo>
                    <a:pt x="53" y="107"/>
                  </a:lnTo>
                  <a:lnTo>
                    <a:pt x="53" y="109"/>
                  </a:lnTo>
                  <a:lnTo>
                    <a:pt x="48" y="113"/>
                  </a:lnTo>
                  <a:lnTo>
                    <a:pt x="48" y="116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6" y="122"/>
                  </a:lnTo>
                  <a:lnTo>
                    <a:pt x="46" y="124"/>
                  </a:lnTo>
                  <a:lnTo>
                    <a:pt x="44" y="126"/>
                  </a:lnTo>
                  <a:lnTo>
                    <a:pt x="44" y="126"/>
                  </a:lnTo>
                  <a:lnTo>
                    <a:pt x="42" y="128"/>
                  </a:lnTo>
                  <a:lnTo>
                    <a:pt x="42" y="128"/>
                  </a:lnTo>
                  <a:lnTo>
                    <a:pt x="42" y="130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7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0" y="139"/>
                  </a:lnTo>
                  <a:lnTo>
                    <a:pt x="30" y="139"/>
                  </a:lnTo>
                  <a:lnTo>
                    <a:pt x="21" y="141"/>
                  </a:lnTo>
                  <a:lnTo>
                    <a:pt x="21" y="141"/>
                  </a:lnTo>
                  <a:lnTo>
                    <a:pt x="21" y="141"/>
                  </a:lnTo>
                  <a:lnTo>
                    <a:pt x="19" y="143"/>
                  </a:lnTo>
                  <a:lnTo>
                    <a:pt x="17" y="145"/>
                  </a:lnTo>
                  <a:lnTo>
                    <a:pt x="17" y="145"/>
                  </a:lnTo>
                  <a:lnTo>
                    <a:pt x="15" y="15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7" y="197"/>
                  </a:lnTo>
                  <a:lnTo>
                    <a:pt x="11" y="200"/>
                  </a:lnTo>
                  <a:lnTo>
                    <a:pt x="13" y="202"/>
                  </a:lnTo>
                  <a:lnTo>
                    <a:pt x="17" y="202"/>
                  </a:lnTo>
                  <a:lnTo>
                    <a:pt x="17" y="200"/>
                  </a:lnTo>
                  <a:lnTo>
                    <a:pt x="19" y="191"/>
                  </a:lnTo>
                  <a:lnTo>
                    <a:pt x="19" y="189"/>
                  </a:lnTo>
                  <a:lnTo>
                    <a:pt x="21" y="189"/>
                  </a:lnTo>
                  <a:lnTo>
                    <a:pt x="23" y="187"/>
                  </a:lnTo>
                  <a:lnTo>
                    <a:pt x="21" y="200"/>
                  </a:lnTo>
                  <a:lnTo>
                    <a:pt x="21" y="204"/>
                  </a:lnTo>
                  <a:lnTo>
                    <a:pt x="21" y="208"/>
                  </a:lnTo>
                  <a:lnTo>
                    <a:pt x="28" y="214"/>
                  </a:lnTo>
                  <a:lnTo>
                    <a:pt x="30" y="218"/>
                  </a:lnTo>
                  <a:lnTo>
                    <a:pt x="28" y="235"/>
                  </a:lnTo>
                  <a:lnTo>
                    <a:pt x="30" y="242"/>
                  </a:lnTo>
                  <a:lnTo>
                    <a:pt x="30" y="250"/>
                  </a:lnTo>
                  <a:lnTo>
                    <a:pt x="30" y="256"/>
                  </a:lnTo>
                  <a:lnTo>
                    <a:pt x="28" y="261"/>
                  </a:lnTo>
                  <a:lnTo>
                    <a:pt x="30" y="265"/>
                  </a:lnTo>
                  <a:lnTo>
                    <a:pt x="34" y="267"/>
                  </a:lnTo>
                  <a:lnTo>
                    <a:pt x="38" y="265"/>
                  </a:lnTo>
                  <a:lnTo>
                    <a:pt x="53" y="256"/>
                  </a:lnTo>
                  <a:lnTo>
                    <a:pt x="72" y="248"/>
                  </a:lnTo>
                  <a:lnTo>
                    <a:pt x="95" y="237"/>
                  </a:lnTo>
                  <a:lnTo>
                    <a:pt x="120" y="229"/>
                  </a:lnTo>
                  <a:lnTo>
                    <a:pt x="136" y="221"/>
                  </a:lnTo>
                  <a:lnTo>
                    <a:pt x="141" y="218"/>
                  </a:lnTo>
                  <a:lnTo>
                    <a:pt x="145" y="214"/>
                  </a:lnTo>
                  <a:lnTo>
                    <a:pt x="147" y="212"/>
                  </a:lnTo>
                  <a:lnTo>
                    <a:pt x="149" y="212"/>
                  </a:lnTo>
                  <a:lnTo>
                    <a:pt x="155" y="212"/>
                  </a:lnTo>
                  <a:lnTo>
                    <a:pt x="157" y="212"/>
                  </a:lnTo>
                  <a:lnTo>
                    <a:pt x="159" y="210"/>
                  </a:lnTo>
                  <a:lnTo>
                    <a:pt x="159" y="206"/>
                  </a:lnTo>
                  <a:lnTo>
                    <a:pt x="162" y="197"/>
                  </a:lnTo>
                  <a:lnTo>
                    <a:pt x="162" y="193"/>
                  </a:lnTo>
                  <a:lnTo>
                    <a:pt x="168" y="183"/>
                  </a:lnTo>
                  <a:lnTo>
                    <a:pt x="170" y="179"/>
                  </a:lnTo>
                  <a:lnTo>
                    <a:pt x="170" y="179"/>
                  </a:lnTo>
                  <a:lnTo>
                    <a:pt x="172" y="176"/>
                  </a:lnTo>
                  <a:lnTo>
                    <a:pt x="174" y="176"/>
                  </a:lnTo>
                  <a:lnTo>
                    <a:pt x="176" y="176"/>
                  </a:lnTo>
                  <a:lnTo>
                    <a:pt x="176" y="179"/>
                  </a:lnTo>
                  <a:lnTo>
                    <a:pt x="174" y="179"/>
                  </a:lnTo>
                  <a:lnTo>
                    <a:pt x="174" y="179"/>
                  </a:lnTo>
                  <a:lnTo>
                    <a:pt x="174" y="179"/>
                  </a:lnTo>
                  <a:lnTo>
                    <a:pt x="172" y="179"/>
                  </a:lnTo>
                  <a:lnTo>
                    <a:pt x="172" y="179"/>
                  </a:lnTo>
                  <a:lnTo>
                    <a:pt x="172" y="181"/>
                  </a:lnTo>
                  <a:lnTo>
                    <a:pt x="174" y="181"/>
                  </a:lnTo>
                  <a:lnTo>
                    <a:pt x="176" y="179"/>
                  </a:lnTo>
                  <a:lnTo>
                    <a:pt x="176" y="179"/>
                  </a:lnTo>
                  <a:lnTo>
                    <a:pt x="178" y="176"/>
                  </a:lnTo>
                  <a:lnTo>
                    <a:pt x="176" y="174"/>
                  </a:lnTo>
                  <a:lnTo>
                    <a:pt x="174" y="170"/>
                  </a:lnTo>
                  <a:lnTo>
                    <a:pt x="176" y="170"/>
                  </a:lnTo>
                  <a:lnTo>
                    <a:pt x="176" y="170"/>
                  </a:lnTo>
                  <a:lnTo>
                    <a:pt x="180" y="168"/>
                  </a:lnTo>
                  <a:lnTo>
                    <a:pt x="185" y="168"/>
                  </a:lnTo>
                  <a:lnTo>
                    <a:pt x="185" y="166"/>
                  </a:lnTo>
                  <a:lnTo>
                    <a:pt x="185" y="164"/>
                  </a:lnTo>
                  <a:lnTo>
                    <a:pt x="178" y="160"/>
                  </a:lnTo>
                  <a:lnTo>
                    <a:pt x="176" y="160"/>
                  </a:lnTo>
                  <a:lnTo>
                    <a:pt x="176" y="158"/>
                  </a:lnTo>
                  <a:lnTo>
                    <a:pt x="176" y="155"/>
                  </a:lnTo>
                  <a:lnTo>
                    <a:pt x="174" y="155"/>
                  </a:lnTo>
                  <a:lnTo>
                    <a:pt x="172" y="153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70" y="153"/>
                  </a:lnTo>
                  <a:lnTo>
                    <a:pt x="170" y="153"/>
                  </a:lnTo>
                  <a:lnTo>
                    <a:pt x="170" y="151"/>
                  </a:lnTo>
                  <a:lnTo>
                    <a:pt x="172" y="151"/>
                  </a:lnTo>
                  <a:lnTo>
                    <a:pt x="172" y="149"/>
                  </a:lnTo>
                  <a:lnTo>
                    <a:pt x="170" y="147"/>
                  </a:lnTo>
                  <a:lnTo>
                    <a:pt x="170" y="147"/>
                  </a:lnTo>
                  <a:lnTo>
                    <a:pt x="172" y="145"/>
                  </a:lnTo>
                  <a:lnTo>
                    <a:pt x="172" y="143"/>
                  </a:lnTo>
                  <a:lnTo>
                    <a:pt x="172" y="141"/>
                  </a:lnTo>
                  <a:lnTo>
                    <a:pt x="172" y="139"/>
                  </a:lnTo>
                  <a:lnTo>
                    <a:pt x="172" y="139"/>
                  </a:lnTo>
                  <a:lnTo>
                    <a:pt x="172" y="139"/>
                  </a:lnTo>
                  <a:lnTo>
                    <a:pt x="174" y="137"/>
                  </a:lnTo>
                  <a:lnTo>
                    <a:pt x="174" y="137"/>
                  </a:lnTo>
                  <a:lnTo>
                    <a:pt x="174" y="139"/>
                  </a:lnTo>
                  <a:lnTo>
                    <a:pt x="174" y="141"/>
                  </a:lnTo>
                  <a:lnTo>
                    <a:pt x="174" y="143"/>
                  </a:lnTo>
                  <a:lnTo>
                    <a:pt x="176" y="145"/>
                  </a:lnTo>
                  <a:lnTo>
                    <a:pt x="176" y="145"/>
                  </a:lnTo>
                  <a:lnTo>
                    <a:pt x="176" y="145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80" y="147"/>
                  </a:lnTo>
                  <a:lnTo>
                    <a:pt x="180" y="149"/>
                  </a:lnTo>
                  <a:lnTo>
                    <a:pt x="180" y="153"/>
                  </a:lnTo>
                  <a:lnTo>
                    <a:pt x="180" y="155"/>
                  </a:lnTo>
                  <a:lnTo>
                    <a:pt x="183" y="155"/>
                  </a:lnTo>
                  <a:lnTo>
                    <a:pt x="185" y="155"/>
                  </a:lnTo>
                  <a:lnTo>
                    <a:pt x="187" y="153"/>
                  </a:lnTo>
                  <a:lnTo>
                    <a:pt x="191" y="147"/>
                  </a:lnTo>
                  <a:lnTo>
                    <a:pt x="193" y="145"/>
                  </a:lnTo>
                  <a:lnTo>
                    <a:pt x="195" y="141"/>
                  </a:lnTo>
                  <a:lnTo>
                    <a:pt x="195" y="139"/>
                  </a:lnTo>
                  <a:lnTo>
                    <a:pt x="195" y="122"/>
                  </a:lnTo>
                  <a:lnTo>
                    <a:pt x="195" y="120"/>
                  </a:lnTo>
                  <a:lnTo>
                    <a:pt x="197" y="116"/>
                  </a:lnTo>
                  <a:lnTo>
                    <a:pt x="197" y="113"/>
                  </a:lnTo>
                  <a:lnTo>
                    <a:pt x="195" y="113"/>
                  </a:lnTo>
                  <a:lnTo>
                    <a:pt x="195" y="113"/>
                  </a:lnTo>
                  <a:lnTo>
                    <a:pt x="191" y="113"/>
                  </a:lnTo>
                  <a:lnTo>
                    <a:pt x="189" y="118"/>
                  </a:lnTo>
                  <a:lnTo>
                    <a:pt x="187" y="118"/>
                  </a:lnTo>
                  <a:lnTo>
                    <a:pt x="191" y="113"/>
                  </a:lnTo>
                  <a:lnTo>
                    <a:pt x="191" y="111"/>
                  </a:lnTo>
                  <a:lnTo>
                    <a:pt x="189" y="111"/>
                  </a:lnTo>
                  <a:lnTo>
                    <a:pt x="189" y="111"/>
                  </a:lnTo>
                  <a:lnTo>
                    <a:pt x="189" y="109"/>
                  </a:lnTo>
                  <a:lnTo>
                    <a:pt x="189" y="109"/>
                  </a:lnTo>
                  <a:lnTo>
                    <a:pt x="191" y="109"/>
                  </a:lnTo>
                  <a:lnTo>
                    <a:pt x="191" y="109"/>
                  </a:lnTo>
                  <a:lnTo>
                    <a:pt x="195" y="107"/>
                  </a:lnTo>
                  <a:lnTo>
                    <a:pt x="195" y="107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5" y="109"/>
                  </a:lnTo>
                  <a:lnTo>
                    <a:pt x="197" y="109"/>
                  </a:lnTo>
                  <a:lnTo>
                    <a:pt x="197" y="107"/>
                  </a:lnTo>
                  <a:lnTo>
                    <a:pt x="197" y="107"/>
                  </a:lnTo>
                  <a:lnTo>
                    <a:pt x="199" y="107"/>
                  </a:lnTo>
                  <a:lnTo>
                    <a:pt x="201" y="107"/>
                  </a:lnTo>
                  <a:lnTo>
                    <a:pt x="203" y="107"/>
                  </a:lnTo>
                  <a:lnTo>
                    <a:pt x="203" y="109"/>
                  </a:lnTo>
                  <a:lnTo>
                    <a:pt x="203" y="111"/>
                  </a:lnTo>
                  <a:lnTo>
                    <a:pt x="206" y="113"/>
                  </a:lnTo>
                  <a:lnTo>
                    <a:pt x="208" y="113"/>
                  </a:lnTo>
                  <a:lnTo>
                    <a:pt x="210" y="109"/>
                  </a:lnTo>
                  <a:lnTo>
                    <a:pt x="214" y="95"/>
                  </a:lnTo>
                  <a:lnTo>
                    <a:pt x="214" y="95"/>
                  </a:lnTo>
                  <a:close/>
                  <a:moveTo>
                    <a:pt x="191" y="223"/>
                  </a:moveTo>
                  <a:lnTo>
                    <a:pt x="189" y="223"/>
                  </a:lnTo>
                  <a:lnTo>
                    <a:pt x="189" y="223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7" y="214"/>
                  </a:lnTo>
                  <a:lnTo>
                    <a:pt x="189" y="212"/>
                  </a:lnTo>
                  <a:lnTo>
                    <a:pt x="187" y="210"/>
                  </a:lnTo>
                  <a:lnTo>
                    <a:pt x="187" y="208"/>
                  </a:lnTo>
                  <a:lnTo>
                    <a:pt x="187" y="206"/>
                  </a:lnTo>
                  <a:lnTo>
                    <a:pt x="185" y="204"/>
                  </a:lnTo>
                  <a:lnTo>
                    <a:pt x="187" y="204"/>
                  </a:lnTo>
                  <a:lnTo>
                    <a:pt x="191" y="202"/>
                  </a:lnTo>
                  <a:lnTo>
                    <a:pt x="189" y="200"/>
                  </a:lnTo>
                  <a:lnTo>
                    <a:pt x="189" y="197"/>
                  </a:lnTo>
                  <a:lnTo>
                    <a:pt x="187" y="195"/>
                  </a:lnTo>
                  <a:lnTo>
                    <a:pt x="185" y="193"/>
                  </a:lnTo>
                  <a:lnTo>
                    <a:pt x="185" y="189"/>
                  </a:lnTo>
                  <a:lnTo>
                    <a:pt x="185" y="181"/>
                  </a:lnTo>
                  <a:lnTo>
                    <a:pt x="187" y="179"/>
                  </a:lnTo>
                  <a:lnTo>
                    <a:pt x="187" y="179"/>
                  </a:lnTo>
                  <a:lnTo>
                    <a:pt x="187" y="176"/>
                  </a:lnTo>
                  <a:lnTo>
                    <a:pt x="185" y="174"/>
                  </a:lnTo>
                  <a:lnTo>
                    <a:pt x="185" y="176"/>
                  </a:lnTo>
                  <a:lnTo>
                    <a:pt x="185" y="176"/>
                  </a:lnTo>
                  <a:lnTo>
                    <a:pt x="183" y="176"/>
                  </a:lnTo>
                  <a:lnTo>
                    <a:pt x="180" y="179"/>
                  </a:lnTo>
                  <a:lnTo>
                    <a:pt x="176" y="183"/>
                  </a:lnTo>
                  <a:lnTo>
                    <a:pt x="174" y="183"/>
                  </a:lnTo>
                  <a:lnTo>
                    <a:pt x="172" y="185"/>
                  </a:lnTo>
                  <a:lnTo>
                    <a:pt x="170" y="185"/>
                  </a:lnTo>
                  <a:lnTo>
                    <a:pt x="170" y="187"/>
                  </a:lnTo>
                  <a:lnTo>
                    <a:pt x="168" y="191"/>
                  </a:lnTo>
                  <a:lnTo>
                    <a:pt x="164" y="200"/>
                  </a:lnTo>
                  <a:lnTo>
                    <a:pt x="164" y="202"/>
                  </a:lnTo>
                  <a:lnTo>
                    <a:pt x="164" y="208"/>
                  </a:lnTo>
                  <a:lnTo>
                    <a:pt x="162" y="214"/>
                  </a:lnTo>
                  <a:lnTo>
                    <a:pt x="162" y="216"/>
                  </a:lnTo>
                  <a:lnTo>
                    <a:pt x="162" y="223"/>
                  </a:lnTo>
                  <a:lnTo>
                    <a:pt x="162" y="225"/>
                  </a:lnTo>
                  <a:lnTo>
                    <a:pt x="164" y="227"/>
                  </a:lnTo>
                  <a:lnTo>
                    <a:pt x="166" y="229"/>
                  </a:lnTo>
                  <a:lnTo>
                    <a:pt x="166" y="229"/>
                  </a:lnTo>
                  <a:lnTo>
                    <a:pt x="168" y="231"/>
                  </a:lnTo>
                  <a:lnTo>
                    <a:pt x="166" y="237"/>
                  </a:lnTo>
                  <a:lnTo>
                    <a:pt x="166" y="239"/>
                  </a:lnTo>
                  <a:lnTo>
                    <a:pt x="168" y="239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8" y="244"/>
                  </a:lnTo>
                  <a:lnTo>
                    <a:pt x="168" y="244"/>
                  </a:lnTo>
                  <a:lnTo>
                    <a:pt x="166" y="244"/>
                  </a:lnTo>
                  <a:lnTo>
                    <a:pt x="166" y="244"/>
                  </a:lnTo>
                  <a:lnTo>
                    <a:pt x="166" y="246"/>
                  </a:lnTo>
                  <a:lnTo>
                    <a:pt x="166" y="248"/>
                  </a:lnTo>
                  <a:lnTo>
                    <a:pt x="164" y="250"/>
                  </a:lnTo>
                  <a:lnTo>
                    <a:pt x="166" y="252"/>
                  </a:lnTo>
                  <a:lnTo>
                    <a:pt x="166" y="252"/>
                  </a:lnTo>
                  <a:lnTo>
                    <a:pt x="168" y="252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70" y="254"/>
                  </a:lnTo>
                  <a:lnTo>
                    <a:pt x="170" y="252"/>
                  </a:lnTo>
                  <a:lnTo>
                    <a:pt x="172" y="252"/>
                  </a:lnTo>
                  <a:lnTo>
                    <a:pt x="174" y="250"/>
                  </a:lnTo>
                  <a:lnTo>
                    <a:pt x="174" y="250"/>
                  </a:lnTo>
                  <a:lnTo>
                    <a:pt x="176" y="250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6" y="248"/>
                  </a:lnTo>
                  <a:lnTo>
                    <a:pt x="178" y="246"/>
                  </a:lnTo>
                  <a:lnTo>
                    <a:pt x="178" y="246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0" y="244"/>
                  </a:lnTo>
                  <a:lnTo>
                    <a:pt x="183" y="244"/>
                  </a:lnTo>
                  <a:lnTo>
                    <a:pt x="183" y="244"/>
                  </a:lnTo>
                  <a:lnTo>
                    <a:pt x="185" y="242"/>
                  </a:lnTo>
                  <a:lnTo>
                    <a:pt x="185" y="242"/>
                  </a:lnTo>
                  <a:lnTo>
                    <a:pt x="185" y="242"/>
                  </a:lnTo>
                  <a:lnTo>
                    <a:pt x="187" y="239"/>
                  </a:lnTo>
                  <a:lnTo>
                    <a:pt x="187" y="239"/>
                  </a:lnTo>
                  <a:lnTo>
                    <a:pt x="187" y="239"/>
                  </a:lnTo>
                  <a:lnTo>
                    <a:pt x="189" y="239"/>
                  </a:lnTo>
                  <a:lnTo>
                    <a:pt x="189" y="239"/>
                  </a:lnTo>
                  <a:lnTo>
                    <a:pt x="189" y="237"/>
                  </a:lnTo>
                  <a:lnTo>
                    <a:pt x="187" y="235"/>
                  </a:lnTo>
                  <a:lnTo>
                    <a:pt x="187" y="233"/>
                  </a:lnTo>
                  <a:lnTo>
                    <a:pt x="187" y="231"/>
                  </a:lnTo>
                  <a:lnTo>
                    <a:pt x="189" y="229"/>
                  </a:lnTo>
                  <a:lnTo>
                    <a:pt x="189" y="229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5"/>
                  </a:lnTo>
                  <a:lnTo>
                    <a:pt x="191" y="223"/>
                  </a:lnTo>
                  <a:close/>
                  <a:moveTo>
                    <a:pt x="197" y="189"/>
                  </a:moveTo>
                  <a:lnTo>
                    <a:pt x="197" y="191"/>
                  </a:lnTo>
                  <a:lnTo>
                    <a:pt x="197" y="193"/>
                  </a:lnTo>
                  <a:lnTo>
                    <a:pt x="195" y="195"/>
                  </a:lnTo>
                  <a:lnTo>
                    <a:pt x="193" y="195"/>
                  </a:lnTo>
                  <a:lnTo>
                    <a:pt x="193" y="197"/>
                  </a:lnTo>
                  <a:lnTo>
                    <a:pt x="191" y="202"/>
                  </a:lnTo>
                  <a:lnTo>
                    <a:pt x="191" y="204"/>
                  </a:lnTo>
                  <a:lnTo>
                    <a:pt x="191" y="206"/>
                  </a:lnTo>
                  <a:lnTo>
                    <a:pt x="191" y="208"/>
                  </a:lnTo>
                  <a:lnTo>
                    <a:pt x="195" y="212"/>
                  </a:lnTo>
                  <a:lnTo>
                    <a:pt x="195" y="214"/>
                  </a:lnTo>
                  <a:lnTo>
                    <a:pt x="197" y="214"/>
                  </a:lnTo>
                  <a:lnTo>
                    <a:pt x="197" y="212"/>
                  </a:lnTo>
                  <a:lnTo>
                    <a:pt x="197" y="208"/>
                  </a:lnTo>
                  <a:lnTo>
                    <a:pt x="199" y="204"/>
                  </a:lnTo>
                  <a:lnTo>
                    <a:pt x="201" y="197"/>
                  </a:lnTo>
                  <a:lnTo>
                    <a:pt x="201" y="193"/>
                  </a:lnTo>
                  <a:lnTo>
                    <a:pt x="199" y="191"/>
                  </a:lnTo>
                  <a:lnTo>
                    <a:pt x="197" y="189"/>
                  </a:lnTo>
                  <a:close/>
                  <a:moveTo>
                    <a:pt x="145" y="321"/>
                  </a:moveTo>
                  <a:lnTo>
                    <a:pt x="145" y="321"/>
                  </a:lnTo>
                  <a:lnTo>
                    <a:pt x="145" y="321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5" y="319"/>
                  </a:lnTo>
                  <a:lnTo>
                    <a:pt x="141" y="324"/>
                  </a:lnTo>
                  <a:lnTo>
                    <a:pt x="139" y="326"/>
                  </a:lnTo>
                  <a:lnTo>
                    <a:pt x="139" y="326"/>
                  </a:lnTo>
                  <a:lnTo>
                    <a:pt x="141" y="326"/>
                  </a:lnTo>
                  <a:lnTo>
                    <a:pt x="147" y="321"/>
                  </a:lnTo>
                  <a:lnTo>
                    <a:pt x="145" y="321"/>
                  </a:lnTo>
                  <a:lnTo>
                    <a:pt x="145" y="321"/>
                  </a:lnTo>
                  <a:close/>
                  <a:moveTo>
                    <a:pt x="136" y="313"/>
                  </a:moveTo>
                  <a:lnTo>
                    <a:pt x="136" y="313"/>
                  </a:lnTo>
                  <a:lnTo>
                    <a:pt x="134" y="313"/>
                  </a:lnTo>
                  <a:lnTo>
                    <a:pt x="134" y="315"/>
                  </a:lnTo>
                  <a:lnTo>
                    <a:pt x="132" y="315"/>
                  </a:lnTo>
                  <a:lnTo>
                    <a:pt x="132" y="317"/>
                  </a:lnTo>
                  <a:lnTo>
                    <a:pt x="132" y="317"/>
                  </a:lnTo>
                  <a:lnTo>
                    <a:pt x="134" y="315"/>
                  </a:lnTo>
                  <a:lnTo>
                    <a:pt x="134" y="315"/>
                  </a:lnTo>
                  <a:lnTo>
                    <a:pt x="136" y="313"/>
                  </a:lnTo>
                  <a:lnTo>
                    <a:pt x="136" y="313"/>
                  </a:lnTo>
                  <a:lnTo>
                    <a:pt x="136" y="31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08" name="Freeform 108">
              <a:extLst>
                <a:ext uri="{FF2B5EF4-FFF2-40B4-BE49-F238E27FC236}">
                  <a16:creationId xmlns:a16="http://schemas.microsoft.com/office/drawing/2014/main" id="{8B97F7C8-2EF4-49F7-9A30-47EEEE6B04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93928" y="576674"/>
              <a:ext cx="386954" cy="382190"/>
            </a:xfrm>
            <a:custGeom>
              <a:avLst/>
              <a:gdLst>
                <a:gd name="T0" fmla="*/ 137 w 155"/>
                <a:gd name="T1" fmla="*/ 15 h 153"/>
                <a:gd name="T2" fmla="*/ 150 w 155"/>
                <a:gd name="T3" fmla="*/ 41 h 153"/>
                <a:gd name="T4" fmla="*/ 150 w 155"/>
                <a:gd name="T5" fmla="*/ 17 h 153"/>
                <a:gd name="T6" fmla="*/ 147 w 155"/>
                <a:gd name="T7" fmla="*/ 25 h 153"/>
                <a:gd name="T8" fmla="*/ 148 w 155"/>
                <a:gd name="T9" fmla="*/ 27 h 153"/>
                <a:gd name="T10" fmla="*/ 135 w 155"/>
                <a:gd name="T11" fmla="*/ 44 h 153"/>
                <a:gd name="T12" fmla="*/ 140 w 155"/>
                <a:gd name="T13" fmla="*/ 48 h 153"/>
                <a:gd name="T14" fmla="*/ 146 w 155"/>
                <a:gd name="T15" fmla="*/ 79 h 153"/>
                <a:gd name="T16" fmla="*/ 140 w 155"/>
                <a:gd name="T17" fmla="*/ 69 h 153"/>
                <a:gd name="T18" fmla="*/ 139 w 155"/>
                <a:gd name="T19" fmla="*/ 66 h 153"/>
                <a:gd name="T20" fmla="*/ 138 w 155"/>
                <a:gd name="T21" fmla="*/ 64 h 153"/>
                <a:gd name="T22" fmla="*/ 138 w 155"/>
                <a:gd name="T23" fmla="*/ 60 h 153"/>
                <a:gd name="T24" fmla="*/ 131 w 155"/>
                <a:gd name="T25" fmla="*/ 56 h 153"/>
                <a:gd name="T26" fmla="*/ 122 w 155"/>
                <a:gd name="T27" fmla="*/ 52 h 153"/>
                <a:gd name="T28" fmla="*/ 127 w 155"/>
                <a:gd name="T29" fmla="*/ 50 h 153"/>
                <a:gd name="T30" fmla="*/ 130 w 155"/>
                <a:gd name="T31" fmla="*/ 46 h 153"/>
                <a:gd name="T32" fmla="*/ 125 w 155"/>
                <a:gd name="T33" fmla="*/ 43 h 153"/>
                <a:gd name="T34" fmla="*/ 119 w 155"/>
                <a:gd name="T35" fmla="*/ 37 h 153"/>
                <a:gd name="T36" fmla="*/ 120 w 155"/>
                <a:gd name="T37" fmla="*/ 34 h 153"/>
                <a:gd name="T38" fmla="*/ 132 w 155"/>
                <a:gd name="T39" fmla="*/ 31 h 153"/>
                <a:gd name="T40" fmla="*/ 136 w 155"/>
                <a:gd name="T41" fmla="*/ 34 h 153"/>
                <a:gd name="T42" fmla="*/ 148 w 155"/>
                <a:gd name="T43" fmla="*/ 31 h 153"/>
                <a:gd name="T44" fmla="*/ 145 w 155"/>
                <a:gd name="T45" fmla="*/ 28 h 153"/>
                <a:gd name="T46" fmla="*/ 135 w 155"/>
                <a:gd name="T47" fmla="*/ 21 h 153"/>
                <a:gd name="T48" fmla="*/ 141 w 155"/>
                <a:gd name="T49" fmla="*/ 21 h 153"/>
                <a:gd name="T50" fmla="*/ 131 w 155"/>
                <a:gd name="T51" fmla="*/ 15 h 153"/>
                <a:gd name="T52" fmla="*/ 128 w 155"/>
                <a:gd name="T53" fmla="*/ 12 h 153"/>
                <a:gd name="T54" fmla="*/ 136 w 155"/>
                <a:gd name="T55" fmla="*/ 11 h 153"/>
                <a:gd name="T56" fmla="*/ 120 w 155"/>
                <a:gd name="T57" fmla="*/ 2 h 153"/>
                <a:gd name="T58" fmla="*/ 97 w 155"/>
                <a:gd name="T59" fmla="*/ 1 h 153"/>
                <a:gd name="T60" fmla="*/ 87 w 155"/>
                <a:gd name="T61" fmla="*/ 3 h 153"/>
                <a:gd name="T62" fmla="*/ 81 w 155"/>
                <a:gd name="T63" fmla="*/ 3 h 153"/>
                <a:gd name="T64" fmla="*/ 70 w 155"/>
                <a:gd name="T65" fmla="*/ 1 h 153"/>
                <a:gd name="T66" fmla="*/ 65 w 155"/>
                <a:gd name="T67" fmla="*/ 5 h 153"/>
                <a:gd name="T68" fmla="*/ 59 w 155"/>
                <a:gd name="T69" fmla="*/ 1 h 153"/>
                <a:gd name="T70" fmla="*/ 54 w 155"/>
                <a:gd name="T71" fmla="*/ 8 h 153"/>
                <a:gd name="T72" fmla="*/ 46 w 155"/>
                <a:gd name="T73" fmla="*/ 20 h 153"/>
                <a:gd name="T74" fmla="*/ 44 w 155"/>
                <a:gd name="T75" fmla="*/ 35 h 153"/>
                <a:gd name="T76" fmla="*/ 46 w 155"/>
                <a:gd name="T77" fmla="*/ 44 h 153"/>
                <a:gd name="T78" fmla="*/ 41 w 155"/>
                <a:gd name="T79" fmla="*/ 58 h 153"/>
                <a:gd name="T80" fmla="*/ 34 w 155"/>
                <a:gd name="T81" fmla="*/ 64 h 153"/>
                <a:gd name="T82" fmla="*/ 24 w 155"/>
                <a:gd name="T83" fmla="*/ 69 h 153"/>
                <a:gd name="T84" fmla="*/ 23 w 155"/>
                <a:gd name="T85" fmla="*/ 75 h 153"/>
                <a:gd name="T86" fmla="*/ 23 w 155"/>
                <a:gd name="T87" fmla="*/ 82 h 153"/>
                <a:gd name="T88" fmla="*/ 28 w 155"/>
                <a:gd name="T89" fmla="*/ 86 h 153"/>
                <a:gd name="T90" fmla="*/ 16 w 155"/>
                <a:gd name="T91" fmla="*/ 92 h 153"/>
                <a:gd name="T92" fmla="*/ 8 w 155"/>
                <a:gd name="T93" fmla="*/ 102 h 153"/>
                <a:gd name="T94" fmla="*/ 13 w 155"/>
                <a:gd name="T95" fmla="*/ 109 h 153"/>
                <a:gd name="T96" fmla="*/ 5 w 155"/>
                <a:gd name="T97" fmla="*/ 115 h 153"/>
                <a:gd name="T98" fmla="*/ 3 w 155"/>
                <a:gd name="T99" fmla="*/ 127 h 153"/>
                <a:gd name="T100" fmla="*/ 7 w 155"/>
                <a:gd name="T101" fmla="*/ 140 h 153"/>
                <a:gd name="T102" fmla="*/ 51 w 155"/>
                <a:gd name="T103" fmla="*/ 142 h 153"/>
                <a:gd name="T104" fmla="*/ 79 w 155"/>
                <a:gd name="T105" fmla="*/ 103 h 153"/>
                <a:gd name="T106" fmla="*/ 103 w 155"/>
                <a:gd name="T107" fmla="*/ 91 h 153"/>
                <a:gd name="T108" fmla="*/ 143 w 155"/>
                <a:gd name="T109" fmla="*/ 93 h 153"/>
                <a:gd name="T110" fmla="*/ 132 w 155"/>
                <a:gd name="T111" fmla="*/ 40 h 153"/>
                <a:gd name="T112" fmla="*/ 121 w 155"/>
                <a:gd name="T113" fmla="*/ 37 h 153"/>
                <a:gd name="T114" fmla="*/ 132 w 155"/>
                <a:gd name="T115" fmla="*/ 43 h 153"/>
                <a:gd name="T116" fmla="*/ 133 w 155"/>
                <a:gd name="T117" fmla="*/ 50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5" h="153">
                  <a:moveTo>
                    <a:pt x="140" y="19"/>
                  </a:moveTo>
                  <a:cubicBezTo>
                    <a:pt x="142" y="19"/>
                    <a:pt x="142" y="19"/>
                    <a:pt x="142" y="19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4" y="16"/>
                    <a:pt x="144" y="16"/>
                    <a:pt x="144" y="16"/>
                  </a:cubicBezTo>
                  <a:cubicBezTo>
                    <a:pt x="144" y="15"/>
                    <a:pt x="144" y="15"/>
                    <a:pt x="144" y="15"/>
                  </a:cubicBezTo>
                  <a:cubicBezTo>
                    <a:pt x="143" y="14"/>
                    <a:pt x="143" y="14"/>
                    <a:pt x="143" y="14"/>
                  </a:cubicBezTo>
                  <a:cubicBezTo>
                    <a:pt x="142" y="13"/>
                    <a:pt x="142" y="13"/>
                    <a:pt x="142" y="13"/>
                  </a:cubicBezTo>
                  <a:cubicBezTo>
                    <a:pt x="140" y="12"/>
                    <a:pt x="140" y="12"/>
                    <a:pt x="140" y="12"/>
                  </a:cubicBezTo>
                  <a:cubicBezTo>
                    <a:pt x="140" y="12"/>
                    <a:pt x="140" y="12"/>
                    <a:pt x="140" y="12"/>
                  </a:cubicBezTo>
                  <a:cubicBezTo>
                    <a:pt x="139" y="12"/>
                    <a:pt x="139" y="12"/>
                    <a:pt x="139" y="12"/>
                  </a:cubicBezTo>
                  <a:cubicBezTo>
                    <a:pt x="138" y="13"/>
                    <a:pt x="138" y="13"/>
                    <a:pt x="138" y="13"/>
                  </a:cubicBezTo>
                  <a:cubicBezTo>
                    <a:pt x="137" y="15"/>
                    <a:pt x="137" y="15"/>
                    <a:pt x="137" y="15"/>
                  </a:cubicBezTo>
                  <a:cubicBezTo>
                    <a:pt x="138" y="18"/>
                    <a:pt x="138" y="18"/>
                    <a:pt x="138" y="18"/>
                  </a:cubicBezTo>
                  <a:lnTo>
                    <a:pt x="140" y="19"/>
                  </a:lnTo>
                  <a:close/>
                  <a:moveTo>
                    <a:pt x="146" y="37"/>
                  </a:moveTo>
                  <a:cubicBezTo>
                    <a:pt x="145" y="37"/>
                    <a:pt x="145" y="37"/>
                    <a:pt x="145" y="37"/>
                  </a:cubicBezTo>
                  <a:cubicBezTo>
                    <a:pt x="145" y="38"/>
                    <a:pt x="145" y="38"/>
                    <a:pt x="145" y="38"/>
                  </a:cubicBezTo>
                  <a:cubicBezTo>
                    <a:pt x="145" y="39"/>
                    <a:pt x="145" y="39"/>
                    <a:pt x="145" y="39"/>
                  </a:cubicBezTo>
                  <a:cubicBezTo>
                    <a:pt x="147" y="40"/>
                    <a:pt x="147" y="40"/>
                    <a:pt x="147" y="40"/>
                  </a:cubicBezTo>
                  <a:cubicBezTo>
                    <a:pt x="147" y="41"/>
                    <a:pt x="147" y="41"/>
                    <a:pt x="147" y="41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150" y="43"/>
                    <a:pt x="150" y="43"/>
                    <a:pt x="150" y="43"/>
                  </a:cubicBezTo>
                  <a:cubicBezTo>
                    <a:pt x="150" y="42"/>
                    <a:pt x="150" y="42"/>
                    <a:pt x="150" y="42"/>
                  </a:cubicBezTo>
                  <a:cubicBezTo>
                    <a:pt x="150" y="41"/>
                    <a:pt x="150" y="41"/>
                    <a:pt x="150" y="41"/>
                  </a:cubicBezTo>
                  <a:cubicBezTo>
                    <a:pt x="150" y="41"/>
                    <a:pt x="150" y="41"/>
                    <a:pt x="150" y="41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50" y="39"/>
                    <a:pt x="150" y="39"/>
                    <a:pt x="150" y="39"/>
                  </a:cubicBezTo>
                  <a:cubicBezTo>
                    <a:pt x="149" y="38"/>
                    <a:pt x="149" y="38"/>
                    <a:pt x="149" y="38"/>
                  </a:cubicBezTo>
                  <a:cubicBezTo>
                    <a:pt x="148" y="37"/>
                    <a:pt x="148" y="37"/>
                    <a:pt x="148" y="37"/>
                  </a:cubicBezTo>
                  <a:cubicBezTo>
                    <a:pt x="147" y="37"/>
                    <a:pt x="147" y="37"/>
                    <a:pt x="147" y="37"/>
                  </a:cubicBezTo>
                  <a:lnTo>
                    <a:pt x="146" y="37"/>
                  </a:lnTo>
                  <a:close/>
                  <a:moveTo>
                    <a:pt x="144" y="14"/>
                  </a:moveTo>
                  <a:cubicBezTo>
                    <a:pt x="147" y="15"/>
                    <a:pt x="147" y="15"/>
                    <a:pt x="147" y="15"/>
                  </a:cubicBezTo>
                  <a:cubicBezTo>
                    <a:pt x="148" y="16"/>
                    <a:pt x="148" y="16"/>
                    <a:pt x="148" y="16"/>
                  </a:cubicBezTo>
                  <a:cubicBezTo>
                    <a:pt x="149" y="17"/>
                    <a:pt x="149" y="17"/>
                    <a:pt x="149" y="17"/>
                  </a:cubicBezTo>
                  <a:cubicBezTo>
                    <a:pt x="150" y="17"/>
                    <a:pt x="150" y="17"/>
                    <a:pt x="150" y="17"/>
                  </a:cubicBezTo>
                  <a:cubicBezTo>
                    <a:pt x="151" y="17"/>
                    <a:pt x="151" y="17"/>
                    <a:pt x="151" y="17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1" y="14"/>
                    <a:pt x="151" y="14"/>
                    <a:pt x="151" y="14"/>
                  </a:cubicBezTo>
                  <a:cubicBezTo>
                    <a:pt x="151" y="12"/>
                    <a:pt x="151" y="12"/>
                    <a:pt x="151" y="12"/>
                  </a:cubicBezTo>
                  <a:cubicBezTo>
                    <a:pt x="151" y="11"/>
                    <a:pt x="151" y="11"/>
                    <a:pt x="151" y="11"/>
                  </a:cubicBezTo>
                  <a:cubicBezTo>
                    <a:pt x="149" y="11"/>
                    <a:pt x="149" y="11"/>
                    <a:pt x="149" y="11"/>
                  </a:cubicBezTo>
                  <a:cubicBezTo>
                    <a:pt x="143" y="11"/>
                    <a:pt x="143" y="11"/>
                    <a:pt x="143" y="11"/>
                  </a:cubicBezTo>
                  <a:cubicBezTo>
                    <a:pt x="142" y="11"/>
                    <a:pt x="142" y="11"/>
                    <a:pt x="142" y="11"/>
                  </a:cubicBezTo>
                  <a:cubicBezTo>
                    <a:pt x="143" y="12"/>
                    <a:pt x="143" y="12"/>
                    <a:pt x="143" y="12"/>
                  </a:cubicBezTo>
                  <a:lnTo>
                    <a:pt x="144" y="14"/>
                  </a:lnTo>
                  <a:close/>
                  <a:moveTo>
                    <a:pt x="148" y="26"/>
                  </a:moveTo>
                  <a:cubicBezTo>
                    <a:pt x="147" y="25"/>
                    <a:pt x="147" y="25"/>
                    <a:pt x="147" y="25"/>
                  </a:cubicBezTo>
                  <a:cubicBezTo>
                    <a:pt x="146" y="25"/>
                    <a:pt x="146" y="25"/>
                    <a:pt x="146" y="25"/>
                  </a:cubicBezTo>
                  <a:cubicBezTo>
                    <a:pt x="146" y="24"/>
                    <a:pt x="146" y="24"/>
                    <a:pt x="146" y="24"/>
                  </a:cubicBezTo>
                  <a:cubicBezTo>
                    <a:pt x="145" y="24"/>
                    <a:pt x="145" y="24"/>
                    <a:pt x="145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44" y="24"/>
                    <a:pt x="144" y="24"/>
                    <a:pt x="144" y="24"/>
                  </a:cubicBezTo>
                  <a:cubicBezTo>
                    <a:pt x="143" y="24"/>
                    <a:pt x="143" y="24"/>
                    <a:pt x="143" y="24"/>
                  </a:cubicBezTo>
                  <a:cubicBezTo>
                    <a:pt x="143" y="24"/>
                    <a:pt x="143" y="24"/>
                    <a:pt x="143" y="24"/>
                  </a:cubicBezTo>
                  <a:cubicBezTo>
                    <a:pt x="144" y="25"/>
                    <a:pt x="144" y="25"/>
                    <a:pt x="144" y="25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45" y="26"/>
                    <a:pt x="145" y="26"/>
                    <a:pt x="145" y="26"/>
                  </a:cubicBezTo>
                  <a:cubicBezTo>
                    <a:pt x="147" y="27"/>
                    <a:pt x="147" y="27"/>
                    <a:pt x="147" y="27"/>
                  </a:cubicBezTo>
                  <a:cubicBezTo>
                    <a:pt x="148" y="27"/>
                    <a:pt x="148" y="27"/>
                    <a:pt x="148" y="27"/>
                  </a:cubicBezTo>
                  <a:cubicBezTo>
                    <a:pt x="148" y="27"/>
                    <a:pt x="148" y="27"/>
                    <a:pt x="148" y="27"/>
                  </a:cubicBezTo>
                  <a:cubicBezTo>
                    <a:pt x="149" y="27"/>
                    <a:pt x="149" y="27"/>
                    <a:pt x="149" y="27"/>
                  </a:cubicBezTo>
                  <a:lnTo>
                    <a:pt x="148" y="26"/>
                  </a:lnTo>
                  <a:close/>
                  <a:moveTo>
                    <a:pt x="141" y="46"/>
                  </a:moveTo>
                  <a:cubicBezTo>
                    <a:pt x="141" y="45"/>
                    <a:pt x="141" y="45"/>
                    <a:pt x="141" y="45"/>
                  </a:cubicBezTo>
                  <a:cubicBezTo>
                    <a:pt x="141" y="44"/>
                    <a:pt x="141" y="44"/>
                    <a:pt x="141" y="44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40" y="44"/>
                    <a:pt x="140" y="44"/>
                    <a:pt x="140" y="44"/>
                  </a:cubicBezTo>
                  <a:cubicBezTo>
                    <a:pt x="139" y="44"/>
                    <a:pt x="139" y="44"/>
                    <a:pt x="139" y="44"/>
                  </a:cubicBezTo>
                  <a:cubicBezTo>
                    <a:pt x="138" y="43"/>
                    <a:pt x="138" y="43"/>
                    <a:pt x="138" y="43"/>
                  </a:cubicBezTo>
                  <a:cubicBezTo>
                    <a:pt x="136" y="43"/>
                    <a:pt x="136" y="43"/>
                    <a:pt x="136" y="43"/>
                  </a:cubicBezTo>
                  <a:cubicBezTo>
                    <a:pt x="135" y="44"/>
                    <a:pt x="135" y="44"/>
                    <a:pt x="135" y="44"/>
                  </a:cubicBezTo>
                  <a:cubicBezTo>
                    <a:pt x="134" y="45"/>
                    <a:pt x="134" y="45"/>
                    <a:pt x="134" y="45"/>
                  </a:cubicBezTo>
                  <a:cubicBezTo>
                    <a:pt x="134" y="46"/>
                    <a:pt x="134" y="46"/>
                    <a:pt x="134" y="46"/>
                  </a:cubicBezTo>
                  <a:cubicBezTo>
                    <a:pt x="135" y="47"/>
                    <a:pt x="135" y="47"/>
                    <a:pt x="135" y="47"/>
                  </a:cubicBezTo>
                  <a:cubicBezTo>
                    <a:pt x="135" y="48"/>
                    <a:pt x="135" y="48"/>
                    <a:pt x="135" y="48"/>
                  </a:cubicBezTo>
                  <a:cubicBezTo>
                    <a:pt x="136" y="49"/>
                    <a:pt x="136" y="49"/>
                    <a:pt x="136" y="49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9" y="51"/>
                    <a:pt x="139" y="51"/>
                    <a:pt x="139" y="51"/>
                  </a:cubicBezTo>
                  <a:cubicBezTo>
                    <a:pt x="139" y="52"/>
                    <a:pt x="139" y="52"/>
                    <a:pt x="139" y="52"/>
                  </a:cubicBezTo>
                  <a:cubicBezTo>
                    <a:pt x="139" y="52"/>
                    <a:pt x="139" y="52"/>
                    <a:pt x="139" y="52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40" y="51"/>
                    <a:pt x="140" y="51"/>
                    <a:pt x="140" y="51"/>
                  </a:cubicBezTo>
                  <a:cubicBezTo>
                    <a:pt x="140" y="48"/>
                    <a:pt x="140" y="48"/>
                    <a:pt x="140" y="48"/>
                  </a:cubicBezTo>
                  <a:cubicBezTo>
                    <a:pt x="141" y="47"/>
                    <a:pt x="141" y="47"/>
                    <a:pt x="141" y="47"/>
                  </a:cubicBezTo>
                  <a:lnTo>
                    <a:pt x="141" y="46"/>
                  </a:lnTo>
                  <a:close/>
                  <a:moveTo>
                    <a:pt x="155" y="88"/>
                  </a:moveTo>
                  <a:cubicBezTo>
                    <a:pt x="155" y="88"/>
                    <a:pt x="155" y="88"/>
                    <a:pt x="155" y="88"/>
                  </a:cubicBezTo>
                  <a:cubicBezTo>
                    <a:pt x="155" y="87"/>
                    <a:pt x="155" y="87"/>
                    <a:pt x="155" y="87"/>
                  </a:cubicBezTo>
                  <a:cubicBezTo>
                    <a:pt x="154" y="87"/>
                    <a:pt x="154" y="87"/>
                    <a:pt x="154" y="87"/>
                  </a:cubicBezTo>
                  <a:cubicBezTo>
                    <a:pt x="150" y="83"/>
                    <a:pt x="150" y="83"/>
                    <a:pt x="150" y="83"/>
                  </a:cubicBezTo>
                  <a:cubicBezTo>
                    <a:pt x="149" y="82"/>
                    <a:pt x="149" y="82"/>
                    <a:pt x="149" y="82"/>
                  </a:cubicBezTo>
                  <a:cubicBezTo>
                    <a:pt x="147" y="81"/>
                    <a:pt x="147" y="81"/>
                    <a:pt x="147" y="81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47" y="80"/>
                    <a:pt x="147" y="80"/>
                    <a:pt x="147" y="80"/>
                  </a:cubicBezTo>
                  <a:cubicBezTo>
                    <a:pt x="146" y="79"/>
                    <a:pt x="146" y="79"/>
                    <a:pt x="146" y="79"/>
                  </a:cubicBezTo>
                  <a:cubicBezTo>
                    <a:pt x="146" y="76"/>
                    <a:pt x="146" y="76"/>
                    <a:pt x="146" y="76"/>
                  </a:cubicBezTo>
                  <a:cubicBezTo>
                    <a:pt x="146" y="75"/>
                    <a:pt x="146" y="75"/>
                    <a:pt x="146" y="75"/>
                  </a:cubicBezTo>
                  <a:cubicBezTo>
                    <a:pt x="146" y="74"/>
                    <a:pt x="146" y="74"/>
                    <a:pt x="146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4" y="73"/>
                    <a:pt x="144" y="73"/>
                    <a:pt x="144" y="73"/>
                  </a:cubicBezTo>
                  <a:cubicBezTo>
                    <a:pt x="142" y="72"/>
                    <a:pt x="142" y="72"/>
                    <a:pt x="142" y="72"/>
                  </a:cubicBezTo>
                  <a:cubicBezTo>
                    <a:pt x="140" y="72"/>
                    <a:pt x="140" y="72"/>
                    <a:pt x="140" y="72"/>
                  </a:cubicBezTo>
                  <a:cubicBezTo>
                    <a:pt x="139" y="72"/>
                    <a:pt x="139" y="72"/>
                    <a:pt x="139" y="72"/>
                  </a:cubicBezTo>
                  <a:cubicBezTo>
                    <a:pt x="138" y="71"/>
                    <a:pt x="138" y="71"/>
                    <a:pt x="138" y="71"/>
                  </a:cubicBezTo>
                  <a:cubicBezTo>
                    <a:pt x="139" y="71"/>
                    <a:pt x="139" y="71"/>
                    <a:pt x="139" y="71"/>
                  </a:cubicBezTo>
                  <a:cubicBezTo>
                    <a:pt x="140" y="69"/>
                    <a:pt x="140" y="69"/>
                    <a:pt x="140" y="69"/>
                  </a:cubicBezTo>
                  <a:cubicBezTo>
                    <a:pt x="141" y="69"/>
                    <a:pt x="141" y="69"/>
                    <a:pt x="141" y="69"/>
                  </a:cubicBezTo>
                  <a:cubicBezTo>
                    <a:pt x="142" y="69"/>
                    <a:pt x="142" y="69"/>
                    <a:pt x="142" y="69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43" y="68"/>
                    <a:pt x="143" y="68"/>
                    <a:pt x="143" y="68"/>
                  </a:cubicBezTo>
                  <a:cubicBezTo>
                    <a:pt x="139" y="67"/>
                    <a:pt x="139" y="67"/>
                    <a:pt x="139" y="67"/>
                  </a:cubicBezTo>
                  <a:cubicBezTo>
                    <a:pt x="136" y="67"/>
                    <a:pt x="136" y="67"/>
                    <a:pt x="136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35" y="67"/>
                    <a:pt x="135" y="67"/>
                    <a:pt x="135" y="67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6"/>
                    <a:pt x="139" y="66"/>
                    <a:pt x="139" y="66"/>
                  </a:cubicBezTo>
                  <a:cubicBezTo>
                    <a:pt x="140" y="65"/>
                    <a:pt x="140" y="65"/>
                    <a:pt x="140" y="65"/>
                  </a:cubicBezTo>
                  <a:cubicBezTo>
                    <a:pt x="141" y="65"/>
                    <a:pt x="141" y="65"/>
                    <a:pt x="141" y="65"/>
                  </a:cubicBezTo>
                  <a:cubicBezTo>
                    <a:pt x="141" y="65"/>
                    <a:pt x="141" y="65"/>
                    <a:pt x="141" y="65"/>
                  </a:cubicBezTo>
                  <a:cubicBezTo>
                    <a:pt x="141" y="64"/>
                    <a:pt x="141" y="64"/>
                    <a:pt x="141" y="64"/>
                  </a:cubicBezTo>
                  <a:cubicBezTo>
                    <a:pt x="141" y="64"/>
                    <a:pt x="141" y="64"/>
                    <a:pt x="141" y="64"/>
                  </a:cubicBezTo>
                  <a:cubicBezTo>
                    <a:pt x="141" y="64"/>
                    <a:pt x="141" y="64"/>
                    <a:pt x="141" y="64"/>
                  </a:cubicBezTo>
                  <a:cubicBezTo>
                    <a:pt x="141" y="64"/>
                    <a:pt x="141" y="64"/>
                    <a:pt x="141" y="64"/>
                  </a:cubicBezTo>
                  <a:cubicBezTo>
                    <a:pt x="141" y="64"/>
                    <a:pt x="141" y="64"/>
                    <a:pt x="141" y="64"/>
                  </a:cubicBezTo>
                  <a:cubicBezTo>
                    <a:pt x="141" y="64"/>
                    <a:pt x="141" y="64"/>
                    <a:pt x="141" y="64"/>
                  </a:cubicBezTo>
                  <a:cubicBezTo>
                    <a:pt x="140" y="63"/>
                    <a:pt x="140" y="63"/>
                    <a:pt x="140" y="63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8" y="64"/>
                    <a:pt x="138" y="64"/>
                    <a:pt x="138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7" y="62"/>
                    <a:pt x="137" y="62"/>
                    <a:pt x="137" y="62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9" y="61"/>
                    <a:pt x="139" y="61"/>
                    <a:pt x="139" y="61"/>
                  </a:cubicBezTo>
                  <a:cubicBezTo>
                    <a:pt x="139" y="61"/>
                    <a:pt x="139" y="61"/>
                    <a:pt x="139" y="61"/>
                  </a:cubicBezTo>
                  <a:cubicBezTo>
                    <a:pt x="139" y="60"/>
                    <a:pt x="139" y="60"/>
                    <a:pt x="139" y="60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59"/>
                    <a:pt x="138" y="59"/>
                    <a:pt x="138" y="59"/>
                  </a:cubicBezTo>
                  <a:cubicBezTo>
                    <a:pt x="138" y="59"/>
                    <a:pt x="138" y="59"/>
                    <a:pt x="138" y="59"/>
                  </a:cubicBezTo>
                  <a:cubicBezTo>
                    <a:pt x="137" y="59"/>
                    <a:pt x="137" y="59"/>
                    <a:pt x="137" y="59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4" y="59"/>
                    <a:pt x="134" y="59"/>
                    <a:pt x="134" y="59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8"/>
                    <a:pt x="131" y="58"/>
                    <a:pt x="131" y="58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6"/>
                    <a:pt x="131" y="56"/>
                    <a:pt x="131" y="56"/>
                  </a:cubicBezTo>
                  <a:cubicBezTo>
                    <a:pt x="131" y="55"/>
                    <a:pt x="131" y="55"/>
                    <a:pt x="131" y="55"/>
                  </a:cubicBezTo>
                  <a:cubicBezTo>
                    <a:pt x="130" y="55"/>
                    <a:pt x="130" y="55"/>
                    <a:pt x="130" y="55"/>
                  </a:cubicBezTo>
                  <a:cubicBezTo>
                    <a:pt x="128" y="55"/>
                    <a:pt x="128" y="55"/>
                    <a:pt x="128" y="55"/>
                  </a:cubicBezTo>
                  <a:cubicBezTo>
                    <a:pt x="127" y="55"/>
                    <a:pt x="127" y="55"/>
                    <a:pt x="127" y="55"/>
                  </a:cubicBezTo>
                  <a:cubicBezTo>
                    <a:pt x="126" y="55"/>
                    <a:pt x="126" y="55"/>
                    <a:pt x="126" y="55"/>
                  </a:cubicBezTo>
                  <a:cubicBezTo>
                    <a:pt x="123" y="53"/>
                    <a:pt x="123" y="53"/>
                    <a:pt x="123" y="53"/>
                  </a:cubicBezTo>
                  <a:cubicBezTo>
                    <a:pt x="122" y="53"/>
                    <a:pt x="122" y="53"/>
                    <a:pt x="122" y="53"/>
                  </a:cubicBezTo>
                  <a:cubicBezTo>
                    <a:pt x="122" y="52"/>
                    <a:pt x="122" y="52"/>
                    <a:pt x="122" y="52"/>
                  </a:cubicBezTo>
                  <a:cubicBezTo>
                    <a:pt x="122" y="52"/>
                    <a:pt x="122" y="52"/>
                    <a:pt x="122" y="52"/>
                  </a:cubicBezTo>
                  <a:cubicBezTo>
                    <a:pt x="122" y="52"/>
                    <a:pt x="122" y="52"/>
                    <a:pt x="122" y="52"/>
                  </a:cubicBezTo>
                  <a:cubicBezTo>
                    <a:pt x="122" y="51"/>
                    <a:pt x="122" y="51"/>
                    <a:pt x="122" y="51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23" y="51"/>
                    <a:pt x="123" y="51"/>
                    <a:pt x="123" y="51"/>
                  </a:cubicBezTo>
                  <a:cubicBezTo>
                    <a:pt x="124" y="52"/>
                    <a:pt x="124" y="52"/>
                    <a:pt x="124" y="52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5" y="53"/>
                    <a:pt x="125" y="53"/>
                    <a:pt x="125" y="53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7" y="52"/>
                    <a:pt x="127" y="52"/>
                    <a:pt x="127" y="52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7" y="49"/>
                    <a:pt x="127" y="49"/>
                    <a:pt x="127" y="49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0" y="46"/>
                    <a:pt x="130" y="46"/>
                    <a:pt x="130" y="46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29" y="43"/>
                    <a:pt x="129" y="43"/>
                    <a:pt x="129" y="43"/>
                  </a:cubicBezTo>
                  <a:cubicBezTo>
                    <a:pt x="128" y="43"/>
                    <a:pt x="128" y="43"/>
                    <a:pt x="128" y="43"/>
                  </a:cubicBezTo>
                  <a:cubicBezTo>
                    <a:pt x="127" y="43"/>
                    <a:pt x="127" y="43"/>
                    <a:pt x="127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4"/>
                    <a:pt x="134" y="34"/>
                    <a:pt x="134" y="34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2" y="31"/>
                    <a:pt x="132" y="31"/>
                    <a:pt x="132" y="31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2" y="28"/>
                    <a:pt x="132" y="28"/>
                    <a:pt x="132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3" y="30"/>
                    <a:pt x="133" y="30"/>
                    <a:pt x="133" y="30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8" y="35"/>
                    <a:pt x="138" y="35"/>
                    <a:pt x="138" y="35"/>
                  </a:cubicBezTo>
                  <a:cubicBezTo>
                    <a:pt x="139" y="35"/>
                    <a:pt x="139" y="35"/>
                    <a:pt x="139" y="35"/>
                  </a:cubicBezTo>
                  <a:cubicBezTo>
                    <a:pt x="144" y="35"/>
                    <a:pt x="144" y="35"/>
                    <a:pt x="144" y="35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3"/>
                    <a:pt x="145" y="33"/>
                    <a:pt x="145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7" y="30"/>
                    <a:pt x="147" y="30"/>
                    <a:pt x="147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3" y="29"/>
                    <a:pt x="143" y="29"/>
                    <a:pt x="143" y="29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6" y="28"/>
                    <a:pt x="146" y="28"/>
                    <a:pt x="146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7"/>
                    <a:pt x="145" y="27"/>
                    <a:pt x="145" y="27"/>
                  </a:cubicBezTo>
                  <a:cubicBezTo>
                    <a:pt x="143" y="25"/>
                    <a:pt x="143" y="25"/>
                    <a:pt x="143" y="25"/>
                  </a:cubicBezTo>
                  <a:cubicBezTo>
                    <a:pt x="143" y="24"/>
                    <a:pt x="143" y="24"/>
                    <a:pt x="143" y="24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3"/>
                    <a:pt x="141" y="23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37" y="23"/>
                    <a:pt x="137" y="23"/>
                    <a:pt x="137" y="23"/>
                  </a:cubicBezTo>
                  <a:cubicBezTo>
                    <a:pt x="136" y="22"/>
                    <a:pt x="136" y="22"/>
                    <a:pt x="136" y="22"/>
                  </a:cubicBezTo>
                  <a:cubicBezTo>
                    <a:pt x="135" y="21"/>
                    <a:pt x="135" y="21"/>
                    <a:pt x="135" y="21"/>
                  </a:cubicBezTo>
                  <a:cubicBezTo>
                    <a:pt x="134" y="21"/>
                    <a:pt x="134" y="21"/>
                    <a:pt x="134" y="21"/>
                  </a:cubicBezTo>
                  <a:cubicBezTo>
                    <a:pt x="134" y="21"/>
                    <a:pt x="134" y="21"/>
                    <a:pt x="134" y="21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7" y="22"/>
                    <a:pt x="137" y="22"/>
                    <a:pt x="137" y="22"/>
                  </a:cubicBezTo>
                  <a:cubicBezTo>
                    <a:pt x="138" y="23"/>
                    <a:pt x="138" y="23"/>
                    <a:pt x="138" y="23"/>
                  </a:cubicBezTo>
                  <a:cubicBezTo>
                    <a:pt x="139" y="23"/>
                    <a:pt x="139" y="23"/>
                    <a:pt x="139" y="23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2"/>
                    <a:pt x="141" y="22"/>
                    <a:pt x="141" y="22"/>
                  </a:cubicBezTo>
                  <a:cubicBezTo>
                    <a:pt x="141" y="21"/>
                    <a:pt x="141" y="21"/>
                    <a:pt x="141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39" y="20"/>
                    <a:pt x="139" y="20"/>
                    <a:pt x="139" y="20"/>
                  </a:cubicBezTo>
                  <a:cubicBezTo>
                    <a:pt x="138" y="20"/>
                    <a:pt x="138" y="20"/>
                    <a:pt x="138" y="20"/>
                  </a:cubicBezTo>
                  <a:cubicBezTo>
                    <a:pt x="134" y="16"/>
                    <a:pt x="134" y="16"/>
                    <a:pt x="134" y="16"/>
                  </a:cubicBezTo>
                  <a:cubicBezTo>
                    <a:pt x="133" y="15"/>
                    <a:pt x="133" y="15"/>
                    <a:pt x="133" y="15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2" y="16"/>
                    <a:pt x="132" y="16"/>
                    <a:pt x="132" y="16"/>
                  </a:cubicBezTo>
                  <a:cubicBezTo>
                    <a:pt x="131" y="16"/>
                    <a:pt x="131" y="16"/>
                    <a:pt x="131" y="16"/>
                  </a:cubicBezTo>
                  <a:cubicBezTo>
                    <a:pt x="131" y="16"/>
                    <a:pt x="131" y="16"/>
                    <a:pt x="131" y="16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1" y="15"/>
                    <a:pt x="131" y="15"/>
                    <a:pt x="131" y="15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1" y="14"/>
                    <a:pt x="131" y="14"/>
                    <a:pt x="131" y="14"/>
                  </a:cubicBezTo>
                  <a:cubicBezTo>
                    <a:pt x="130" y="14"/>
                    <a:pt x="130" y="14"/>
                    <a:pt x="130" y="14"/>
                  </a:cubicBezTo>
                  <a:cubicBezTo>
                    <a:pt x="129" y="14"/>
                    <a:pt x="129" y="14"/>
                    <a:pt x="129" y="14"/>
                  </a:cubicBezTo>
                  <a:cubicBezTo>
                    <a:pt x="128" y="14"/>
                    <a:pt x="128" y="14"/>
                    <a:pt x="128" y="14"/>
                  </a:cubicBezTo>
                  <a:cubicBezTo>
                    <a:pt x="128" y="13"/>
                    <a:pt x="128" y="13"/>
                    <a:pt x="128" y="13"/>
                  </a:cubicBezTo>
                  <a:cubicBezTo>
                    <a:pt x="128" y="13"/>
                    <a:pt x="128" y="13"/>
                    <a:pt x="128" y="13"/>
                  </a:cubicBezTo>
                  <a:cubicBezTo>
                    <a:pt x="128" y="13"/>
                    <a:pt x="128" y="13"/>
                    <a:pt x="128" y="13"/>
                  </a:cubicBezTo>
                  <a:cubicBezTo>
                    <a:pt x="128" y="13"/>
                    <a:pt x="128" y="13"/>
                    <a:pt x="128" y="13"/>
                  </a:cubicBezTo>
                  <a:cubicBezTo>
                    <a:pt x="129" y="12"/>
                    <a:pt x="129" y="12"/>
                    <a:pt x="129" y="12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27" y="11"/>
                    <a:pt x="127" y="11"/>
                    <a:pt x="127" y="11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3" y="13"/>
                    <a:pt x="133" y="13"/>
                    <a:pt x="133" y="13"/>
                  </a:cubicBezTo>
                  <a:cubicBezTo>
                    <a:pt x="134" y="13"/>
                    <a:pt x="134" y="13"/>
                    <a:pt x="134" y="13"/>
                  </a:cubicBezTo>
                  <a:cubicBezTo>
                    <a:pt x="135" y="11"/>
                    <a:pt x="135" y="11"/>
                    <a:pt x="135" y="11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6" y="11"/>
                    <a:pt x="136" y="11"/>
                    <a:pt x="136" y="11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5" y="10"/>
                    <a:pt x="135" y="10"/>
                    <a:pt x="135" y="10"/>
                  </a:cubicBezTo>
                  <a:cubicBezTo>
                    <a:pt x="133" y="10"/>
                    <a:pt x="133" y="10"/>
                    <a:pt x="133" y="10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0" y="10"/>
                    <a:pt x="130" y="10"/>
                    <a:pt x="130" y="10"/>
                  </a:cubicBezTo>
                  <a:cubicBezTo>
                    <a:pt x="129" y="9"/>
                    <a:pt x="129" y="9"/>
                    <a:pt x="129" y="9"/>
                  </a:cubicBezTo>
                  <a:cubicBezTo>
                    <a:pt x="126" y="6"/>
                    <a:pt x="126" y="6"/>
                    <a:pt x="126" y="6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20" y="2"/>
                    <a:pt x="120" y="2"/>
                    <a:pt x="120" y="2"/>
                  </a:cubicBezTo>
                  <a:cubicBezTo>
                    <a:pt x="119" y="2"/>
                    <a:pt x="119" y="2"/>
                    <a:pt x="119" y="2"/>
                  </a:cubicBezTo>
                  <a:cubicBezTo>
                    <a:pt x="119" y="2"/>
                    <a:pt x="119" y="2"/>
                    <a:pt x="119" y="2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07" y="2"/>
                    <a:pt x="107" y="2"/>
                    <a:pt x="107" y="2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1" y="3"/>
                    <a:pt x="101" y="3"/>
                    <a:pt x="101" y="3"/>
                  </a:cubicBezTo>
                  <a:cubicBezTo>
                    <a:pt x="100" y="3"/>
                    <a:pt x="100" y="3"/>
                    <a:pt x="100" y="3"/>
                  </a:cubicBezTo>
                  <a:cubicBezTo>
                    <a:pt x="98" y="1"/>
                    <a:pt x="98" y="1"/>
                    <a:pt x="98" y="1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6" y="3"/>
                    <a:pt x="96" y="3"/>
                    <a:pt x="96" y="3"/>
                  </a:cubicBezTo>
                  <a:cubicBezTo>
                    <a:pt x="95" y="3"/>
                    <a:pt x="95" y="3"/>
                    <a:pt x="95" y="3"/>
                  </a:cubicBezTo>
                  <a:cubicBezTo>
                    <a:pt x="94" y="3"/>
                    <a:pt x="94" y="3"/>
                    <a:pt x="94" y="3"/>
                  </a:cubicBezTo>
                  <a:cubicBezTo>
                    <a:pt x="93" y="2"/>
                    <a:pt x="93" y="2"/>
                    <a:pt x="93" y="2"/>
                  </a:cubicBezTo>
                  <a:cubicBezTo>
                    <a:pt x="92" y="3"/>
                    <a:pt x="92" y="3"/>
                    <a:pt x="92" y="3"/>
                  </a:cubicBezTo>
                  <a:cubicBezTo>
                    <a:pt x="91" y="3"/>
                    <a:pt x="91" y="3"/>
                    <a:pt x="91" y="3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7" y="1"/>
                    <a:pt x="87" y="1"/>
                    <a:pt x="87" y="1"/>
                  </a:cubicBezTo>
                  <a:cubicBezTo>
                    <a:pt x="87" y="2"/>
                    <a:pt x="87" y="2"/>
                    <a:pt x="87" y="2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7" y="4"/>
                    <a:pt x="87" y="4"/>
                    <a:pt x="87" y="4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6" y="4"/>
                    <a:pt x="86" y="4"/>
                    <a:pt x="86" y="4"/>
                  </a:cubicBezTo>
                  <a:cubicBezTo>
                    <a:pt x="85" y="4"/>
                    <a:pt x="85" y="4"/>
                    <a:pt x="85" y="4"/>
                  </a:cubicBezTo>
                  <a:cubicBezTo>
                    <a:pt x="84" y="5"/>
                    <a:pt x="84" y="5"/>
                    <a:pt x="84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3" y="5"/>
                    <a:pt x="83" y="5"/>
                    <a:pt x="83" y="5"/>
                  </a:cubicBezTo>
                  <a:cubicBezTo>
                    <a:pt x="81" y="3"/>
                    <a:pt x="81" y="3"/>
                    <a:pt x="81" y="3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1" y="2"/>
                    <a:pt x="81" y="2"/>
                    <a:pt x="81" y="2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78" y="1"/>
                    <a:pt x="78" y="1"/>
                    <a:pt x="78" y="1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2" y="1"/>
                    <a:pt x="72" y="1"/>
                    <a:pt x="72" y="1"/>
                  </a:cubicBezTo>
                  <a:cubicBezTo>
                    <a:pt x="71" y="1"/>
                    <a:pt x="71" y="1"/>
                    <a:pt x="71" y="1"/>
                  </a:cubicBezTo>
                  <a:cubicBezTo>
                    <a:pt x="70" y="1"/>
                    <a:pt x="70" y="1"/>
                    <a:pt x="70" y="1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70" y="2"/>
                    <a:pt x="70" y="2"/>
                    <a:pt x="70" y="2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9" y="3"/>
                    <a:pt x="69" y="3"/>
                    <a:pt x="69" y="3"/>
                  </a:cubicBezTo>
                  <a:cubicBezTo>
                    <a:pt x="66" y="5"/>
                    <a:pt x="66" y="5"/>
                    <a:pt x="66" y="5"/>
                  </a:cubicBezTo>
                  <a:cubicBezTo>
                    <a:pt x="66" y="6"/>
                    <a:pt x="66" y="6"/>
                    <a:pt x="66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0" y="2"/>
                    <a:pt x="60" y="2"/>
                    <a:pt x="60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7" y="1"/>
                    <a:pt x="57" y="1"/>
                    <a:pt x="57" y="1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7" y="4"/>
                    <a:pt x="57" y="4"/>
                    <a:pt x="57" y="4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8"/>
                    <a:pt x="55" y="8"/>
                    <a:pt x="55" y="8"/>
                  </a:cubicBezTo>
                  <a:cubicBezTo>
                    <a:pt x="54" y="8"/>
                    <a:pt x="54" y="8"/>
                    <a:pt x="54" y="8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3" y="7"/>
                    <a:pt x="53" y="7"/>
                    <a:pt x="53" y="7"/>
                  </a:cubicBezTo>
                  <a:cubicBezTo>
                    <a:pt x="51" y="9"/>
                    <a:pt x="51" y="9"/>
                    <a:pt x="51" y="9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2"/>
                    <a:pt x="46" y="42"/>
                    <a:pt x="46" y="42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5"/>
                    <a:pt x="41" y="55"/>
                    <a:pt x="41" y="55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3" y="56"/>
                    <a:pt x="43" y="56"/>
                    <a:pt x="43" y="56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1" y="61"/>
                    <a:pt x="31" y="61"/>
                    <a:pt x="31" y="61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3" y="71"/>
                    <a:pt x="23" y="71"/>
                    <a:pt x="23" y="71"/>
                  </a:cubicBezTo>
                  <a:cubicBezTo>
                    <a:pt x="23" y="71"/>
                    <a:pt x="23" y="71"/>
                    <a:pt x="23" y="71"/>
                  </a:cubicBezTo>
                  <a:cubicBezTo>
                    <a:pt x="23" y="71"/>
                    <a:pt x="23" y="71"/>
                    <a:pt x="23" y="71"/>
                  </a:cubicBezTo>
                  <a:cubicBezTo>
                    <a:pt x="23" y="72"/>
                    <a:pt x="23" y="72"/>
                    <a:pt x="23" y="72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76"/>
                    <a:pt x="22" y="76"/>
                    <a:pt x="22" y="76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28" y="84"/>
                    <a:pt x="28" y="84"/>
                    <a:pt x="28" y="84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29" y="85"/>
                    <a:pt x="29" y="85"/>
                    <a:pt x="29" y="85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28" y="86"/>
                    <a:pt x="28" y="86"/>
                    <a:pt x="28" y="86"/>
                  </a:cubicBezTo>
                  <a:cubicBezTo>
                    <a:pt x="26" y="86"/>
                    <a:pt x="26" y="86"/>
                    <a:pt x="26" y="86"/>
                  </a:cubicBezTo>
                  <a:cubicBezTo>
                    <a:pt x="25" y="87"/>
                    <a:pt x="25" y="87"/>
                    <a:pt x="25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4" y="87"/>
                    <a:pt x="24" y="87"/>
                    <a:pt x="24" y="87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19" y="92"/>
                    <a:pt x="19" y="92"/>
                    <a:pt x="19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9" y="99"/>
                    <a:pt x="9" y="99"/>
                    <a:pt x="9" y="99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9" y="103"/>
                    <a:pt x="9" y="103"/>
                    <a:pt x="9" y="103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1" y="107"/>
                    <a:pt x="11" y="107"/>
                    <a:pt x="11" y="107"/>
                  </a:cubicBezTo>
                  <a:cubicBezTo>
                    <a:pt x="12" y="106"/>
                    <a:pt x="12" y="106"/>
                    <a:pt x="12" y="106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3" y="107"/>
                    <a:pt x="13" y="107"/>
                    <a:pt x="13" y="107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7" y="114"/>
                    <a:pt x="7" y="114"/>
                    <a:pt x="7" y="114"/>
                  </a:cubicBezTo>
                  <a:cubicBezTo>
                    <a:pt x="7" y="114"/>
                    <a:pt x="7" y="114"/>
                    <a:pt x="7" y="114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6" y="115"/>
                    <a:pt x="6" y="115"/>
                    <a:pt x="6" y="115"/>
                  </a:cubicBezTo>
                  <a:cubicBezTo>
                    <a:pt x="5" y="115"/>
                    <a:pt x="5" y="115"/>
                    <a:pt x="5" y="115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ubicBezTo>
                    <a:pt x="5" y="119"/>
                    <a:pt x="5" y="119"/>
                    <a:pt x="5" y="119"/>
                  </a:cubicBezTo>
                  <a:cubicBezTo>
                    <a:pt x="5" y="122"/>
                    <a:pt x="5" y="122"/>
                    <a:pt x="5" y="122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3" y="126"/>
                    <a:pt x="3" y="126"/>
                    <a:pt x="3" y="126"/>
                  </a:cubicBezTo>
                  <a:cubicBezTo>
                    <a:pt x="3" y="127"/>
                    <a:pt x="3" y="127"/>
                    <a:pt x="3" y="127"/>
                  </a:cubicBezTo>
                  <a:cubicBezTo>
                    <a:pt x="1" y="128"/>
                    <a:pt x="1" y="128"/>
                    <a:pt x="1" y="128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2" y="138"/>
                    <a:pt x="2" y="138"/>
                    <a:pt x="2" y="138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40"/>
                    <a:pt x="7" y="140"/>
                    <a:pt x="7" y="140"/>
                  </a:cubicBezTo>
                  <a:cubicBezTo>
                    <a:pt x="7" y="142"/>
                    <a:pt x="7" y="142"/>
                    <a:pt x="7" y="142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8" y="145"/>
                    <a:pt x="18" y="145"/>
                    <a:pt x="18" y="145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7" y="149"/>
                    <a:pt x="27" y="149"/>
                    <a:pt x="27" y="149"/>
                  </a:cubicBezTo>
                  <a:cubicBezTo>
                    <a:pt x="28" y="152"/>
                    <a:pt x="28" y="152"/>
                    <a:pt x="28" y="152"/>
                  </a:cubicBezTo>
                  <a:cubicBezTo>
                    <a:pt x="28" y="152"/>
                    <a:pt x="32" y="153"/>
                    <a:pt x="34" y="152"/>
                  </a:cubicBezTo>
                  <a:cubicBezTo>
                    <a:pt x="36" y="151"/>
                    <a:pt x="38" y="150"/>
                    <a:pt x="38" y="149"/>
                  </a:cubicBezTo>
                  <a:cubicBezTo>
                    <a:pt x="38" y="148"/>
                    <a:pt x="38" y="145"/>
                    <a:pt x="40" y="144"/>
                  </a:cubicBezTo>
                  <a:cubicBezTo>
                    <a:pt x="42" y="143"/>
                    <a:pt x="49" y="142"/>
                    <a:pt x="49" y="142"/>
                  </a:cubicBezTo>
                  <a:cubicBezTo>
                    <a:pt x="51" y="142"/>
                    <a:pt x="51" y="142"/>
                    <a:pt x="51" y="142"/>
                  </a:cubicBezTo>
                  <a:cubicBezTo>
                    <a:pt x="55" y="138"/>
                    <a:pt x="55" y="138"/>
                    <a:pt x="55" y="138"/>
                  </a:cubicBezTo>
                  <a:cubicBezTo>
                    <a:pt x="58" y="136"/>
                    <a:pt x="58" y="136"/>
                    <a:pt x="58" y="136"/>
                  </a:cubicBezTo>
                  <a:cubicBezTo>
                    <a:pt x="58" y="136"/>
                    <a:pt x="58" y="134"/>
                    <a:pt x="60" y="133"/>
                  </a:cubicBezTo>
                  <a:cubicBezTo>
                    <a:pt x="62" y="133"/>
                    <a:pt x="67" y="129"/>
                    <a:pt x="67" y="129"/>
                  </a:cubicBezTo>
                  <a:cubicBezTo>
                    <a:pt x="67" y="127"/>
                    <a:pt x="67" y="127"/>
                    <a:pt x="67" y="127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71" y="124"/>
                    <a:pt x="71" y="124"/>
                    <a:pt x="71" y="124"/>
                  </a:cubicBezTo>
                  <a:cubicBezTo>
                    <a:pt x="73" y="117"/>
                    <a:pt x="73" y="117"/>
                    <a:pt x="73" y="117"/>
                  </a:cubicBezTo>
                  <a:cubicBezTo>
                    <a:pt x="73" y="117"/>
                    <a:pt x="73" y="113"/>
                    <a:pt x="73" y="112"/>
                  </a:cubicBezTo>
                  <a:cubicBezTo>
                    <a:pt x="73" y="111"/>
                    <a:pt x="75" y="109"/>
                    <a:pt x="75" y="108"/>
                  </a:cubicBezTo>
                  <a:cubicBezTo>
                    <a:pt x="75" y="106"/>
                    <a:pt x="75" y="104"/>
                    <a:pt x="75" y="104"/>
                  </a:cubicBezTo>
                  <a:cubicBezTo>
                    <a:pt x="75" y="104"/>
                    <a:pt x="79" y="104"/>
                    <a:pt x="79" y="103"/>
                  </a:cubicBezTo>
                  <a:cubicBezTo>
                    <a:pt x="80" y="103"/>
                    <a:pt x="81" y="101"/>
                    <a:pt x="81" y="101"/>
                  </a:cubicBezTo>
                  <a:cubicBezTo>
                    <a:pt x="81" y="101"/>
                    <a:pt x="77" y="99"/>
                    <a:pt x="79" y="98"/>
                  </a:cubicBezTo>
                  <a:cubicBezTo>
                    <a:pt x="80" y="97"/>
                    <a:pt x="82" y="96"/>
                    <a:pt x="83" y="96"/>
                  </a:cubicBezTo>
                  <a:cubicBezTo>
                    <a:pt x="84" y="96"/>
                    <a:pt x="86" y="96"/>
                    <a:pt x="86" y="96"/>
                  </a:cubicBezTo>
                  <a:cubicBezTo>
                    <a:pt x="88" y="92"/>
                    <a:pt x="88" y="92"/>
                    <a:pt x="88" y="92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90" y="88"/>
                    <a:pt x="90" y="88"/>
                    <a:pt x="90" y="88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90"/>
                    <a:pt x="94" y="88"/>
                    <a:pt x="95" y="87"/>
                  </a:cubicBezTo>
                  <a:cubicBezTo>
                    <a:pt x="96" y="87"/>
                    <a:pt x="98" y="85"/>
                    <a:pt x="98" y="85"/>
                  </a:cubicBezTo>
                  <a:cubicBezTo>
                    <a:pt x="100" y="91"/>
                    <a:pt x="100" y="91"/>
                    <a:pt x="100" y="91"/>
                  </a:cubicBezTo>
                  <a:cubicBezTo>
                    <a:pt x="100" y="91"/>
                    <a:pt x="103" y="92"/>
                    <a:pt x="103" y="91"/>
                  </a:cubicBezTo>
                  <a:cubicBezTo>
                    <a:pt x="103" y="90"/>
                    <a:pt x="104" y="88"/>
                    <a:pt x="106" y="87"/>
                  </a:cubicBezTo>
                  <a:cubicBezTo>
                    <a:pt x="107" y="86"/>
                    <a:pt x="111" y="85"/>
                    <a:pt x="111" y="85"/>
                  </a:cubicBezTo>
                  <a:cubicBezTo>
                    <a:pt x="114" y="82"/>
                    <a:pt x="114" y="82"/>
                    <a:pt x="114" y="82"/>
                  </a:cubicBezTo>
                  <a:cubicBezTo>
                    <a:pt x="117" y="82"/>
                    <a:pt x="117" y="82"/>
                    <a:pt x="117" y="82"/>
                  </a:cubicBezTo>
                  <a:cubicBezTo>
                    <a:pt x="120" y="83"/>
                    <a:pt x="120" y="83"/>
                    <a:pt x="120" y="83"/>
                  </a:cubicBezTo>
                  <a:cubicBezTo>
                    <a:pt x="123" y="82"/>
                    <a:pt x="123" y="82"/>
                    <a:pt x="123" y="82"/>
                  </a:cubicBezTo>
                  <a:cubicBezTo>
                    <a:pt x="128" y="82"/>
                    <a:pt x="128" y="82"/>
                    <a:pt x="128" y="82"/>
                  </a:cubicBezTo>
                  <a:cubicBezTo>
                    <a:pt x="128" y="82"/>
                    <a:pt x="131" y="84"/>
                    <a:pt x="132" y="85"/>
                  </a:cubicBezTo>
                  <a:cubicBezTo>
                    <a:pt x="134" y="86"/>
                    <a:pt x="136" y="86"/>
                    <a:pt x="136" y="86"/>
                  </a:cubicBezTo>
                  <a:cubicBezTo>
                    <a:pt x="137" y="86"/>
                    <a:pt x="137" y="86"/>
                    <a:pt x="137" y="86"/>
                  </a:cubicBezTo>
                  <a:cubicBezTo>
                    <a:pt x="137" y="86"/>
                    <a:pt x="141" y="88"/>
                    <a:pt x="141" y="90"/>
                  </a:cubicBezTo>
                  <a:cubicBezTo>
                    <a:pt x="142" y="91"/>
                    <a:pt x="143" y="93"/>
                    <a:pt x="143" y="93"/>
                  </a:cubicBezTo>
                  <a:cubicBezTo>
                    <a:pt x="147" y="94"/>
                    <a:pt x="147" y="94"/>
                    <a:pt x="147" y="94"/>
                  </a:cubicBezTo>
                  <a:cubicBezTo>
                    <a:pt x="148" y="92"/>
                    <a:pt x="148" y="92"/>
                    <a:pt x="148" y="92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2" y="91"/>
                    <a:pt x="152" y="91"/>
                    <a:pt x="152" y="91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5" y="88"/>
                    <a:pt x="155" y="88"/>
                    <a:pt x="155" y="88"/>
                  </a:cubicBezTo>
                  <a:cubicBezTo>
                    <a:pt x="155" y="88"/>
                    <a:pt x="155" y="88"/>
                    <a:pt x="155" y="88"/>
                  </a:cubicBezTo>
                  <a:close/>
                  <a:moveTo>
                    <a:pt x="133" y="42"/>
                  </a:move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7" y="41"/>
                    <a:pt x="127" y="41"/>
                    <a:pt x="127" y="41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2" y="43"/>
                    <a:pt x="132" y="43"/>
                    <a:pt x="132" y="43"/>
                  </a:cubicBezTo>
                  <a:lnTo>
                    <a:pt x="133" y="42"/>
                  </a:lnTo>
                  <a:close/>
                  <a:moveTo>
                    <a:pt x="130" y="48"/>
                  </a:moveTo>
                  <a:cubicBezTo>
                    <a:pt x="129" y="49"/>
                    <a:pt x="129" y="49"/>
                    <a:pt x="129" y="49"/>
                  </a:cubicBezTo>
                  <a:cubicBezTo>
                    <a:pt x="129" y="49"/>
                    <a:pt x="129" y="49"/>
                    <a:pt x="129" y="49"/>
                  </a:cubicBezTo>
                  <a:cubicBezTo>
                    <a:pt x="129" y="50"/>
                    <a:pt x="129" y="50"/>
                    <a:pt x="129" y="50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0" y="51"/>
                    <a:pt x="130" y="51"/>
                    <a:pt x="130" y="51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1" y="50"/>
                    <a:pt x="131" y="50"/>
                    <a:pt x="131" y="50"/>
                  </a:cubicBezTo>
                  <a:cubicBezTo>
                    <a:pt x="133" y="50"/>
                    <a:pt x="133" y="50"/>
                    <a:pt x="133" y="50"/>
                  </a:cubicBezTo>
                  <a:cubicBezTo>
                    <a:pt x="133" y="50"/>
                    <a:pt x="133" y="50"/>
                    <a:pt x="133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4" y="49"/>
                    <a:pt x="134" y="49"/>
                    <a:pt x="134" y="49"/>
                  </a:cubicBezTo>
                  <a:cubicBezTo>
                    <a:pt x="134" y="49"/>
                    <a:pt x="134" y="49"/>
                    <a:pt x="134" y="49"/>
                  </a:cubicBezTo>
                  <a:cubicBezTo>
                    <a:pt x="134" y="49"/>
                    <a:pt x="134" y="49"/>
                    <a:pt x="134" y="49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2" y="48"/>
                    <a:pt x="132" y="48"/>
                    <a:pt x="132" y="48"/>
                  </a:cubicBezTo>
                  <a:cubicBezTo>
                    <a:pt x="131" y="48"/>
                    <a:pt x="131" y="48"/>
                    <a:pt x="131" y="48"/>
                  </a:cubicBezTo>
                  <a:cubicBezTo>
                    <a:pt x="130" y="48"/>
                    <a:pt x="130" y="48"/>
                    <a:pt x="130" y="4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23" name="Freeform 115">
              <a:extLst>
                <a:ext uri="{FF2B5EF4-FFF2-40B4-BE49-F238E27FC236}">
                  <a16:creationId xmlns:a16="http://schemas.microsoft.com/office/drawing/2014/main" id="{B944BBAA-180B-402A-AF38-276F866035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7012" y="781461"/>
              <a:ext cx="588169" cy="553640"/>
            </a:xfrm>
            <a:custGeom>
              <a:avLst/>
              <a:gdLst>
                <a:gd name="T0" fmla="*/ 216 w 236"/>
                <a:gd name="T1" fmla="*/ 13 h 221"/>
                <a:gd name="T2" fmla="*/ 235 w 236"/>
                <a:gd name="T3" fmla="*/ 70 h 221"/>
                <a:gd name="T4" fmla="*/ 227 w 236"/>
                <a:gd name="T5" fmla="*/ 65 h 221"/>
                <a:gd name="T6" fmla="*/ 216 w 236"/>
                <a:gd name="T7" fmla="*/ 54 h 221"/>
                <a:gd name="T8" fmla="*/ 208 w 236"/>
                <a:gd name="T9" fmla="*/ 50 h 221"/>
                <a:gd name="T10" fmla="*/ 192 w 236"/>
                <a:gd name="T11" fmla="*/ 37 h 221"/>
                <a:gd name="T12" fmla="*/ 185 w 236"/>
                <a:gd name="T13" fmla="*/ 31 h 221"/>
                <a:gd name="T14" fmla="*/ 182 w 236"/>
                <a:gd name="T15" fmla="*/ 25 h 221"/>
                <a:gd name="T16" fmla="*/ 186 w 236"/>
                <a:gd name="T17" fmla="*/ 22 h 221"/>
                <a:gd name="T18" fmla="*/ 192 w 236"/>
                <a:gd name="T19" fmla="*/ 9 h 221"/>
                <a:gd name="T20" fmla="*/ 171 w 236"/>
                <a:gd name="T21" fmla="*/ 4 h 221"/>
                <a:gd name="T22" fmla="*/ 125 w 236"/>
                <a:gd name="T23" fmla="*/ 6 h 221"/>
                <a:gd name="T24" fmla="*/ 102 w 236"/>
                <a:gd name="T25" fmla="*/ 45 h 221"/>
                <a:gd name="T26" fmla="*/ 49 w 236"/>
                <a:gd name="T27" fmla="*/ 63 h 221"/>
                <a:gd name="T28" fmla="*/ 19 w 236"/>
                <a:gd name="T29" fmla="*/ 51 h 221"/>
                <a:gd name="T30" fmla="*/ 16 w 236"/>
                <a:gd name="T31" fmla="*/ 63 h 221"/>
                <a:gd name="T32" fmla="*/ 4 w 236"/>
                <a:gd name="T33" fmla="*/ 74 h 221"/>
                <a:gd name="T34" fmla="*/ 7 w 236"/>
                <a:gd name="T35" fmla="*/ 79 h 221"/>
                <a:gd name="T36" fmla="*/ 1 w 236"/>
                <a:gd name="T37" fmla="*/ 90 h 221"/>
                <a:gd name="T38" fmla="*/ 18 w 236"/>
                <a:gd name="T39" fmla="*/ 86 h 221"/>
                <a:gd name="T40" fmla="*/ 48 w 236"/>
                <a:gd name="T41" fmla="*/ 84 h 221"/>
                <a:gd name="T42" fmla="*/ 56 w 236"/>
                <a:gd name="T43" fmla="*/ 84 h 221"/>
                <a:gd name="T44" fmla="*/ 58 w 236"/>
                <a:gd name="T45" fmla="*/ 92 h 221"/>
                <a:gd name="T46" fmla="*/ 54 w 236"/>
                <a:gd name="T47" fmla="*/ 107 h 221"/>
                <a:gd name="T48" fmla="*/ 54 w 236"/>
                <a:gd name="T49" fmla="*/ 121 h 221"/>
                <a:gd name="T50" fmla="*/ 60 w 236"/>
                <a:gd name="T51" fmla="*/ 119 h 221"/>
                <a:gd name="T52" fmla="*/ 70 w 236"/>
                <a:gd name="T53" fmla="*/ 117 h 221"/>
                <a:gd name="T54" fmla="*/ 70 w 236"/>
                <a:gd name="T55" fmla="*/ 138 h 221"/>
                <a:gd name="T56" fmla="*/ 79 w 236"/>
                <a:gd name="T57" fmla="*/ 158 h 221"/>
                <a:gd name="T58" fmla="*/ 88 w 236"/>
                <a:gd name="T59" fmla="*/ 164 h 221"/>
                <a:gd name="T60" fmla="*/ 88 w 236"/>
                <a:gd name="T61" fmla="*/ 178 h 221"/>
                <a:gd name="T62" fmla="*/ 84 w 236"/>
                <a:gd name="T63" fmla="*/ 186 h 221"/>
                <a:gd name="T64" fmla="*/ 89 w 236"/>
                <a:gd name="T65" fmla="*/ 206 h 221"/>
                <a:gd name="T66" fmla="*/ 94 w 236"/>
                <a:gd name="T67" fmla="*/ 220 h 221"/>
                <a:gd name="T68" fmla="*/ 107 w 236"/>
                <a:gd name="T69" fmla="*/ 218 h 221"/>
                <a:gd name="T70" fmla="*/ 124 w 236"/>
                <a:gd name="T71" fmla="*/ 213 h 221"/>
                <a:gd name="T72" fmla="*/ 115 w 236"/>
                <a:gd name="T73" fmla="*/ 210 h 221"/>
                <a:gd name="T74" fmla="*/ 118 w 236"/>
                <a:gd name="T75" fmla="*/ 194 h 221"/>
                <a:gd name="T76" fmla="*/ 111 w 236"/>
                <a:gd name="T77" fmla="*/ 196 h 221"/>
                <a:gd name="T78" fmla="*/ 125 w 236"/>
                <a:gd name="T79" fmla="*/ 185 h 221"/>
                <a:gd name="T80" fmla="*/ 136 w 236"/>
                <a:gd name="T81" fmla="*/ 171 h 221"/>
                <a:gd name="T82" fmla="*/ 132 w 236"/>
                <a:gd name="T83" fmla="*/ 166 h 221"/>
                <a:gd name="T84" fmla="*/ 138 w 236"/>
                <a:gd name="T85" fmla="*/ 169 h 221"/>
                <a:gd name="T86" fmla="*/ 148 w 236"/>
                <a:gd name="T87" fmla="*/ 165 h 221"/>
                <a:gd name="T88" fmla="*/ 160 w 236"/>
                <a:gd name="T89" fmla="*/ 156 h 221"/>
                <a:gd name="T90" fmla="*/ 169 w 236"/>
                <a:gd name="T91" fmla="*/ 152 h 221"/>
                <a:gd name="T92" fmla="*/ 169 w 236"/>
                <a:gd name="T93" fmla="*/ 147 h 221"/>
                <a:gd name="T94" fmla="*/ 171 w 236"/>
                <a:gd name="T95" fmla="*/ 143 h 221"/>
                <a:gd name="T96" fmla="*/ 170 w 236"/>
                <a:gd name="T97" fmla="*/ 137 h 221"/>
                <a:gd name="T98" fmla="*/ 166 w 236"/>
                <a:gd name="T99" fmla="*/ 137 h 221"/>
                <a:gd name="T100" fmla="*/ 165 w 236"/>
                <a:gd name="T101" fmla="*/ 126 h 221"/>
                <a:gd name="T102" fmla="*/ 169 w 236"/>
                <a:gd name="T103" fmla="*/ 115 h 221"/>
                <a:gd name="T104" fmla="*/ 166 w 236"/>
                <a:gd name="T105" fmla="*/ 111 h 221"/>
                <a:gd name="T106" fmla="*/ 169 w 236"/>
                <a:gd name="T107" fmla="*/ 105 h 221"/>
                <a:gd name="T108" fmla="*/ 173 w 236"/>
                <a:gd name="T109" fmla="*/ 95 h 221"/>
                <a:gd name="T110" fmla="*/ 182 w 236"/>
                <a:gd name="T111" fmla="*/ 79 h 221"/>
                <a:gd name="T112" fmla="*/ 189 w 236"/>
                <a:gd name="T113" fmla="*/ 80 h 221"/>
                <a:gd name="T114" fmla="*/ 190 w 236"/>
                <a:gd name="T115" fmla="*/ 75 h 221"/>
                <a:gd name="T116" fmla="*/ 187 w 236"/>
                <a:gd name="T117" fmla="*/ 66 h 221"/>
                <a:gd name="T118" fmla="*/ 207 w 236"/>
                <a:gd name="T119" fmla="*/ 79 h 221"/>
                <a:gd name="T120" fmla="*/ 216 w 236"/>
                <a:gd name="T121" fmla="*/ 79 h 221"/>
                <a:gd name="T122" fmla="*/ 228 w 236"/>
                <a:gd name="T123" fmla="*/ 77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6" h="221">
                  <a:moveTo>
                    <a:pt x="216" y="14"/>
                  </a:moveTo>
                  <a:cubicBezTo>
                    <a:pt x="216" y="15"/>
                    <a:pt x="216" y="15"/>
                    <a:pt x="216" y="15"/>
                  </a:cubicBezTo>
                  <a:cubicBezTo>
                    <a:pt x="217" y="16"/>
                    <a:pt x="217" y="16"/>
                    <a:pt x="217" y="16"/>
                  </a:cubicBezTo>
                  <a:cubicBezTo>
                    <a:pt x="218" y="17"/>
                    <a:pt x="218" y="17"/>
                    <a:pt x="218" y="1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0" y="18"/>
                    <a:pt x="220" y="18"/>
                    <a:pt x="220" y="18"/>
                  </a:cubicBezTo>
                  <a:cubicBezTo>
                    <a:pt x="220" y="17"/>
                    <a:pt x="220" y="17"/>
                    <a:pt x="220" y="1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18" y="16"/>
                    <a:pt x="218" y="16"/>
                    <a:pt x="218" y="16"/>
                  </a:cubicBezTo>
                  <a:cubicBezTo>
                    <a:pt x="217" y="15"/>
                    <a:pt x="217" y="15"/>
                    <a:pt x="217" y="15"/>
                  </a:cubicBezTo>
                  <a:cubicBezTo>
                    <a:pt x="217" y="13"/>
                    <a:pt x="217" y="13"/>
                    <a:pt x="217" y="13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7" y="13"/>
                    <a:pt x="217" y="13"/>
                    <a:pt x="217" y="13"/>
                  </a:cubicBezTo>
                  <a:cubicBezTo>
                    <a:pt x="218" y="14"/>
                    <a:pt x="218" y="14"/>
                    <a:pt x="218" y="14"/>
                  </a:cubicBezTo>
                  <a:cubicBezTo>
                    <a:pt x="219" y="14"/>
                    <a:pt x="219" y="14"/>
                    <a:pt x="219" y="14"/>
                  </a:cubicBezTo>
                  <a:cubicBezTo>
                    <a:pt x="219" y="14"/>
                    <a:pt x="219" y="14"/>
                    <a:pt x="219" y="14"/>
                  </a:cubicBezTo>
                  <a:cubicBezTo>
                    <a:pt x="218" y="13"/>
                    <a:pt x="218" y="13"/>
                    <a:pt x="218" y="13"/>
                  </a:cubicBezTo>
                  <a:cubicBezTo>
                    <a:pt x="217" y="12"/>
                    <a:pt x="217" y="12"/>
                    <a:pt x="217" y="12"/>
                  </a:cubicBezTo>
                  <a:cubicBezTo>
                    <a:pt x="216" y="12"/>
                    <a:pt x="216" y="12"/>
                    <a:pt x="216" y="12"/>
                  </a:cubicBezTo>
                  <a:cubicBezTo>
                    <a:pt x="215" y="12"/>
                    <a:pt x="215" y="12"/>
                    <a:pt x="215" y="12"/>
                  </a:cubicBezTo>
                  <a:cubicBezTo>
                    <a:pt x="215" y="13"/>
                    <a:pt x="215" y="13"/>
                    <a:pt x="215" y="13"/>
                  </a:cubicBezTo>
                  <a:lnTo>
                    <a:pt x="216" y="14"/>
                  </a:lnTo>
                  <a:close/>
                  <a:moveTo>
                    <a:pt x="236" y="71"/>
                  </a:moveTo>
                  <a:cubicBezTo>
                    <a:pt x="235" y="71"/>
                    <a:pt x="235" y="71"/>
                    <a:pt x="235" y="71"/>
                  </a:cubicBezTo>
                  <a:cubicBezTo>
                    <a:pt x="235" y="71"/>
                    <a:pt x="235" y="71"/>
                    <a:pt x="235" y="71"/>
                  </a:cubicBezTo>
                  <a:cubicBezTo>
                    <a:pt x="235" y="70"/>
                    <a:pt x="235" y="70"/>
                    <a:pt x="235" y="70"/>
                  </a:cubicBezTo>
                  <a:cubicBezTo>
                    <a:pt x="235" y="70"/>
                    <a:pt x="235" y="70"/>
                    <a:pt x="235" y="70"/>
                  </a:cubicBezTo>
                  <a:cubicBezTo>
                    <a:pt x="235" y="69"/>
                    <a:pt x="235" y="69"/>
                    <a:pt x="235" y="69"/>
                  </a:cubicBezTo>
                  <a:cubicBezTo>
                    <a:pt x="235" y="69"/>
                    <a:pt x="235" y="69"/>
                    <a:pt x="235" y="69"/>
                  </a:cubicBezTo>
                  <a:cubicBezTo>
                    <a:pt x="235" y="68"/>
                    <a:pt x="235" y="68"/>
                    <a:pt x="235" y="68"/>
                  </a:cubicBezTo>
                  <a:cubicBezTo>
                    <a:pt x="235" y="68"/>
                    <a:pt x="235" y="68"/>
                    <a:pt x="235" y="68"/>
                  </a:cubicBezTo>
                  <a:cubicBezTo>
                    <a:pt x="232" y="67"/>
                    <a:pt x="232" y="67"/>
                    <a:pt x="232" y="67"/>
                  </a:cubicBezTo>
                  <a:cubicBezTo>
                    <a:pt x="231" y="67"/>
                    <a:pt x="231" y="67"/>
                    <a:pt x="231" y="67"/>
                  </a:cubicBezTo>
                  <a:cubicBezTo>
                    <a:pt x="231" y="67"/>
                    <a:pt x="231" y="67"/>
                    <a:pt x="231" y="67"/>
                  </a:cubicBezTo>
                  <a:cubicBezTo>
                    <a:pt x="230" y="68"/>
                    <a:pt x="230" y="68"/>
                    <a:pt x="230" y="68"/>
                  </a:cubicBezTo>
                  <a:cubicBezTo>
                    <a:pt x="230" y="68"/>
                    <a:pt x="230" y="68"/>
                    <a:pt x="230" y="68"/>
                  </a:cubicBezTo>
                  <a:cubicBezTo>
                    <a:pt x="230" y="68"/>
                    <a:pt x="230" y="68"/>
                    <a:pt x="230" y="68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7" y="65"/>
                    <a:pt x="227" y="65"/>
                    <a:pt x="227" y="65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6" y="64"/>
                    <a:pt x="226" y="64"/>
                    <a:pt x="226" y="64"/>
                  </a:cubicBezTo>
                  <a:cubicBezTo>
                    <a:pt x="225" y="63"/>
                    <a:pt x="225" y="63"/>
                    <a:pt x="225" y="63"/>
                  </a:cubicBezTo>
                  <a:cubicBezTo>
                    <a:pt x="225" y="63"/>
                    <a:pt x="225" y="63"/>
                    <a:pt x="225" y="63"/>
                  </a:cubicBezTo>
                  <a:cubicBezTo>
                    <a:pt x="225" y="63"/>
                    <a:pt x="225" y="63"/>
                    <a:pt x="225" y="63"/>
                  </a:cubicBezTo>
                  <a:cubicBezTo>
                    <a:pt x="225" y="63"/>
                    <a:pt x="225" y="63"/>
                    <a:pt x="225" y="63"/>
                  </a:cubicBezTo>
                  <a:cubicBezTo>
                    <a:pt x="225" y="62"/>
                    <a:pt x="225" y="62"/>
                    <a:pt x="225" y="62"/>
                  </a:cubicBezTo>
                  <a:cubicBezTo>
                    <a:pt x="225" y="62"/>
                    <a:pt x="225" y="62"/>
                    <a:pt x="225" y="62"/>
                  </a:cubicBezTo>
                  <a:cubicBezTo>
                    <a:pt x="224" y="60"/>
                    <a:pt x="224" y="60"/>
                    <a:pt x="224" y="60"/>
                  </a:cubicBezTo>
                  <a:cubicBezTo>
                    <a:pt x="223" y="59"/>
                    <a:pt x="223" y="59"/>
                    <a:pt x="223" y="59"/>
                  </a:cubicBezTo>
                  <a:cubicBezTo>
                    <a:pt x="222" y="59"/>
                    <a:pt x="222" y="59"/>
                    <a:pt x="222" y="59"/>
                  </a:cubicBezTo>
                  <a:cubicBezTo>
                    <a:pt x="221" y="58"/>
                    <a:pt x="221" y="58"/>
                    <a:pt x="221" y="58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16" y="54"/>
                    <a:pt x="216" y="54"/>
                    <a:pt x="216" y="54"/>
                  </a:cubicBezTo>
                  <a:cubicBezTo>
                    <a:pt x="214" y="54"/>
                    <a:pt x="214" y="54"/>
                    <a:pt x="214" y="54"/>
                  </a:cubicBezTo>
                  <a:cubicBezTo>
                    <a:pt x="214" y="54"/>
                    <a:pt x="214" y="54"/>
                    <a:pt x="214" y="54"/>
                  </a:cubicBezTo>
                  <a:cubicBezTo>
                    <a:pt x="212" y="53"/>
                    <a:pt x="212" y="53"/>
                    <a:pt x="212" y="53"/>
                  </a:cubicBezTo>
                  <a:cubicBezTo>
                    <a:pt x="212" y="53"/>
                    <a:pt x="212" y="53"/>
                    <a:pt x="212" y="53"/>
                  </a:cubicBezTo>
                  <a:cubicBezTo>
                    <a:pt x="211" y="53"/>
                    <a:pt x="211" y="53"/>
                    <a:pt x="211" y="53"/>
                  </a:cubicBezTo>
                  <a:cubicBezTo>
                    <a:pt x="211" y="53"/>
                    <a:pt x="211" y="53"/>
                    <a:pt x="211" y="53"/>
                  </a:cubicBezTo>
                  <a:cubicBezTo>
                    <a:pt x="211" y="53"/>
                    <a:pt x="211" y="53"/>
                    <a:pt x="211" y="53"/>
                  </a:cubicBezTo>
                  <a:cubicBezTo>
                    <a:pt x="210" y="51"/>
                    <a:pt x="210" y="51"/>
                    <a:pt x="210" y="51"/>
                  </a:cubicBezTo>
                  <a:cubicBezTo>
                    <a:pt x="210" y="51"/>
                    <a:pt x="210" y="51"/>
                    <a:pt x="210" y="51"/>
                  </a:cubicBezTo>
                  <a:cubicBezTo>
                    <a:pt x="210" y="51"/>
                    <a:pt x="210" y="51"/>
                    <a:pt x="210" y="51"/>
                  </a:cubicBezTo>
                  <a:cubicBezTo>
                    <a:pt x="209" y="51"/>
                    <a:pt x="209" y="51"/>
                    <a:pt x="209" y="51"/>
                  </a:cubicBezTo>
                  <a:cubicBezTo>
                    <a:pt x="208" y="51"/>
                    <a:pt x="208" y="51"/>
                    <a:pt x="208" y="51"/>
                  </a:cubicBezTo>
                  <a:cubicBezTo>
                    <a:pt x="208" y="50"/>
                    <a:pt x="208" y="50"/>
                    <a:pt x="208" y="50"/>
                  </a:cubicBezTo>
                  <a:cubicBezTo>
                    <a:pt x="208" y="50"/>
                    <a:pt x="208" y="50"/>
                    <a:pt x="208" y="50"/>
                  </a:cubicBezTo>
                  <a:cubicBezTo>
                    <a:pt x="209" y="49"/>
                    <a:pt x="209" y="49"/>
                    <a:pt x="209" y="49"/>
                  </a:cubicBezTo>
                  <a:cubicBezTo>
                    <a:pt x="209" y="49"/>
                    <a:pt x="209" y="49"/>
                    <a:pt x="209" y="49"/>
                  </a:cubicBezTo>
                  <a:cubicBezTo>
                    <a:pt x="209" y="49"/>
                    <a:pt x="209" y="49"/>
                    <a:pt x="209" y="49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07" y="47"/>
                    <a:pt x="207" y="47"/>
                    <a:pt x="207" y="47"/>
                  </a:cubicBezTo>
                  <a:cubicBezTo>
                    <a:pt x="206" y="47"/>
                    <a:pt x="206" y="47"/>
                    <a:pt x="206" y="47"/>
                  </a:cubicBezTo>
                  <a:cubicBezTo>
                    <a:pt x="204" y="46"/>
                    <a:pt x="204" y="46"/>
                    <a:pt x="204" y="46"/>
                  </a:cubicBezTo>
                  <a:cubicBezTo>
                    <a:pt x="202" y="45"/>
                    <a:pt x="202" y="45"/>
                    <a:pt x="202" y="45"/>
                  </a:cubicBezTo>
                  <a:cubicBezTo>
                    <a:pt x="198" y="42"/>
                    <a:pt x="198" y="42"/>
                    <a:pt x="198" y="42"/>
                  </a:cubicBezTo>
                  <a:cubicBezTo>
                    <a:pt x="196" y="41"/>
                    <a:pt x="196" y="41"/>
                    <a:pt x="196" y="41"/>
                  </a:cubicBezTo>
                  <a:cubicBezTo>
                    <a:pt x="193" y="38"/>
                    <a:pt x="193" y="38"/>
                    <a:pt x="193" y="38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2" y="37"/>
                    <a:pt x="192" y="37"/>
                    <a:pt x="192" y="37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6"/>
                    <a:pt x="192" y="36"/>
                    <a:pt x="192" y="36"/>
                  </a:cubicBezTo>
                  <a:cubicBezTo>
                    <a:pt x="192" y="35"/>
                    <a:pt x="192" y="35"/>
                    <a:pt x="192" y="35"/>
                  </a:cubicBezTo>
                  <a:cubicBezTo>
                    <a:pt x="191" y="36"/>
                    <a:pt x="191" y="36"/>
                    <a:pt x="191" y="36"/>
                  </a:cubicBezTo>
                  <a:cubicBezTo>
                    <a:pt x="190" y="35"/>
                    <a:pt x="190" y="35"/>
                    <a:pt x="190" y="35"/>
                  </a:cubicBezTo>
                  <a:cubicBezTo>
                    <a:pt x="189" y="35"/>
                    <a:pt x="189" y="35"/>
                    <a:pt x="189" y="35"/>
                  </a:cubicBezTo>
                  <a:cubicBezTo>
                    <a:pt x="189" y="34"/>
                    <a:pt x="189" y="34"/>
                    <a:pt x="189" y="34"/>
                  </a:cubicBezTo>
                  <a:cubicBezTo>
                    <a:pt x="188" y="34"/>
                    <a:pt x="188" y="34"/>
                    <a:pt x="188" y="34"/>
                  </a:cubicBezTo>
                  <a:cubicBezTo>
                    <a:pt x="187" y="34"/>
                    <a:pt x="187" y="34"/>
                    <a:pt x="187" y="34"/>
                  </a:cubicBezTo>
                  <a:cubicBezTo>
                    <a:pt x="186" y="33"/>
                    <a:pt x="186" y="33"/>
                    <a:pt x="186" y="33"/>
                  </a:cubicBezTo>
                  <a:cubicBezTo>
                    <a:pt x="186" y="32"/>
                    <a:pt x="186" y="32"/>
                    <a:pt x="186" y="32"/>
                  </a:cubicBezTo>
                  <a:cubicBezTo>
                    <a:pt x="185" y="32"/>
                    <a:pt x="185" y="32"/>
                    <a:pt x="185" y="32"/>
                  </a:cubicBezTo>
                  <a:cubicBezTo>
                    <a:pt x="185" y="31"/>
                    <a:pt x="185" y="31"/>
                    <a:pt x="185" y="31"/>
                  </a:cubicBezTo>
                  <a:cubicBezTo>
                    <a:pt x="185" y="31"/>
                    <a:pt x="185" y="31"/>
                    <a:pt x="185" y="31"/>
                  </a:cubicBezTo>
                  <a:cubicBezTo>
                    <a:pt x="185" y="31"/>
                    <a:pt x="185" y="31"/>
                    <a:pt x="185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84" y="31"/>
                    <a:pt x="184" y="31"/>
                    <a:pt x="184" y="31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4" y="30"/>
                    <a:pt x="184" y="30"/>
                    <a:pt x="184" y="30"/>
                  </a:cubicBezTo>
                  <a:cubicBezTo>
                    <a:pt x="184" y="29"/>
                    <a:pt x="184" y="29"/>
                    <a:pt x="184" y="29"/>
                  </a:cubicBezTo>
                  <a:cubicBezTo>
                    <a:pt x="185" y="28"/>
                    <a:pt x="185" y="28"/>
                    <a:pt x="185" y="28"/>
                  </a:cubicBezTo>
                  <a:cubicBezTo>
                    <a:pt x="184" y="26"/>
                    <a:pt x="184" y="26"/>
                    <a:pt x="184" y="26"/>
                  </a:cubicBezTo>
                  <a:cubicBezTo>
                    <a:pt x="184" y="26"/>
                    <a:pt x="184" y="26"/>
                    <a:pt x="184" y="26"/>
                  </a:cubicBezTo>
                  <a:cubicBezTo>
                    <a:pt x="184" y="27"/>
                    <a:pt x="184" y="27"/>
                    <a:pt x="184" y="27"/>
                  </a:cubicBezTo>
                  <a:cubicBezTo>
                    <a:pt x="183" y="26"/>
                    <a:pt x="183" y="26"/>
                    <a:pt x="183" y="26"/>
                  </a:cubicBezTo>
                  <a:cubicBezTo>
                    <a:pt x="183" y="26"/>
                    <a:pt x="183" y="26"/>
                    <a:pt x="183" y="26"/>
                  </a:cubicBezTo>
                  <a:cubicBezTo>
                    <a:pt x="182" y="25"/>
                    <a:pt x="182" y="25"/>
                    <a:pt x="182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0" y="25"/>
                    <a:pt x="180" y="25"/>
                    <a:pt x="180" y="25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81" y="24"/>
                    <a:pt x="181" y="24"/>
                    <a:pt x="181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6" y="24"/>
                    <a:pt x="186" y="24"/>
                    <a:pt x="186" y="24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5" y="22"/>
                    <a:pt x="185" y="22"/>
                    <a:pt x="185" y="22"/>
                  </a:cubicBezTo>
                  <a:cubicBezTo>
                    <a:pt x="186" y="22"/>
                    <a:pt x="186" y="22"/>
                    <a:pt x="186" y="22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19"/>
                    <a:pt x="187" y="19"/>
                    <a:pt x="187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9" y="17"/>
                    <a:pt x="189" y="17"/>
                    <a:pt x="189" y="17"/>
                  </a:cubicBezTo>
                  <a:cubicBezTo>
                    <a:pt x="192" y="17"/>
                    <a:pt x="192" y="17"/>
                    <a:pt x="192" y="17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4" y="11"/>
                    <a:pt x="194" y="11"/>
                    <a:pt x="194" y="11"/>
                  </a:cubicBezTo>
                  <a:cubicBezTo>
                    <a:pt x="193" y="9"/>
                    <a:pt x="193" y="9"/>
                    <a:pt x="193" y="9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2" y="10"/>
                    <a:pt x="192" y="10"/>
                    <a:pt x="192" y="10"/>
                  </a:cubicBezTo>
                  <a:cubicBezTo>
                    <a:pt x="191" y="9"/>
                    <a:pt x="191" y="9"/>
                    <a:pt x="191" y="9"/>
                  </a:cubicBezTo>
                  <a:cubicBezTo>
                    <a:pt x="190" y="7"/>
                    <a:pt x="190" y="7"/>
                    <a:pt x="190" y="7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89" y="7"/>
                    <a:pt x="189" y="7"/>
                    <a:pt x="189" y="7"/>
                  </a:cubicBezTo>
                  <a:cubicBezTo>
                    <a:pt x="187" y="9"/>
                    <a:pt x="187" y="9"/>
                    <a:pt x="187" y="9"/>
                  </a:cubicBezTo>
                  <a:cubicBezTo>
                    <a:pt x="185" y="9"/>
                    <a:pt x="185" y="9"/>
                    <a:pt x="185" y="9"/>
                  </a:cubicBezTo>
                  <a:cubicBezTo>
                    <a:pt x="183" y="10"/>
                    <a:pt x="183" y="10"/>
                    <a:pt x="183" y="10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78" y="11"/>
                    <a:pt x="178" y="11"/>
                    <a:pt x="178" y="11"/>
                  </a:cubicBezTo>
                  <a:cubicBezTo>
                    <a:pt x="178" y="11"/>
                    <a:pt x="177" y="9"/>
                    <a:pt x="176" y="8"/>
                  </a:cubicBezTo>
                  <a:cubicBezTo>
                    <a:pt x="176" y="6"/>
                    <a:pt x="172" y="4"/>
                    <a:pt x="172" y="4"/>
                  </a:cubicBezTo>
                  <a:cubicBezTo>
                    <a:pt x="171" y="4"/>
                    <a:pt x="171" y="4"/>
                    <a:pt x="171" y="4"/>
                  </a:cubicBezTo>
                  <a:cubicBezTo>
                    <a:pt x="171" y="4"/>
                    <a:pt x="169" y="4"/>
                    <a:pt x="167" y="3"/>
                  </a:cubicBezTo>
                  <a:cubicBezTo>
                    <a:pt x="166" y="2"/>
                    <a:pt x="163" y="0"/>
                    <a:pt x="163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5" y="1"/>
                    <a:pt x="155" y="1"/>
                    <a:pt x="155" y="1"/>
                  </a:cubicBezTo>
                  <a:cubicBezTo>
                    <a:pt x="152" y="0"/>
                    <a:pt x="152" y="0"/>
                    <a:pt x="152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46" y="3"/>
                    <a:pt x="146" y="3"/>
                    <a:pt x="146" y="3"/>
                  </a:cubicBezTo>
                  <a:cubicBezTo>
                    <a:pt x="146" y="3"/>
                    <a:pt x="142" y="4"/>
                    <a:pt x="141" y="5"/>
                  </a:cubicBezTo>
                  <a:cubicBezTo>
                    <a:pt x="139" y="6"/>
                    <a:pt x="138" y="8"/>
                    <a:pt x="138" y="9"/>
                  </a:cubicBezTo>
                  <a:cubicBezTo>
                    <a:pt x="138" y="10"/>
                    <a:pt x="135" y="9"/>
                    <a:pt x="135" y="9"/>
                  </a:cubicBezTo>
                  <a:cubicBezTo>
                    <a:pt x="133" y="3"/>
                    <a:pt x="133" y="3"/>
                    <a:pt x="133" y="3"/>
                  </a:cubicBezTo>
                  <a:cubicBezTo>
                    <a:pt x="133" y="3"/>
                    <a:pt x="131" y="5"/>
                    <a:pt x="130" y="5"/>
                  </a:cubicBezTo>
                  <a:cubicBezTo>
                    <a:pt x="129" y="6"/>
                    <a:pt x="127" y="8"/>
                    <a:pt x="127" y="8"/>
                  </a:cubicBezTo>
                  <a:cubicBezTo>
                    <a:pt x="125" y="6"/>
                    <a:pt x="125" y="6"/>
                    <a:pt x="125" y="6"/>
                  </a:cubicBezTo>
                  <a:cubicBezTo>
                    <a:pt x="123" y="7"/>
                    <a:pt x="123" y="7"/>
                    <a:pt x="123" y="7"/>
                  </a:cubicBezTo>
                  <a:cubicBezTo>
                    <a:pt x="123" y="10"/>
                    <a:pt x="123" y="10"/>
                    <a:pt x="123" y="10"/>
                  </a:cubicBezTo>
                  <a:cubicBezTo>
                    <a:pt x="121" y="14"/>
                    <a:pt x="121" y="14"/>
                    <a:pt x="121" y="14"/>
                  </a:cubicBezTo>
                  <a:cubicBezTo>
                    <a:pt x="121" y="14"/>
                    <a:pt x="119" y="14"/>
                    <a:pt x="118" y="14"/>
                  </a:cubicBezTo>
                  <a:cubicBezTo>
                    <a:pt x="117" y="14"/>
                    <a:pt x="115" y="15"/>
                    <a:pt x="114" y="16"/>
                  </a:cubicBezTo>
                  <a:cubicBezTo>
                    <a:pt x="112" y="17"/>
                    <a:pt x="116" y="19"/>
                    <a:pt x="116" y="19"/>
                  </a:cubicBezTo>
                  <a:cubicBezTo>
                    <a:pt x="116" y="19"/>
                    <a:pt x="115" y="21"/>
                    <a:pt x="114" y="21"/>
                  </a:cubicBezTo>
                  <a:cubicBezTo>
                    <a:pt x="114" y="22"/>
                    <a:pt x="110" y="22"/>
                    <a:pt x="110" y="22"/>
                  </a:cubicBezTo>
                  <a:cubicBezTo>
                    <a:pt x="110" y="22"/>
                    <a:pt x="110" y="24"/>
                    <a:pt x="110" y="26"/>
                  </a:cubicBezTo>
                  <a:cubicBezTo>
                    <a:pt x="110" y="27"/>
                    <a:pt x="108" y="29"/>
                    <a:pt x="108" y="30"/>
                  </a:cubicBezTo>
                  <a:cubicBezTo>
                    <a:pt x="108" y="31"/>
                    <a:pt x="108" y="35"/>
                    <a:pt x="108" y="35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2" y="45"/>
                    <a:pt x="102" y="45"/>
                    <a:pt x="102" y="45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97" y="51"/>
                    <a:pt x="95" y="51"/>
                  </a:cubicBezTo>
                  <a:cubicBezTo>
                    <a:pt x="93" y="52"/>
                    <a:pt x="93" y="54"/>
                    <a:pt x="93" y="54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77" y="61"/>
                    <a:pt x="75" y="62"/>
                  </a:cubicBezTo>
                  <a:cubicBezTo>
                    <a:pt x="73" y="63"/>
                    <a:pt x="73" y="66"/>
                    <a:pt x="73" y="67"/>
                  </a:cubicBezTo>
                  <a:cubicBezTo>
                    <a:pt x="73" y="68"/>
                    <a:pt x="71" y="69"/>
                    <a:pt x="69" y="70"/>
                  </a:cubicBezTo>
                  <a:cubicBezTo>
                    <a:pt x="67" y="71"/>
                    <a:pt x="63" y="70"/>
                    <a:pt x="63" y="70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55" y="67"/>
                    <a:pt x="55" y="67"/>
                    <a:pt x="55" y="67"/>
                  </a:cubicBezTo>
                  <a:cubicBezTo>
                    <a:pt x="53" y="63"/>
                    <a:pt x="53" y="63"/>
                    <a:pt x="53" y="63"/>
                  </a:cubicBezTo>
                  <a:cubicBezTo>
                    <a:pt x="49" y="63"/>
                    <a:pt x="49" y="63"/>
                    <a:pt x="49" y="63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1"/>
                    <a:pt x="35" y="51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7" y="48"/>
                    <a:pt x="27" y="48"/>
                    <a:pt x="27" y="48"/>
                  </a:cubicBezTo>
                  <a:cubicBezTo>
                    <a:pt x="26" y="48"/>
                    <a:pt x="26" y="48"/>
                    <a:pt x="26" y="48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52"/>
                    <a:pt x="19" y="52"/>
                    <a:pt x="19" y="52"/>
                  </a:cubicBezTo>
                  <a:cubicBezTo>
                    <a:pt x="19" y="55"/>
                    <a:pt x="19" y="55"/>
                    <a:pt x="19" y="55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9" y="59"/>
                    <a:pt x="19" y="59"/>
                    <a:pt x="19" y="59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9" y="61"/>
                    <a:pt x="19" y="61"/>
                    <a:pt x="19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7" y="63"/>
                    <a:pt x="17" y="63"/>
                    <a:pt x="17" y="63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15" y="63"/>
                    <a:pt x="15" y="63"/>
                    <a:pt x="15" y="63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0" y="67"/>
                    <a:pt x="10" y="67"/>
                    <a:pt x="10" y="67"/>
                  </a:cubicBezTo>
                  <a:cubicBezTo>
                    <a:pt x="10" y="68"/>
                    <a:pt x="10" y="68"/>
                    <a:pt x="10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8" y="69"/>
                    <a:pt x="8" y="69"/>
                    <a:pt x="8" y="69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2"/>
                    <a:pt x="4" y="72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74"/>
                    <a:pt x="4" y="74"/>
                    <a:pt x="4" y="74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4" y="75"/>
                    <a:pt x="4" y="75"/>
                    <a:pt x="4" y="75"/>
                  </a:cubicBezTo>
                  <a:cubicBezTo>
                    <a:pt x="5" y="75"/>
                    <a:pt x="5" y="75"/>
                    <a:pt x="5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6" y="75"/>
                    <a:pt x="6" y="75"/>
                    <a:pt x="6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5"/>
                    <a:pt x="7" y="75"/>
                  </a:cubicBezTo>
                  <a:cubicBezTo>
                    <a:pt x="8" y="76"/>
                    <a:pt x="8" y="76"/>
                    <a:pt x="8" y="76"/>
                  </a:cubicBezTo>
                  <a:cubicBezTo>
                    <a:pt x="8" y="77"/>
                    <a:pt x="8" y="77"/>
                    <a:pt x="8" y="77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79"/>
                    <a:pt x="7" y="79"/>
                    <a:pt x="7" y="79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6" y="82"/>
                    <a:pt x="6" y="82"/>
                    <a:pt x="6" y="82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4" y="85"/>
                    <a:pt x="4" y="85"/>
                    <a:pt x="4" y="85"/>
                  </a:cubicBezTo>
                  <a:cubicBezTo>
                    <a:pt x="3" y="86"/>
                    <a:pt x="3" y="86"/>
                    <a:pt x="3" y="86"/>
                  </a:cubicBezTo>
                  <a:cubicBezTo>
                    <a:pt x="3" y="87"/>
                    <a:pt x="3" y="87"/>
                    <a:pt x="3" y="87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9"/>
                    <a:pt x="1" y="89"/>
                    <a:pt x="1" y="89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1" y="90"/>
                    <a:pt x="1" y="90"/>
                    <a:pt x="1" y="90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4" y="89"/>
                    <a:pt x="4" y="89"/>
                    <a:pt x="4" y="89"/>
                  </a:cubicBezTo>
                  <a:cubicBezTo>
                    <a:pt x="6" y="89"/>
                    <a:pt x="6" y="89"/>
                    <a:pt x="6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10" y="88"/>
                    <a:pt x="10" y="88"/>
                    <a:pt x="10" y="88"/>
                  </a:cubicBezTo>
                  <a:cubicBezTo>
                    <a:pt x="10" y="87"/>
                    <a:pt x="10" y="87"/>
                    <a:pt x="10" y="87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8" y="86"/>
                    <a:pt x="18" y="86"/>
                    <a:pt x="18" y="86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0" y="87"/>
                    <a:pt x="20" y="87"/>
                    <a:pt x="20" y="87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5" y="89"/>
                    <a:pt x="25" y="89"/>
                    <a:pt x="25" y="89"/>
                  </a:cubicBezTo>
                  <a:cubicBezTo>
                    <a:pt x="26" y="89"/>
                    <a:pt x="26" y="89"/>
                    <a:pt x="26" y="89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1" y="87"/>
                    <a:pt x="41" y="87"/>
                    <a:pt x="41" y="87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7" y="93"/>
                    <a:pt x="57" y="93"/>
                    <a:pt x="57" y="93"/>
                  </a:cubicBezTo>
                  <a:cubicBezTo>
                    <a:pt x="56" y="94"/>
                    <a:pt x="56" y="94"/>
                    <a:pt x="56" y="94"/>
                  </a:cubicBezTo>
                  <a:cubicBezTo>
                    <a:pt x="54" y="99"/>
                    <a:pt x="54" y="99"/>
                    <a:pt x="54" y="99"/>
                  </a:cubicBezTo>
                  <a:cubicBezTo>
                    <a:pt x="53" y="101"/>
                    <a:pt x="53" y="101"/>
                    <a:pt x="53" y="101"/>
                  </a:cubicBezTo>
                  <a:cubicBezTo>
                    <a:pt x="53" y="101"/>
                    <a:pt x="53" y="101"/>
                    <a:pt x="53" y="101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103"/>
                    <a:pt x="53" y="103"/>
                    <a:pt x="53" y="103"/>
                  </a:cubicBezTo>
                  <a:cubicBezTo>
                    <a:pt x="53" y="104"/>
                    <a:pt x="53" y="104"/>
                    <a:pt x="53" y="104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5"/>
                    <a:pt x="54" y="105"/>
                    <a:pt x="54" y="105"/>
                  </a:cubicBezTo>
                  <a:cubicBezTo>
                    <a:pt x="54" y="106"/>
                    <a:pt x="54" y="106"/>
                    <a:pt x="54" y="106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54" y="107"/>
                    <a:pt x="54" y="107"/>
                    <a:pt x="54" y="107"/>
                  </a:cubicBezTo>
                  <a:cubicBezTo>
                    <a:pt x="54" y="108"/>
                    <a:pt x="54" y="108"/>
                    <a:pt x="54" y="108"/>
                  </a:cubicBezTo>
                  <a:cubicBezTo>
                    <a:pt x="55" y="109"/>
                    <a:pt x="55" y="109"/>
                    <a:pt x="55" y="109"/>
                  </a:cubicBezTo>
                  <a:cubicBezTo>
                    <a:pt x="56" y="110"/>
                    <a:pt x="56" y="110"/>
                    <a:pt x="56" y="110"/>
                  </a:cubicBezTo>
                  <a:cubicBezTo>
                    <a:pt x="56" y="111"/>
                    <a:pt x="56" y="111"/>
                    <a:pt x="56" y="111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12"/>
                    <a:pt x="56" y="112"/>
                    <a:pt x="56" y="112"/>
                  </a:cubicBezTo>
                  <a:cubicBezTo>
                    <a:pt x="56" y="113"/>
                    <a:pt x="56" y="113"/>
                    <a:pt x="56" y="113"/>
                  </a:cubicBezTo>
                  <a:cubicBezTo>
                    <a:pt x="54" y="116"/>
                    <a:pt x="54" y="116"/>
                    <a:pt x="54" y="116"/>
                  </a:cubicBezTo>
                  <a:cubicBezTo>
                    <a:pt x="54" y="118"/>
                    <a:pt x="54" y="118"/>
                    <a:pt x="54" y="118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4" y="120"/>
                    <a:pt x="54" y="120"/>
                    <a:pt x="54" y="120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1"/>
                    <a:pt x="54" y="121"/>
                    <a:pt x="54" y="121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54" y="122"/>
                    <a:pt x="54" y="122"/>
                    <a:pt x="54" y="122"/>
                  </a:cubicBezTo>
                  <a:cubicBezTo>
                    <a:pt x="54" y="123"/>
                    <a:pt x="54" y="123"/>
                    <a:pt x="54" y="123"/>
                  </a:cubicBezTo>
                  <a:cubicBezTo>
                    <a:pt x="54" y="123"/>
                    <a:pt x="54" y="123"/>
                    <a:pt x="54" y="123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57" y="122"/>
                    <a:pt x="57" y="122"/>
                    <a:pt x="57" y="122"/>
                  </a:cubicBezTo>
                  <a:cubicBezTo>
                    <a:pt x="57" y="121"/>
                    <a:pt x="57" y="121"/>
                    <a:pt x="57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21"/>
                    <a:pt x="59" y="121"/>
                    <a:pt x="59" y="121"/>
                  </a:cubicBezTo>
                  <a:cubicBezTo>
                    <a:pt x="59" y="120"/>
                    <a:pt x="59" y="120"/>
                    <a:pt x="59" y="120"/>
                  </a:cubicBezTo>
                  <a:cubicBezTo>
                    <a:pt x="60" y="120"/>
                    <a:pt x="60" y="120"/>
                    <a:pt x="60" y="120"/>
                  </a:cubicBezTo>
                  <a:cubicBezTo>
                    <a:pt x="60" y="119"/>
                    <a:pt x="60" y="119"/>
                    <a:pt x="60" y="119"/>
                  </a:cubicBezTo>
                  <a:cubicBezTo>
                    <a:pt x="64" y="115"/>
                    <a:pt x="64" y="115"/>
                    <a:pt x="64" y="115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5" y="114"/>
                    <a:pt x="65" y="114"/>
                    <a:pt x="65" y="114"/>
                  </a:cubicBezTo>
                  <a:cubicBezTo>
                    <a:pt x="66" y="114"/>
                    <a:pt x="66" y="114"/>
                    <a:pt x="66" y="114"/>
                  </a:cubicBezTo>
                  <a:cubicBezTo>
                    <a:pt x="67" y="114"/>
                    <a:pt x="67" y="114"/>
                    <a:pt x="67" y="114"/>
                  </a:cubicBezTo>
                  <a:cubicBezTo>
                    <a:pt x="67" y="114"/>
                    <a:pt x="67" y="114"/>
                    <a:pt x="67" y="114"/>
                  </a:cubicBezTo>
                  <a:cubicBezTo>
                    <a:pt x="69" y="114"/>
                    <a:pt x="69" y="114"/>
                    <a:pt x="69" y="114"/>
                  </a:cubicBezTo>
                  <a:cubicBezTo>
                    <a:pt x="70" y="115"/>
                    <a:pt x="70" y="115"/>
                    <a:pt x="70" y="115"/>
                  </a:cubicBezTo>
                  <a:cubicBezTo>
                    <a:pt x="71" y="115"/>
                    <a:pt x="71" y="115"/>
                    <a:pt x="71" y="115"/>
                  </a:cubicBezTo>
                  <a:cubicBezTo>
                    <a:pt x="71" y="115"/>
                    <a:pt x="71" y="115"/>
                    <a:pt x="71" y="115"/>
                  </a:cubicBezTo>
                  <a:cubicBezTo>
                    <a:pt x="71" y="115"/>
                    <a:pt x="71" y="115"/>
                    <a:pt x="71" y="115"/>
                  </a:cubicBezTo>
                  <a:cubicBezTo>
                    <a:pt x="71" y="115"/>
                    <a:pt x="71" y="115"/>
                    <a:pt x="71" y="115"/>
                  </a:cubicBezTo>
                  <a:cubicBezTo>
                    <a:pt x="70" y="116"/>
                    <a:pt x="70" y="116"/>
                    <a:pt x="70" y="116"/>
                  </a:cubicBezTo>
                  <a:cubicBezTo>
                    <a:pt x="70" y="117"/>
                    <a:pt x="70" y="117"/>
                    <a:pt x="70" y="117"/>
                  </a:cubicBezTo>
                  <a:cubicBezTo>
                    <a:pt x="70" y="120"/>
                    <a:pt x="70" y="120"/>
                    <a:pt x="70" y="120"/>
                  </a:cubicBezTo>
                  <a:cubicBezTo>
                    <a:pt x="70" y="120"/>
                    <a:pt x="70" y="120"/>
                    <a:pt x="70" y="120"/>
                  </a:cubicBezTo>
                  <a:cubicBezTo>
                    <a:pt x="69" y="121"/>
                    <a:pt x="69" y="121"/>
                    <a:pt x="69" y="121"/>
                  </a:cubicBezTo>
                  <a:cubicBezTo>
                    <a:pt x="68" y="123"/>
                    <a:pt x="68" y="123"/>
                    <a:pt x="68" y="123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5"/>
                    <a:pt x="68" y="125"/>
                    <a:pt x="68" y="125"/>
                  </a:cubicBezTo>
                  <a:cubicBezTo>
                    <a:pt x="67" y="128"/>
                    <a:pt x="67" y="128"/>
                    <a:pt x="67" y="128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8" y="131"/>
                    <a:pt x="68" y="131"/>
                    <a:pt x="68" y="131"/>
                  </a:cubicBezTo>
                  <a:cubicBezTo>
                    <a:pt x="68" y="132"/>
                    <a:pt x="68" y="132"/>
                    <a:pt x="68" y="132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69" y="135"/>
                    <a:pt x="69" y="135"/>
                    <a:pt x="69" y="135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70" y="138"/>
                    <a:pt x="70" y="138"/>
                    <a:pt x="70" y="138"/>
                  </a:cubicBezTo>
                  <a:cubicBezTo>
                    <a:pt x="72" y="141"/>
                    <a:pt x="72" y="141"/>
                    <a:pt x="72" y="141"/>
                  </a:cubicBezTo>
                  <a:cubicBezTo>
                    <a:pt x="73" y="142"/>
                    <a:pt x="73" y="142"/>
                    <a:pt x="73" y="142"/>
                  </a:cubicBezTo>
                  <a:cubicBezTo>
                    <a:pt x="73" y="143"/>
                    <a:pt x="73" y="143"/>
                    <a:pt x="73" y="143"/>
                  </a:cubicBezTo>
                  <a:cubicBezTo>
                    <a:pt x="73" y="145"/>
                    <a:pt x="73" y="145"/>
                    <a:pt x="73" y="145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4" y="150"/>
                    <a:pt x="74" y="150"/>
                    <a:pt x="74" y="150"/>
                  </a:cubicBezTo>
                  <a:cubicBezTo>
                    <a:pt x="75" y="152"/>
                    <a:pt x="75" y="152"/>
                    <a:pt x="75" y="152"/>
                  </a:cubicBezTo>
                  <a:cubicBezTo>
                    <a:pt x="76" y="153"/>
                    <a:pt x="76" y="153"/>
                    <a:pt x="76" y="153"/>
                  </a:cubicBezTo>
                  <a:cubicBezTo>
                    <a:pt x="76" y="154"/>
                    <a:pt x="76" y="154"/>
                    <a:pt x="76" y="154"/>
                  </a:cubicBezTo>
                  <a:cubicBezTo>
                    <a:pt x="76" y="154"/>
                    <a:pt x="76" y="154"/>
                    <a:pt x="76" y="154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6" y="155"/>
                    <a:pt x="76" y="155"/>
                    <a:pt x="76" y="155"/>
                  </a:cubicBezTo>
                  <a:cubicBezTo>
                    <a:pt x="78" y="157"/>
                    <a:pt x="78" y="157"/>
                    <a:pt x="78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1" y="158"/>
                    <a:pt x="81" y="158"/>
                    <a:pt x="81" y="158"/>
                  </a:cubicBezTo>
                  <a:cubicBezTo>
                    <a:pt x="82" y="159"/>
                    <a:pt x="82" y="159"/>
                    <a:pt x="82" y="159"/>
                  </a:cubicBezTo>
                  <a:cubicBezTo>
                    <a:pt x="83" y="159"/>
                    <a:pt x="83" y="159"/>
                    <a:pt x="83" y="159"/>
                  </a:cubicBezTo>
                  <a:cubicBezTo>
                    <a:pt x="83" y="159"/>
                    <a:pt x="83" y="159"/>
                    <a:pt x="83" y="159"/>
                  </a:cubicBezTo>
                  <a:cubicBezTo>
                    <a:pt x="83" y="159"/>
                    <a:pt x="83" y="159"/>
                    <a:pt x="83" y="159"/>
                  </a:cubicBezTo>
                  <a:cubicBezTo>
                    <a:pt x="84" y="159"/>
                    <a:pt x="84" y="159"/>
                    <a:pt x="84" y="159"/>
                  </a:cubicBezTo>
                  <a:cubicBezTo>
                    <a:pt x="85" y="160"/>
                    <a:pt x="85" y="160"/>
                    <a:pt x="85" y="160"/>
                  </a:cubicBezTo>
                  <a:cubicBezTo>
                    <a:pt x="85" y="161"/>
                    <a:pt x="85" y="161"/>
                    <a:pt x="85" y="161"/>
                  </a:cubicBezTo>
                  <a:cubicBezTo>
                    <a:pt x="86" y="161"/>
                    <a:pt x="86" y="161"/>
                    <a:pt x="86" y="161"/>
                  </a:cubicBezTo>
                  <a:cubicBezTo>
                    <a:pt x="86" y="162"/>
                    <a:pt x="86" y="162"/>
                    <a:pt x="86" y="162"/>
                  </a:cubicBezTo>
                  <a:cubicBezTo>
                    <a:pt x="86" y="162"/>
                    <a:pt x="86" y="162"/>
                    <a:pt x="86" y="162"/>
                  </a:cubicBezTo>
                  <a:cubicBezTo>
                    <a:pt x="87" y="163"/>
                    <a:pt x="87" y="163"/>
                    <a:pt x="87" y="163"/>
                  </a:cubicBezTo>
                  <a:cubicBezTo>
                    <a:pt x="88" y="164"/>
                    <a:pt x="88" y="164"/>
                    <a:pt x="88" y="164"/>
                  </a:cubicBezTo>
                  <a:cubicBezTo>
                    <a:pt x="88" y="164"/>
                    <a:pt x="88" y="164"/>
                    <a:pt x="88" y="164"/>
                  </a:cubicBezTo>
                  <a:cubicBezTo>
                    <a:pt x="88" y="165"/>
                    <a:pt x="88" y="165"/>
                    <a:pt x="88" y="165"/>
                  </a:cubicBezTo>
                  <a:cubicBezTo>
                    <a:pt x="89" y="165"/>
                    <a:pt x="89" y="165"/>
                    <a:pt x="89" y="165"/>
                  </a:cubicBezTo>
                  <a:cubicBezTo>
                    <a:pt x="89" y="165"/>
                    <a:pt x="89" y="165"/>
                    <a:pt x="89" y="165"/>
                  </a:cubicBezTo>
                  <a:cubicBezTo>
                    <a:pt x="89" y="165"/>
                    <a:pt x="89" y="165"/>
                    <a:pt x="89" y="165"/>
                  </a:cubicBezTo>
                  <a:cubicBezTo>
                    <a:pt x="90" y="164"/>
                    <a:pt x="90" y="164"/>
                    <a:pt x="90" y="164"/>
                  </a:cubicBezTo>
                  <a:cubicBezTo>
                    <a:pt x="90" y="164"/>
                    <a:pt x="90" y="164"/>
                    <a:pt x="90" y="164"/>
                  </a:cubicBezTo>
                  <a:cubicBezTo>
                    <a:pt x="91" y="164"/>
                    <a:pt x="91" y="164"/>
                    <a:pt x="91" y="164"/>
                  </a:cubicBezTo>
                  <a:cubicBezTo>
                    <a:pt x="92" y="169"/>
                    <a:pt x="92" y="169"/>
                    <a:pt x="92" y="169"/>
                  </a:cubicBezTo>
                  <a:cubicBezTo>
                    <a:pt x="92" y="170"/>
                    <a:pt x="92" y="170"/>
                    <a:pt x="92" y="170"/>
                  </a:cubicBezTo>
                  <a:cubicBezTo>
                    <a:pt x="91" y="172"/>
                    <a:pt x="91" y="172"/>
                    <a:pt x="91" y="172"/>
                  </a:cubicBezTo>
                  <a:cubicBezTo>
                    <a:pt x="91" y="173"/>
                    <a:pt x="91" y="173"/>
                    <a:pt x="91" y="173"/>
                  </a:cubicBezTo>
                  <a:cubicBezTo>
                    <a:pt x="89" y="177"/>
                    <a:pt x="89" y="177"/>
                    <a:pt x="89" y="177"/>
                  </a:cubicBezTo>
                  <a:cubicBezTo>
                    <a:pt x="88" y="178"/>
                    <a:pt x="88" y="178"/>
                    <a:pt x="88" y="178"/>
                  </a:cubicBezTo>
                  <a:cubicBezTo>
                    <a:pt x="88" y="179"/>
                    <a:pt x="88" y="179"/>
                    <a:pt x="88" y="179"/>
                  </a:cubicBezTo>
                  <a:cubicBezTo>
                    <a:pt x="87" y="179"/>
                    <a:pt x="87" y="179"/>
                    <a:pt x="87" y="179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6" y="179"/>
                    <a:pt x="86" y="179"/>
                    <a:pt x="86" y="179"/>
                  </a:cubicBezTo>
                  <a:cubicBezTo>
                    <a:pt x="84" y="179"/>
                    <a:pt x="84" y="179"/>
                    <a:pt x="84" y="179"/>
                  </a:cubicBezTo>
                  <a:cubicBezTo>
                    <a:pt x="84" y="180"/>
                    <a:pt x="84" y="180"/>
                    <a:pt x="84" y="180"/>
                  </a:cubicBezTo>
                  <a:cubicBezTo>
                    <a:pt x="83" y="180"/>
                    <a:pt x="83" y="180"/>
                    <a:pt x="83" y="180"/>
                  </a:cubicBezTo>
                  <a:cubicBezTo>
                    <a:pt x="82" y="181"/>
                    <a:pt x="82" y="181"/>
                    <a:pt x="82" y="181"/>
                  </a:cubicBezTo>
                  <a:cubicBezTo>
                    <a:pt x="81" y="183"/>
                    <a:pt x="81" y="183"/>
                    <a:pt x="81" y="183"/>
                  </a:cubicBezTo>
                  <a:cubicBezTo>
                    <a:pt x="83" y="183"/>
                    <a:pt x="83" y="183"/>
                    <a:pt x="83" y="183"/>
                  </a:cubicBezTo>
                  <a:cubicBezTo>
                    <a:pt x="83" y="184"/>
                    <a:pt x="83" y="184"/>
                    <a:pt x="83" y="184"/>
                  </a:cubicBezTo>
                  <a:cubicBezTo>
                    <a:pt x="84" y="184"/>
                    <a:pt x="84" y="184"/>
                    <a:pt x="84" y="184"/>
                  </a:cubicBezTo>
                  <a:cubicBezTo>
                    <a:pt x="84" y="184"/>
                    <a:pt x="84" y="184"/>
                    <a:pt x="84" y="184"/>
                  </a:cubicBezTo>
                  <a:cubicBezTo>
                    <a:pt x="84" y="186"/>
                    <a:pt x="84" y="186"/>
                    <a:pt x="84" y="186"/>
                  </a:cubicBezTo>
                  <a:cubicBezTo>
                    <a:pt x="85" y="187"/>
                    <a:pt x="85" y="187"/>
                    <a:pt x="85" y="187"/>
                  </a:cubicBezTo>
                  <a:cubicBezTo>
                    <a:pt x="85" y="187"/>
                    <a:pt x="85" y="187"/>
                    <a:pt x="85" y="187"/>
                  </a:cubicBezTo>
                  <a:cubicBezTo>
                    <a:pt x="86" y="188"/>
                    <a:pt x="86" y="188"/>
                    <a:pt x="86" y="188"/>
                  </a:cubicBezTo>
                  <a:cubicBezTo>
                    <a:pt x="86" y="188"/>
                    <a:pt x="86" y="188"/>
                    <a:pt x="86" y="188"/>
                  </a:cubicBezTo>
                  <a:cubicBezTo>
                    <a:pt x="86" y="189"/>
                    <a:pt x="86" y="189"/>
                    <a:pt x="86" y="189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8" y="195"/>
                    <a:pt x="88" y="195"/>
                    <a:pt x="88" y="195"/>
                  </a:cubicBezTo>
                  <a:cubicBezTo>
                    <a:pt x="89" y="201"/>
                    <a:pt x="89" y="201"/>
                    <a:pt x="89" y="201"/>
                  </a:cubicBezTo>
                  <a:cubicBezTo>
                    <a:pt x="88" y="201"/>
                    <a:pt x="88" y="201"/>
                    <a:pt x="88" y="201"/>
                  </a:cubicBezTo>
                  <a:cubicBezTo>
                    <a:pt x="88" y="202"/>
                    <a:pt x="88" y="202"/>
                    <a:pt x="88" y="202"/>
                  </a:cubicBezTo>
                  <a:cubicBezTo>
                    <a:pt x="88" y="203"/>
                    <a:pt x="88" y="203"/>
                    <a:pt x="88" y="203"/>
                  </a:cubicBezTo>
                  <a:cubicBezTo>
                    <a:pt x="88" y="204"/>
                    <a:pt x="88" y="204"/>
                    <a:pt x="88" y="204"/>
                  </a:cubicBezTo>
                  <a:cubicBezTo>
                    <a:pt x="89" y="205"/>
                    <a:pt x="89" y="205"/>
                    <a:pt x="89" y="205"/>
                  </a:cubicBezTo>
                  <a:cubicBezTo>
                    <a:pt x="89" y="206"/>
                    <a:pt x="89" y="206"/>
                    <a:pt x="89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2" y="206"/>
                    <a:pt x="92" y="206"/>
                    <a:pt x="92" y="206"/>
                  </a:cubicBezTo>
                  <a:cubicBezTo>
                    <a:pt x="92" y="206"/>
                    <a:pt x="92" y="206"/>
                    <a:pt x="92" y="206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2" y="209"/>
                    <a:pt x="92" y="209"/>
                    <a:pt x="92" y="209"/>
                  </a:cubicBezTo>
                  <a:cubicBezTo>
                    <a:pt x="92" y="212"/>
                    <a:pt x="92" y="212"/>
                    <a:pt x="92" y="212"/>
                  </a:cubicBezTo>
                  <a:cubicBezTo>
                    <a:pt x="92" y="213"/>
                    <a:pt x="92" y="213"/>
                    <a:pt x="92" y="213"/>
                  </a:cubicBezTo>
                  <a:cubicBezTo>
                    <a:pt x="93" y="216"/>
                    <a:pt x="93" y="216"/>
                    <a:pt x="93" y="216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3" y="219"/>
                    <a:pt x="93" y="219"/>
                    <a:pt x="93" y="219"/>
                  </a:cubicBezTo>
                  <a:cubicBezTo>
                    <a:pt x="94" y="220"/>
                    <a:pt x="94" y="220"/>
                    <a:pt x="94" y="220"/>
                  </a:cubicBezTo>
                  <a:cubicBezTo>
                    <a:pt x="94" y="220"/>
                    <a:pt x="94" y="220"/>
                    <a:pt x="94" y="220"/>
                  </a:cubicBezTo>
                  <a:cubicBezTo>
                    <a:pt x="94" y="220"/>
                    <a:pt x="94" y="220"/>
                    <a:pt x="94" y="220"/>
                  </a:cubicBezTo>
                  <a:cubicBezTo>
                    <a:pt x="95" y="220"/>
                    <a:pt x="95" y="220"/>
                    <a:pt x="95" y="220"/>
                  </a:cubicBezTo>
                  <a:cubicBezTo>
                    <a:pt x="96" y="220"/>
                    <a:pt x="96" y="220"/>
                    <a:pt x="96" y="220"/>
                  </a:cubicBezTo>
                  <a:cubicBezTo>
                    <a:pt x="96" y="219"/>
                    <a:pt x="96" y="219"/>
                    <a:pt x="96" y="219"/>
                  </a:cubicBezTo>
                  <a:cubicBezTo>
                    <a:pt x="96" y="219"/>
                    <a:pt x="96" y="219"/>
                    <a:pt x="96" y="219"/>
                  </a:cubicBezTo>
                  <a:cubicBezTo>
                    <a:pt x="97" y="219"/>
                    <a:pt x="97" y="219"/>
                    <a:pt x="97" y="219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98" y="218"/>
                    <a:pt x="98" y="218"/>
                    <a:pt x="98" y="218"/>
                  </a:cubicBezTo>
                  <a:cubicBezTo>
                    <a:pt x="99" y="217"/>
                    <a:pt x="99" y="217"/>
                    <a:pt x="99" y="217"/>
                  </a:cubicBezTo>
                  <a:cubicBezTo>
                    <a:pt x="99" y="217"/>
                    <a:pt x="99" y="217"/>
                    <a:pt x="99" y="217"/>
                  </a:cubicBezTo>
                  <a:cubicBezTo>
                    <a:pt x="100" y="217"/>
                    <a:pt x="100" y="217"/>
                    <a:pt x="100" y="217"/>
                  </a:cubicBezTo>
                  <a:cubicBezTo>
                    <a:pt x="101" y="217"/>
                    <a:pt x="101" y="217"/>
                    <a:pt x="101" y="217"/>
                  </a:cubicBezTo>
                  <a:cubicBezTo>
                    <a:pt x="102" y="218"/>
                    <a:pt x="102" y="218"/>
                    <a:pt x="102" y="218"/>
                  </a:cubicBezTo>
                  <a:cubicBezTo>
                    <a:pt x="106" y="218"/>
                    <a:pt x="106" y="218"/>
                    <a:pt x="106" y="218"/>
                  </a:cubicBezTo>
                  <a:cubicBezTo>
                    <a:pt x="107" y="218"/>
                    <a:pt x="107" y="218"/>
                    <a:pt x="107" y="218"/>
                  </a:cubicBezTo>
                  <a:cubicBezTo>
                    <a:pt x="118" y="219"/>
                    <a:pt x="118" y="219"/>
                    <a:pt x="118" y="219"/>
                  </a:cubicBezTo>
                  <a:cubicBezTo>
                    <a:pt x="121" y="219"/>
                    <a:pt x="121" y="219"/>
                    <a:pt x="121" y="219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6" y="221"/>
                    <a:pt x="126" y="221"/>
                    <a:pt x="126" y="221"/>
                  </a:cubicBezTo>
                  <a:cubicBezTo>
                    <a:pt x="127" y="215"/>
                    <a:pt x="127" y="215"/>
                    <a:pt x="127" y="215"/>
                  </a:cubicBezTo>
                  <a:cubicBezTo>
                    <a:pt x="127" y="213"/>
                    <a:pt x="127" y="213"/>
                    <a:pt x="127" y="213"/>
                  </a:cubicBezTo>
                  <a:cubicBezTo>
                    <a:pt x="127" y="213"/>
                    <a:pt x="127" y="213"/>
                    <a:pt x="127" y="213"/>
                  </a:cubicBezTo>
                  <a:cubicBezTo>
                    <a:pt x="126" y="213"/>
                    <a:pt x="126" y="213"/>
                    <a:pt x="126" y="213"/>
                  </a:cubicBezTo>
                  <a:cubicBezTo>
                    <a:pt x="126" y="214"/>
                    <a:pt x="126" y="214"/>
                    <a:pt x="126" y="214"/>
                  </a:cubicBezTo>
                  <a:cubicBezTo>
                    <a:pt x="125" y="214"/>
                    <a:pt x="125" y="214"/>
                    <a:pt x="125" y="214"/>
                  </a:cubicBezTo>
                  <a:cubicBezTo>
                    <a:pt x="125" y="214"/>
                    <a:pt x="125" y="214"/>
                    <a:pt x="125" y="214"/>
                  </a:cubicBezTo>
                  <a:cubicBezTo>
                    <a:pt x="124" y="214"/>
                    <a:pt x="124" y="214"/>
                    <a:pt x="124" y="214"/>
                  </a:cubicBezTo>
                  <a:cubicBezTo>
                    <a:pt x="124" y="213"/>
                    <a:pt x="124" y="213"/>
                    <a:pt x="124" y="213"/>
                  </a:cubicBezTo>
                  <a:cubicBezTo>
                    <a:pt x="124" y="212"/>
                    <a:pt x="124" y="212"/>
                    <a:pt x="124" y="212"/>
                  </a:cubicBezTo>
                  <a:cubicBezTo>
                    <a:pt x="123" y="212"/>
                    <a:pt x="123" y="212"/>
                    <a:pt x="123" y="212"/>
                  </a:cubicBezTo>
                  <a:cubicBezTo>
                    <a:pt x="123" y="212"/>
                    <a:pt x="123" y="212"/>
                    <a:pt x="123" y="212"/>
                  </a:cubicBezTo>
                  <a:cubicBezTo>
                    <a:pt x="120" y="214"/>
                    <a:pt x="120" y="214"/>
                    <a:pt x="120" y="214"/>
                  </a:cubicBezTo>
                  <a:cubicBezTo>
                    <a:pt x="119" y="214"/>
                    <a:pt x="119" y="214"/>
                    <a:pt x="119" y="214"/>
                  </a:cubicBezTo>
                  <a:cubicBezTo>
                    <a:pt x="118" y="213"/>
                    <a:pt x="118" y="213"/>
                    <a:pt x="118" y="213"/>
                  </a:cubicBezTo>
                  <a:cubicBezTo>
                    <a:pt x="117" y="212"/>
                    <a:pt x="117" y="212"/>
                    <a:pt x="117" y="212"/>
                  </a:cubicBezTo>
                  <a:cubicBezTo>
                    <a:pt x="117" y="211"/>
                    <a:pt x="117" y="211"/>
                    <a:pt x="117" y="211"/>
                  </a:cubicBezTo>
                  <a:cubicBezTo>
                    <a:pt x="115" y="211"/>
                    <a:pt x="115" y="211"/>
                    <a:pt x="115" y="211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3" y="212"/>
                    <a:pt x="113" y="212"/>
                    <a:pt x="113" y="212"/>
                  </a:cubicBezTo>
                  <a:cubicBezTo>
                    <a:pt x="114" y="211"/>
                    <a:pt x="114" y="211"/>
                    <a:pt x="114" y="211"/>
                  </a:cubicBezTo>
                  <a:cubicBezTo>
                    <a:pt x="115" y="210"/>
                    <a:pt x="115" y="210"/>
                    <a:pt x="115" y="210"/>
                  </a:cubicBezTo>
                  <a:cubicBezTo>
                    <a:pt x="116" y="209"/>
                    <a:pt x="116" y="209"/>
                    <a:pt x="116" y="209"/>
                  </a:cubicBezTo>
                  <a:cubicBezTo>
                    <a:pt x="119" y="208"/>
                    <a:pt x="119" y="208"/>
                    <a:pt x="119" y="208"/>
                  </a:cubicBezTo>
                  <a:cubicBezTo>
                    <a:pt x="120" y="208"/>
                    <a:pt x="120" y="208"/>
                    <a:pt x="120" y="208"/>
                  </a:cubicBezTo>
                  <a:cubicBezTo>
                    <a:pt x="121" y="207"/>
                    <a:pt x="121" y="207"/>
                    <a:pt x="121" y="207"/>
                  </a:cubicBezTo>
                  <a:cubicBezTo>
                    <a:pt x="121" y="206"/>
                    <a:pt x="121" y="206"/>
                    <a:pt x="121" y="206"/>
                  </a:cubicBezTo>
                  <a:cubicBezTo>
                    <a:pt x="120" y="203"/>
                    <a:pt x="120" y="203"/>
                    <a:pt x="120" y="203"/>
                  </a:cubicBezTo>
                  <a:cubicBezTo>
                    <a:pt x="121" y="201"/>
                    <a:pt x="121" y="201"/>
                    <a:pt x="121" y="201"/>
                  </a:cubicBezTo>
                  <a:cubicBezTo>
                    <a:pt x="120" y="200"/>
                    <a:pt x="120" y="200"/>
                    <a:pt x="120" y="200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20" y="197"/>
                    <a:pt x="120" y="197"/>
                    <a:pt x="120" y="197"/>
                  </a:cubicBezTo>
                  <a:cubicBezTo>
                    <a:pt x="120" y="196"/>
                    <a:pt x="120" y="196"/>
                    <a:pt x="120" y="196"/>
                  </a:cubicBezTo>
                  <a:cubicBezTo>
                    <a:pt x="120" y="195"/>
                    <a:pt x="120" y="195"/>
                    <a:pt x="120" y="195"/>
                  </a:cubicBezTo>
                  <a:cubicBezTo>
                    <a:pt x="119" y="194"/>
                    <a:pt x="119" y="194"/>
                    <a:pt x="119" y="194"/>
                  </a:cubicBezTo>
                  <a:cubicBezTo>
                    <a:pt x="118" y="194"/>
                    <a:pt x="118" y="194"/>
                    <a:pt x="118" y="194"/>
                  </a:cubicBezTo>
                  <a:cubicBezTo>
                    <a:pt x="117" y="194"/>
                    <a:pt x="117" y="194"/>
                    <a:pt x="117" y="194"/>
                  </a:cubicBezTo>
                  <a:cubicBezTo>
                    <a:pt x="117" y="194"/>
                    <a:pt x="117" y="194"/>
                    <a:pt x="117" y="194"/>
                  </a:cubicBezTo>
                  <a:cubicBezTo>
                    <a:pt x="117" y="195"/>
                    <a:pt x="117" y="195"/>
                    <a:pt x="117" y="195"/>
                  </a:cubicBezTo>
                  <a:cubicBezTo>
                    <a:pt x="117" y="195"/>
                    <a:pt x="117" y="195"/>
                    <a:pt x="117" y="195"/>
                  </a:cubicBezTo>
                  <a:cubicBezTo>
                    <a:pt x="117" y="195"/>
                    <a:pt x="117" y="195"/>
                    <a:pt x="117" y="195"/>
                  </a:cubicBezTo>
                  <a:cubicBezTo>
                    <a:pt x="116" y="195"/>
                    <a:pt x="116" y="195"/>
                    <a:pt x="116" y="195"/>
                  </a:cubicBezTo>
                  <a:cubicBezTo>
                    <a:pt x="116" y="195"/>
                    <a:pt x="116" y="195"/>
                    <a:pt x="116" y="195"/>
                  </a:cubicBezTo>
                  <a:cubicBezTo>
                    <a:pt x="115" y="195"/>
                    <a:pt x="115" y="195"/>
                    <a:pt x="115" y="195"/>
                  </a:cubicBezTo>
                  <a:cubicBezTo>
                    <a:pt x="115" y="195"/>
                    <a:pt x="115" y="195"/>
                    <a:pt x="115" y="195"/>
                  </a:cubicBezTo>
                  <a:cubicBezTo>
                    <a:pt x="114" y="195"/>
                    <a:pt x="114" y="195"/>
                    <a:pt x="114" y="195"/>
                  </a:cubicBezTo>
                  <a:cubicBezTo>
                    <a:pt x="114" y="196"/>
                    <a:pt x="114" y="196"/>
                    <a:pt x="114" y="196"/>
                  </a:cubicBezTo>
                  <a:cubicBezTo>
                    <a:pt x="113" y="196"/>
                    <a:pt x="113" y="196"/>
                    <a:pt x="113" y="196"/>
                  </a:cubicBezTo>
                  <a:cubicBezTo>
                    <a:pt x="112" y="196"/>
                    <a:pt x="112" y="196"/>
                    <a:pt x="112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0" y="195"/>
                    <a:pt x="110" y="195"/>
                    <a:pt x="110" y="195"/>
                  </a:cubicBezTo>
                  <a:cubicBezTo>
                    <a:pt x="111" y="195"/>
                    <a:pt x="111" y="195"/>
                    <a:pt x="111" y="195"/>
                  </a:cubicBezTo>
                  <a:cubicBezTo>
                    <a:pt x="112" y="194"/>
                    <a:pt x="112" y="194"/>
                    <a:pt x="112" y="194"/>
                  </a:cubicBezTo>
                  <a:cubicBezTo>
                    <a:pt x="112" y="194"/>
                    <a:pt x="112" y="194"/>
                    <a:pt x="112" y="194"/>
                  </a:cubicBezTo>
                  <a:cubicBezTo>
                    <a:pt x="115" y="192"/>
                    <a:pt x="115" y="192"/>
                    <a:pt x="115" y="192"/>
                  </a:cubicBezTo>
                  <a:cubicBezTo>
                    <a:pt x="116" y="191"/>
                    <a:pt x="116" y="191"/>
                    <a:pt x="116" y="191"/>
                  </a:cubicBezTo>
                  <a:cubicBezTo>
                    <a:pt x="118" y="191"/>
                    <a:pt x="118" y="191"/>
                    <a:pt x="118" y="191"/>
                  </a:cubicBezTo>
                  <a:cubicBezTo>
                    <a:pt x="119" y="190"/>
                    <a:pt x="119" y="190"/>
                    <a:pt x="119" y="190"/>
                  </a:cubicBezTo>
                  <a:cubicBezTo>
                    <a:pt x="123" y="188"/>
                    <a:pt x="123" y="188"/>
                    <a:pt x="123" y="188"/>
                  </a:cubicBezTo>
                  <a:cubicBezTo>
                    <a:pt x="124" y="188"/>
                    <a:pt x="124" y="188"/>
                    <a:pt x="124" y="188"/>
                  </a:cubicBezTo>
                  <a:cubicBezTo>
                    <a:pt x="125" y="187"/>
                    <a:pt x="125" y="187"/>
                    <a:pt x="125" y="187"/>
                  </a:cubicBezTo>
                  <a:cubicBezTo>
                    <a:pt x="126" y="186"/>
                    <a:pt x="126" y="186"/>
                    <a:pt x="126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4"/>
                    <a:pt x="125" y="184"/>
                    <a:pt x="125" y="184"/>
                  </a:cubicBezTo>
                  <a:cubicBezTo>
                    <a:pt x="124" y="184"/>
                    <a:pt x="124" y="184"/>
                    <a:pt x="124" y="184"/>
                  </a:cubicBezTo>
                  <a:cubicBezTo>
                    <a:pt x="124" y="182"/>
                    <a:pt x="124" y="182"/>
                    <a:pt x="124" y="182"/>
                  </a:cubicBezTo>
                  <a:cubicBezTo>
                    <a:pt x="126" y="180"/>
                    <a:pt x="126" y="180"/>
                    <a:pt x="126" y="180"/>
                  </a:cubicBezTo>
                  <a:cubicBezTo>
                    <a:pt x="128" y="179"/>
                    <a:pt x="128" y="179"/>
                    <a:pt x="128" y="179"/>
                  </a:cubicBezTo>
                  <a:cubicBezTo>
                    <a:pt x="132" y="177"/>
                    <a:pt x="132" y="177"/>
                    <a:pt x="132" y="177"/>
                  </a:cubicBezTo>
                  <a:cubicBezTo>
                    <a:pt x="133" y="177"/>
                    <a:pt x="133" y="177"/>
                    <a:pt x="133" y="177"/>
                  </a:cubicBezTo>
                  <a:cubicBezTo>
                    <a:pt x="134" y="176"/>
                    <a:pt x="134" y="176"/>
                    <a:pt x="134" y="176"/>
                  </a:cubicBezTo>
                  <a:cubicBezTo>
                    <a:pt x="135" y="175"/>
                    <a:pt x="135" y="175"/>
                    <a:pt x="135" y="175"/>
                  </a:cubicBezTo>
                  <a:cubicBezTo>
                    <a:pt x="134" y="173"/>
                    <a:pt x="134" y="173"/>
                    <a:pt x="134" y="173"/>
                  </a:cubicBezTo>
                  <a:cubicBezTo>
                    <a:pt x="135" y="173"/>
                    <a:pt x="135" y="173"/>
                    <a:pt x="135" y="173"/>
                  </a:cubicBezTo>
                  <a:cubicBezTo>
                    <a:pt x="135" y="172"/>
                    <a:pt x="135" y="172"/>
                    <a:pt x="135" y="172"/>
                  </a:cubicBezTo>
                  <a:cubicBezTo>
                    <a:pt x="136" y="171"/>
                    <a:pt x="136" y="171"/>
                    <a:pt x="136" y="171"/>
                  </a:cubicBezTo>
                  <a:cubicBezTo>
                    <a:pt x="136" y="171"/>
                    <a:pt x="136" y="171"/>
                    <a:pt x="136" y="171"/>
                  </a:cubicBezTo>
                  <a:cubicBezTo>
                    <a:pt x="136" y="171"/>
                    <a:pt x="136" y="171"/>
                    <a:pt x="136" y="171"/>
                  </a:cubicBezTo>
                  <a:cubicBezTo>
                    <a:pt x="136" y="171"/>
                    <a:pt x="136" y="171"/>
                    <a:pt x="136" y="171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5" y="171"/>
                    <a:pt x="135" y="171"/>
                    <a:pt x="135" y="171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4" y="169"/>
                    <a:pt x="134" y="169"/>
                    <a:pt x="134" y="169"/>
                  </a:cubicBezTo>
                  <a:cubicBezTo>
                    <a:pt x="134" y="168"/>
                    <a:pt x="134" y="168"/>
                    <a:pt x="134" y="168"/>
                  </a:cubicBezTo>
                  <a:cubicBezTo>
                    <a:pt x="134" y="168"/>
                    <a:pt x="134" y="168"/>
                    <a:pt x="134" y="168"/>
                  </a:cubicBezTo>
                  <a:cubicBezTo>
                    <a:pt x="134" y="168"/>
                    <a:pt x="134" y="168"/>
                    <a:pt x="134" y="168"/>
                  </a:cubicBezTo>
                  <a:cubicBezTo>
                    <a:pt x="132" y="166"/>
                    <a:pt x="132" y="166"/>
                    <a:pt x="132" y="166"/>
                  </a:cubicBezTo>
                  <a:cubicBezTo>
                    <a:pt x="132" y="166"/>
                    <a:pt x="132" y="166"/>
                    <a:pt x="132" y="166"/>
                  </a:cubicBezTo>
                  <a:cubicBezTo>
                    <a:pt x="133" y="163"/>
                    <a:pt x="133" y="163"/>
                    <a:pt x="133" y="163"/>
                  </a:cubicBezTo>
                  <a:cubicBezTo>
                    <a:pt x="133" y="162"/>
                    <a:pt x="133" y="162"/>
                    <a:pt x="133" y="162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161"/>
                    <a:pt x="134" y="161"/>
                    <a:pt x="134" y="161"/>
                  </a:cubicBezTo>
                  <a:cubicBezTo>
                    <a:pt x="134" y="164"/>
                    <a:pt x="134" y="164"/>
                    <a:pt x="134" y="164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36" y="167"/>
                    <a:pt x="136" y="167"/>
                    <a:pt x="136" y="167"/>
                  </a:cubicBezTo>
                  <a:cubicBezTo>
                    <a:pt x="136" y="168"/>
                    <a:pt x="136" y="168"/>
                    <a:pt x="136" y="168"/>
                  </a:cubicBezTo>
                  <a:cubicBezTo>
                    <a:pt x="136" y="169"/>
                    <a:pt x="136" y="169"/>
                    <a:pt x="136" y="169"/>
                  </a:cubicBezTo>
                  <a:cubicBezTo>
                    <a:pt x="136" y="170"/>
                    <a:pt x="136" y="170"/>
                    <a:pt x="136" y="170"/>
                  </a:cubicBezTo>
                  <a:cubicBezTo>
                    <a:pt x="136" y="169"/>
                    <a:pt x="136" y="169"/>
                    <a:pt x="136" y="169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69"/>
                    <a:pt x="138" y="169"/>
                    <a:pt x="138" y="169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7" y="170"/>
                    <a:pt x="137" y="170"/>
                    <a:pt x="137" y="170"/>
                  </a:cubicBezTo>
                  <a:cubicBezTo>
                    <a:pt x="137" y="171"/>
                    <a:pt x="137" y="171"/>
                    <a:pt x="137" y="171"/>
                  </a:cubicBezTo>
                  <a:cubicBezTo>
                    <a:pt x="137" y="172"/>
                    <a:pt x="137" y="172"/>
                    <a:pt x="137" y="172"/>
                  </a:cubicBezTo>
                  <a:cubicBezTo>
                    <a:pt x="137" y="172"/>
                    <a:pt x="137" y="172"/>
                    <a:pt x="137" y="172"/>
                  </a:cubicBezTo>
                  <a:cubicBezTo>
                    <a:pt x="138" y="172"/>
                    <a:pt x="138" y="172"/>
                    <a:pt x="138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4" y="170"/>
                    <a:pt x="144" y="170"/>
                    <a:pt x="144" y="170"/>
                  </a:cubicBezTo>
                  <a:cubicBezTo>
                    <a:pt x="145" y="170"/>
                    <a:pt x="145" y="170"/>
                    <a:pt x="145" y="170"/>
                  </a:cubicBezTo>
                  <a:cubicBezTo>
                    <a:pt x="146" y="169"/>
                    <a:pt x="146" y="169"/>
                    <a:pt x="146" y="169"/>
                  </a:cubicBezTo>
                  <a:cubicBezTo>
                    <a:pt x="146" y="168"/>
                    <a:pt x="146" y="168"/>
                    <a:pt x="146" y="168"/>
                  </a:cubicBezTo>
                  <a:cubicBezTo>
                    <a:pt x="147" y="167"/>
                    <a:pt x="147" y="167"/>
                    <a:pt x="147" y="167"/>
                  </a:cubicBezTo>
                  <a:cubicBezTo>
                    <a:pt x="147" y="166"/>
                    <a:pt x="147" y="166"/>
                    <a:pt x="147" y="166"/>
                  </a:cubicBezTo>
                  <a:cubicBezTo>
                    <a:pt x="148" y="165"/>
                    <a:pt x="148" y="165"/>
                    <a:pt x="148" y="165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4" y="158"/>
                    <a:pt x="154" y="158"/>
                    <a:pt x="154" y="158"/>
                  </a:cubicBezTo>
                  <a:cubicBezTo>
                    <a:pt x="156" y="157"/>
                    <a:pt x="156" y="157"/>
                    <a:pt x="156" y="157"/>
                  </a:cubicBezTo>
                  <a:cubicBezTo>
                    <a:pt x="156" y="156"/>
                    <a:pt x="156" y="156"/>
                    <a:pt x="156" y="156"/>
                  </a:cubicBezTo>
                  <a:cubicBezTo>
                    <a:pt x="157" y="155"/>
                    <a:pt x="157" y="155"/>
                    <a:pt x="157" y="155"/>
                  </a:cubicBezTo>
                  <a:cubicBezTo>
                    <a:pt x="157" y="154"/>
                    <a:pt x="157" y="154"/>
                    <a:pt x="157" y="154"/>
                  </a:cubicBezTo>
                  <a:cubicBezTo>
                    <a:pt x="157" y="152"/>
                    <a:pt x="157" y="152"/>
                    <a:pt x="157" y="152"/>
                  </a:cubicBezTo>
                  <a:cubicBezTo>
                    <a:pt x="158" y="152"/>
                    <a:pt x="158" y="152"/>
                    <a:pt x="158" y="152"/>
                  </a:cubicBezTo>
                  <a:cubicBezTo>
                    <a:pt x="159" y="152"/>
                    <a:pt x="159" y="152"/>
                    <a:pt x="159" y="152"/>
                  </a:cubicBezTo>
                  <a:cubicBezTo>
                    <a:pt x="160" y="153"/>
                    <a:pt x="160" y="153"/>
                    <a:pt x="160" y="153"/>
                  </a:cubicBezTo>
                  <a:cubicBezTo>
                    <a:pt x="160" y="153"/>
                    <a:pt x="160" y="153"/>
                    <a:pt x="160" y="153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0" y="155"/>
                    <a:pt x="160" y="155"/>
                    <a:pt x="160" y="155"/>
                  </a:cubicBezTo>
                  <a:cubicBezTo>
                    <a:pt x="160" y="156"/>
                    <a:pt x="160" y="156"/>
                    <a:pt x="160" y="156"/>
                  </a:cubicBezTo>
                  <a:cubicBezTo>
                    <a:pt x="161" y="155"/>
                    <a:pt x="161" y="155"/>
                    <a:pt x="161" y="155"/>
                  </a:cubicBezTo>
                  <a:cubicBezTo>
                    <a:pt x="162" y="155"/>
                    <a:pt x="162" y="155"/>
                    <a:pt x="162" y="155"/>
                  </a:cubicBezTo>
                  <a:cubicBezTo>
                    <a:pt x="162" y="154"/>
                    <a:pt x="162" y="154"/>
                    <a:pt x="162" y="154"/>
                  </a:cubicBezTo>
                  <a:cubicBezTo>
                    <a:pt x="162" y="153"/>
                    <a:pt x="162" y="153"/>
                    <a:pt x="162" y="153"/>
                  </a:cubicBezTo>
                  <a:cubicBezTo>
                    <a:pt x="163" y="153"/>
                    <a:pt x="163" y="153"/>
                    <a:pt x="163" y="153"/>
                  </a:cubicBezTo>
                  <a:cubicBezTo>
                    <a:pt x="164" y="154"/>
                    <a:pt x="164" y="154"/>
                    <a:pt x="164" y="154"/>
                  </a:cubicBezTo>
                  <a:cubicBezTo>
                    <a:pt x="164" y="155"/>
                    <a:pt x="164" y="155"/>
                    <a:pt x="164" y="155"/>
                  </a:cubicBezTo>
                  <a:cubicBezTo>
                    <a:pt x="165" y="155"/>
                    <a:pt x="165" y="155"/>
                    <a:pt x="165" y="155"/>
                  </a:cubicBezTo>
                  <a:cubicBezTo>
                    <a:pt x="165" y="154"/>
                    <a:pt x="165" y="154"/>
                    <a:pt x="165" y="154"/>
                  </a:cubicBezTo>
                  <a:cubicBezTo>
                    <a:pt x="165" y="153"/>
                    <a:pt x="165" y="153"/>
                    <a:pt x="165" y="153"/>
                  </a:cubicBezTo>
                  <a:cubicBezTo>
                    <a:pt x="166" y="152"/>
                    <a:pt x="166" y="152"/>
                    <a:pt x="166" y="152"/>
                  </a:cubicBezTo>
                  <a:cubicBezTo>
                    <a:pt x="167" y="152"/>
                    <a:pt x="167" y="152"/>
                    <a:pt x="167" y="152"/>
                  </a:cubicBezTo>
                  <a:cubicBezTo>
                    <a:pt x="167" y="151"/>
                    <a:pt x="167" y="151"/>
                    <a:pt x="167" y="151"/>
                  </a:cubicBezTo>
                  <a:cubicBezTo>
                    <a:pt x="169" y="152"/>
                    <a:pt x="169" y="152"/>
                    <a:pt x="169" y="152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70" y="151"/>
                    <a:pt x="170" y="151"/>
                    <a:pt x="170" y="151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1" y="151"/>
                    <a:pt x="171" y="151"/>
                    <a:pt x="171" y="151"/>
                  </a:cubicBezTo>
                  <a:cubicBezTo>
                    <a:pt x="173" y="150"/>
                    <a:pt x="173" y="150"/>
                    <a:pt x="173" y="150"/>
                  </a:cubicBezTo>
                  <a:cubicBezTo>
                    <a:pt x="173" y="150"/>
                    <a:pt x="173" y="150"/>
                    <a:pt x="173" y="150"/>
                  </a:cubicBezTo>
                  <a:cubicBezTo>
                    <a:pt x="173" y="150"/>
                    <a:pt x="173" y="150"/>
                    <a:pt x="173" y="150"/>
                  </a:cubicBezTo>
                  <a:cubicBezTo>
                    <a:pt x="173" y="149"/>
                    <a:pt x="173" y="149"/>
                    <a:pt x="173" y="149"/>
                  </a:cubicBezTo>
                  <a:cubicBezTo>
                    <a:pt x="173" y="149"/>
                    <a:pt x="173" y="149"/>
                    <a:pt x="173" y="149"/>
                  </a:cubicBezTo>
                  <a:cubicBezTo>
                    <a:pt x="173" y="148"/>
                    <a:pt x="173" y="148"/>
                    <a:pt x="173" y="148"/>
                  </a:cubicBezTo>
                  <a:cubicBezTo>
                    <a:pt x="172" y="148"/>
                    <a:pt x="172" y="148"/>
                    <a:pt x="172" y="148"/>
                  </a:cubicBezTo>
                  <a:cubicBezTo>
                    <a:pt x="171" y="148"/>
                    <a:pt x="171" y="148"/>
                    <a:pt x="171" y="148"/>
                  </a:cubicBezTo>
                  <a:cubicBezTo>
                    <a:pt x="169" y="147"/>
                    <a:pt x="169" y="147"/>
                    <a:pt x="169" y="147"/>
                  </a:cubicBezTo>
                  <a:cubicBezTo>
                    <a:pt x="168" y="147"/>
                    <a:pt x="168" y="147"/>
                    <a:pt x="168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67" y="147"/>
                    <a:pt x="167" y="147"/>
                    <a:pt x="167" y="147"/>
                  </a:cubicBezTo>
                  <a:cubicBezTo>
                    <a:pt x="167" y="146"/>
                    <a:pt x="167" y="146"/>
                    <a:pt x="167" y="146"/>
                  </a:cubicBezTo>
                  <a:cubicBezTo>
                    <a:pt x="168" y="146"/>
                    <a:pt x="168" y="146"/>
                    <a:pt x="168" y="146"/>
                  </a:cubicBezTo>
                  <a:cubicBezTo>
                    <a:pt x="169" y="146"/>
                    <a:pt x="169" y="146"/>
                    <a:pt x="169" y="146"/>
                  </a:cubicBezTo>
                  <a:cubicBezTo>
                    <a:pt x="169" y="146"/>
                    <a:pt x="169" y="146"/>
                    <a:pt x="169" y="146"/>
                  </a:cubicBezTo>
                  <a:cubicBezTo>
                    <a:pt x="170" y="146"/>
                    <a:pt x="170" y="146"/>
                    <a:pt x="170" y="146"/>
                  </a:cubicBezTo>
                  <a:cubicBezTo>
                    <a:pt x="169" y="145"/>
                    <a:pt x="169" y="145"/>
                    <a:pt x="169" y="145"/>
                  </a:cubicBezTo>
                  <a:cubicBezTo>
                    <a:pt x="170" y="145"/>
                    <a:pt x="170" y="145"/>
                    <a:pt x="170" y="145"/>
                  </a:cubicBezTo>
                  <a:cubicBezTo>
                    <a:pt x="170" y="145"/>
                    <a:pt x="170" y="145"/>
                    <a:pt x="170" y="145"/>
                  </a:cubicBezTo>
                  <a:cubicBezTo>
                    <a:pt x="171" y="144"/>
                    <a:pt x="171" y="144"/>
                    <a:pt x="171" y="144"/>
                  </a:cubicBezTo>
                  <a:cubicBezTo>
                    <a:pt x="171" y="143"/>
                    <a:pt x="171" y="143"/>
                    <a:pt x="171" y="143"/>
                  </a:cubicBezTo>
                  <a:cubicBezTo>
                    <a:pt x="171" y="143"/>
                    <a:pt x="171" y="143"/>
                    <a:pt x="171" y="143"/>
                  </a:cubicBezTo>
                  <a:cubicBezTo>
                    <a:pt x="170" y="143"/>
                    <a:pt x="170" y="143"/>
                    <a:pt x="170" y="143"/>
                  </a:cubicBezTo>
                  <a:cubicBezTo>
                    <a:pt x="169" y="143"/>
                    <a:pt x="169" y="143"/>
                    <a:pt x="169" y="143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70" y="142"/>
                    <a:pt x="170" y="142"/>
                    <a:pt x="170" y="142"/>
                  </a:cubicBezTo>
                  <a:cubicBezTo>
                    <a:pt x="171" y="142"/>
                    <a:pt x="171" y="142"/>
                    <a:pt x="171" y="142"/>
                  </a:cubicBezTo>
                  <a:cubicBezTo>
                    <a:pt x="171" y="142"/>
                    <a:pt x="171" y="142"/>
                    <a:pt x="171" y="142"/>
                  </a:cubicBezTo>
                  <a:cubicBezTo>
                    <a:pt x="171" y="142"/>
                    <a:pt x="171" y="142"/>
                    <a:pt x="171" y="142"/>
                  </a:cubicBezTo>
                  <a:cubicBezTo>
                    <a:pt x="172" y="141"/>
                    <a:pt x="172" y="141"/>
                    <a:pt x="172" y="141"/>
                  </a:cubicBezTo>
                  <a:cubicBezTo>
                    <a:pt x="172" y="140"/>
                    <a:pt x="172" y="140"/>
                    <a:pt x="172" y="140"/>
                  </a:cubicBezTo>
                  <a:cubicBezTo>
                    <a:pt x="172" y="139"/>
                    <a:pt x="172" y="139"/>
                    <a:pt x="172" y="139"/>
                  </a:cubicBezTo>
                  <a:cubicBezTo>
                    <a:pt x="172" y="138"/>
                    <a:pt x="172" y="138"/>
                    <a:pt x="172" y="138"/>
                  </a:cubicBezTo>
                  <a:cubicBezTo>
                    <a:pt x="170" y="138"/>
                    <a:pt x="170" y="138"/>
                    <a:pt x="170" y="138"/>
                  </a:cubicBezTo>
                  <a:cubicBezTo>
                    <a:pt x="170" y="137"/>
                    <a:pt x="170" y="137"/>
                    <a:pt x="170" y="137"/>
                  </a:cubicBezTo>
                  <a:cubicBezTo>
                    <a:pt x="171" y="137"/>
                    <a:pt x="171" y="137"/>
                    <a:pt x="171" y="137"/>
                  </a:cubicBezTo>
                  <a:cubicBezTo>
                    <a:pt x="172" y="137"/>
                    <a:pt x="172" y="137"/>
                    <a:pt x="172" y="137"/>
                  </a:cubicBezTo>
                  <a:cubicBezTo>
                    <a:pt x="173" y="136"/>
                    <a:pt x="173" y="136"/>
                    <a:pt x="173" y="136"/>
                  </a:cubicBezTo>
                  <a:cubicBezTo>
                    <a:pt x="173" y="136"/>
                    <a:pt x="173" y="136"/>
                    <a:pt x="173" y="136"/>
                  </a:cubicBezTo>
                  <a:cubicBezTo>
                    <a:pt x="174" y="135"/>
                    <a:pt x="174" y="135"/>
                    <a:pt x="174" y="135"/>
                  </a:cubicBezTo>
                  <a:cubicBezTo>
                    <a:pt x="174" y="135"/>
                    <a:pt x="174" y="135"/>
                    <a:pt x="174" y="135"/>
                  </a:cubicBezTo>
                  <a:cubicBezTo>
                    <a:pt x="173" y="134"/>
                    <a:pt x="173" y="134"/>
                    <a:pt x="173" y="134"/>
                  </a:cubicBezTo>
                  <a:cubicBezTo>
                    <a:pt x="173" y="134"/>
                    <a:pt x="173" y="134"/>
                    <a:pt x="173" y="134"/>
                  </a:cubicBezTo>
                  <a:cubicBezTo>
                    <a:pt x="172" y="134"/>
                    <a:pt x="172" y="134"/>
                    <a:pt x="172" y="134"/>
                  </a:cubicBezTo>
                  <a:cubicBezTo>
                    <a:pt x="167" y="138"/>
                    <a:pt x="167" y="138"/>
                    <a:pt x="167" y="138"/>
                  </a:cubicBezTo>
                  <a:cubicBezTo>
                    <a:pt x="165" y="139"/>
                    <a:pt x="165" y="139"/>
                    <a:pt x="165" y="139"/>
                  </a:cubicBezTo>
                  <a:cubicBezTo>
                    <a:pt x="165" y="138"/>
                    <a:pt x="165" y="138"/>
                    <a:pt x="165" y="138"/>
                  </a:cubicBezTo>
                  <a:cubicBezTo>
                    <a:pt x="165" y="138"/>
                    <a:pt x="165" y="138"/>
                    <a:pt x="165" y="138"/>
                  </a:cubicBezTo>
                  <a:cubicBezTo>
                    <a:pt x="166" y="137"/>
                    <a:pt x="166" y="137"/>
                    <a:pt x="166" y="137"/>
                  </a:cubicBezTo>
                  <a:cubicBezTo>
                    <a:pt x="166" y="136"/>
                    <a:pt x="166" y="136"/>
                    <a:pt x="166" y="136"/>
                  </a:cubicBezTo>
                  <a:cubicBezTo>
                    <a:pt x="166" y="135"/>
                    <a:pt x="166" y="135"/>
                    <a:pt x="166" y="135"/>
                  </a:cubicBezTo>
                  <a:cubicBezTo>
                    <a:pt x="166" y="134"/>
                    <a:pt x="166" y="134"/>
                    <a:pt x="166" y="134"/>
                  </a:cubicBezTo>
                  <a:cubicBezTo>
                    <a:pt x="166" y="134"/>
                    <a:pt x="166" y="134"/>
                    <a:pt x="166" y="134"/>
                  </a:cubicBezTo>
                  <a:cubicBezTo>
                    <a:pt x="167" y="133"/>
                    <a:pt x="167" y="133"/>
                    <a:pt x="167" y="133"/>
                  </a:cubicBezTo>
                  <a:cubicBezTo>
                    <a:pt x="167" y="132"/>
                    <a:pt x="167" y="132"/>
                    <a:pt x="167" y="132"/>
                  </a:cubicBezTo>
                  <a:cubicBezTo>
                    <a:pt x="168" y="131"/>
                    <a:pt x="168" y="131"/>
                    <a:pt x="168" y="131"/>
                  </a:cubicBezTo>
                  <a:cubicBezTo>
                    <a:pt x="167" y="130"/>
                    <a:pt x="167" y="130"/>
                    <a:pt x="167" y="130"/>
                  </a:cubicBezTo>
                  <a:cubicBezTo>
                    <a:pt x="167" y="130"/>
                    <a:pt x="167" y="130"/>
                    <a:pt x="167" y="130"/>
                  </a:cubicBezTo>
                  <a:cubicBezTo>
                    <a:pt x="166" y="130"/>
                    <a:pt x="166" y="130"/>
                    <a:pt x="166" y="130"/>
                  </a:cubicBezTo>
                  <a:cubicBezTo>
                    <a:pt x="166" y="129"/>
                    <a:pt x="166" y="129"/>
                    <a:pt x="166" y="129"/>
                  </a:cubicBezTo>
                  <a:cubicBezTo>
                    <a:pt x="165" y="128"/>
                    <a:pt x="165" y="128"/>
                    <a:pt x="165" y="128"/>
                  </a:cubicBezTo>
                  <a:cubicBezTo>
                    <a:pt x="165" y="127"/>
                    <a:pt x="165" y="127"/>
                    <a:pt x="165" y="127"/>
                  </a:cubicBezTo>
                  <a:cubicBezTo>
                    <a:pt x="165" y="126"/>
                    <a:pt x="165" y="126"/>
                    <a:pt x="165" y="126"/>
                  </a:cubicBezTo>
                  <a:cubicBezTo>
                    <a:pt x="166" y="125"/>
                    <a:pt x="166" y="125"/>
                    <a:pt x="166" y="125"/>
                  </a:cubicBezTo>
                  <a:cubicBezTo>
                    <a:pt x="166" y="124"/>
                    <a:pt x="166" y="124"/>
                    <a:pt x="166" y="124"/>
                  </a:cubicBezTo>
                  <a:cubicBezTo>
                    <a:pt x="166" y="122"/>
                    <a:pt x="166" y="122"/>
                    <a:pt x="166" y="122"/>
                  </a:cubicBezTo>
                  <a:cubicBezTo>
                    <a:pt x="166" y="121"/>
                    <a:pt x="166" y="121"/>
                    <a:pt x="166" y="121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7" y="119"/>
                    <a:pt x="167" y="119"/>
                    <a:pt x="167" y="119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8" y="118"/>
                    <a:pt x="168" y="118"/>
                    <a:pt x="168" y="118"/>
                  </a:cubicBezTo>
                  <a:cubicBezTo>
                    <a:pt x="169" y="117"/>
                    <a:pt x="169" y="117"/>
                    <a:pt x="169" y="117"/>
                  </a:cubicBezTo>
                  <a:cubicBezTo>
                    <a:pt x="169" y="117"/>
                    <a:pt x="169" y="117"/>
                    <a:pt x="169" y="117"/>
                  </a:cubicBezTo>
                  <a:cubicBezTo>
                    <a:pt x="169" y="117"/>
                    <a:pt x="169" y="117"/>
                    <a:pt x="169" y="117"/>
                  </a:cubicBezTo>
                  <a:cubicBezTo>
                    <a:pt x="169" y="116"/>
                    <a:pt x="169" y="116"/>
                    <a:pt x="169" y="116"/>
                  </a:cubicBezTo>
                  <a:cubicBezTo>
                    <a:pt x="169" y="115"/>
                    <a:pt x="169" y="115"/>
                    <a:pt x="169" y="115"/>
                  </a:cubicBezTo>
                  <a:cubicBezTo>
                    <a:pt x="168" y="115"/>
                    <a:pt x="168" y="115"/>
                    <a:pt x="168" y="115"/>
                  </a:cubicBezTo>
                  <a:cubicBezTo>
                    <a:pt x="168" y="114"/>
                    <a:pt x="168" y="114"/>
                    <a:pt x="168" y="114"/>
                  </a:cubicBezTo>
                  <a:cubicBezTo>
                    <a:pt x="168" y="114"/>
                    <a:pt x="168" y="114"/>
                    <a:pt x="168" y="114"/>
                  </a:cubicBezTo>
                  <a:cubicBezTo>
                    <a:pt x="167" y="114"/>
                    <a:pt x="167" y="114"/>
                    <a:pt x="167" y="114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7" y="113"/>
                    <a:pt x="167" y="113"/>
                    <a:pt x="167" y="113"/>
                  </a:cubicBezTo>
                  <a:cubicBezTo>
                    <a:pt x="166" y="112"/>
                    <a:pt x="166" y="112"/>
                    <a:pt x="166" y="112"/>
                  </a:cubicBezTo>
                  <a:cubicBezTo>
                    <a:pt x="166" y="112"/>
                    <a:pt x="166" y="112"/>
                    <a:pt x="166" y="112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7" y="111"/>
                    <a:pt x="167" y="111"/>
                    <a:pt x="167" y="111"/>
                  </a:cubicBezTo>
                  <a:cubicBezTo>
                    <a:pt x="166" y="111"/>
                    <a:pt x="166" y="111"/>
                    <a:pt x="166" y="111"/>
                  </a:cubicBezTo>
                  <a:cubicBezTo>
                    <a:pt x="166" y="111"/>
                    <a:pt x="166" y="111"/>
                    <a:pt x="166" y="111"/>
                  </a:cubicBezTo>
                  <a:cubicBezTo>
                    <a:pt x="166" y="110"/>
                    <a:pt x="166" y="110"/>
                    <a:pt x="166" y="110"/>
                  </a:cubicBezTo>
                  <a:cubicBezTo>
                    <a:pt x="167" y="110"/>
                    <a:pt x="167" y="110"/>
                    <a:pt x="167" y="110"/>
                  </a:cubicBezTo>
                  <a:cubicBezTo>
                    <a:pt x="167" y="110"/>
                    <a:pt x="167" y="110"/>
                    <a:pt x="167" y="110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8" y="109"/>
                    <a:pt x="168" y="109"/>
                    <a:pt x="168" y="109"/>
                  </a:cubicBezTo>
                  <a:cubicBezTo>
                    <a:pt x="167" y="109"/>
                    <a:pt x="167" y="109"/>
                    <a:pt x="167" y="109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67" y="108"/>
                    <a:pt x="167" y="108"/>
                    <a:pt x="167" y="108"/>
                  </a:cubicBezTo>
                  <a:cubicBezTo>
                    <a:pt x="167" y="107"/>
                    <a:pt x="167" y="107"/>
                    <a:pt x="167" y="107"/>
                  </a:cubicBezTo>
                  <a:cubicBezTo>
                    <a:pt x="167" y="107"/>
                    <a:pt x="167" y="107"/>
                    <a:pt x="167" y="107"/>
                  </a:cubicBezTo>
                  <a:cubicBezTo>
                    <a:pt x="168" y="106"/>
                    <a:pt x="168" y="106"/>
                    <a:pt x="168" y="106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69" y="104"/>
                    <a:pt x="169" y="104"/>
                    <a:pt x="169" y="104"/>
                  </a:cubicBezTo>
                  <a:cubicBezTo>
                    <a:pt x="169" y="104"/>
                    <a:pt x="169" y="104"/>
                    <a:pt x="169" y="104"/>
                  </a:cubicBezTo>
                  <a:cubicBezTo>
                    <a:pt x="169" y="103"/>
                    <a:pt x="169" y="103"/>
                    <a:pt x="169" y="103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68" y="103"/>
                    <a:pt x="168" y="103"/>
                    <a:pt x="168" y="103"/>
                  </a:cubicBezTo>
                  <a:cubicBezTo>
                    <a:pt x="168" y="102"/>
                    <a:pt x="168" y="102"/>
                    <a:pt x="168" y="102"/>
                  </a:cubicBezTo>
                  <a:cubicBezTo>
                    <a:pt x="170" y="100"/>
                    <a:pt x="170" y="100"/>
                    <a:pt x="170" y="100"/>
                  </a:cubicBezTo>
                  <a:cubicBezTo>
                    <a:pt x="171" y="98"/>
                    <a:pt x="171" y="98"/>
                    <a:pt x="171" y="98"/>
                  </a:cubicBezTo>
                  <a:cubicBezTo>
                    <a:pt x="171" y="97"/>
                    <a:pt x="171" y="97"/>
                    <a:pt x="171" y="97"/>
                  </a:cubicBezTo>
                  <a:cubicBezTo>
                    <a:pt x="172" y="97"/>
                    <a:pt x="172" y="97"/>
                    <a:pt x="172" y="97"/>
                  </a:cubicBezTo>
                  <a:cubicBezTo>
                    <a:pt x="172" y="97"/>
                    <a:pt x="172" y="97"/>
                    <a:pt x="172" y="97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6"/>
                    <a:pt x="173" y="96"/>
                    <a:pt x="173" y="96"/>
                  </a:cubicBezTo>
                  <a:cubicBezTo>
                    <a:pt x="173" y="95"/>
                    <a:pt x="173" y="95"/>
                    <a:pt x="173" y="95"/>
                  </a:cubicBezTo>
                  <a:cubicBezTo>
                    <a:pt x="173" y="94"/>
                    <a:pt x="173" y="94"/>
                    <a:pt x="173" y="94"/>
                  </a:cubicBezTo>
                  <a:cubicBezTo>
                    <a:pt x="173" y="94"/>
                    <a:pt x="173" y="94"/>
                    <a:pt x="173" y="94"/>
                  </a:cubicBezTo>
                  <a:cubicBezTo>
                    <a:pt x="173" y="93"/>
                    <a:pt x="173" y="93"/>
                    <a:pt x="173" y="93"/>
                  </a:cubicBezTo>
                  <a:cubicBezTo>
                    <a:pt x="176" y="90"/>
                    <a:pt x="176" y="90"/>
                    <a:pt x="176" y="90"/>
                  </a:cubicBezTo>
                  <a:cubicBezTo>
                    <a:pt x="176" y="90"/>
                    <a:pt x="176" y="90"/>
                    <a:pt x="176" y="90"/>
                  </a:cubicBezTo>
                  <a:cubicBezTo>
                    <a:pt x="176" y="89"/>
                    <a:pt x="176" y="89"/>
                    <a:pt x="176" y="89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76" y="88"/>
                    <a:pt x="176" y="88"/>
                    <a:pt x="176" y="88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78" y="86"/>
                    <a:pt x="178" y="86"/>
                    <a:pt x="178" y="86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9" y="82"/>
                    <a:pt x="179" y="82"/>
                    <a:pt x="179" y="82"/>
                  </a:cubicBezTo>
                  <a:cubicBezTo>
                    <a:pt x="181" y="80"/>
                    <a:pt x="181" y="80"/>
                    <a:pt x="181" y="80"/>
                  </a:cubicBezTo>
                  <a:cubicBezTo>
                    <a:pt x="182" y="79"/>
                    <a:pt x="182" y="79"/>
                    <a:pt x="182" y="79"/>
                  </a:cubicBezTo>
                  <a:cubicBezTo>
                    <a:pt x="182" y="79"/>
                    <a:pt x="182" y="79"/>
                    <a:pt x="182" y="79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185" y="78"/>
                    <a:pt x="185" y="78"/>
                    <a:pt x="185" y="78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6" y="78"/>
                    <a:pt x="186" y="78"/>
                    <a:pt x="186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7" y="78"/>
                    <a:pt x="187" y="78"/>
                    <a:pt x="187" y="78"/>
                  </a:cubicBezTo>
                  <a:cubicBezTo>
                    <a:pt x="188" y="78"/>
                    <a:pt x="188" y="78"/>
                    <a:pt x="188" y="78"/>
                  </a:cubicBezTo>
                  <a:cubicBezTo>
                    <a:pt x="188" y="78"/>
                    <a:pt x="188" y="78"/>
                    <a:pt x="188" y="78"/>
                  </a:cubicBezTo>
                  <a:cubicBezTo>
                    <a:pt x="188" y="79"/>
                    <a:pt x="188" y="79"/>
                    <a:pt x="188" y="79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89" y="80"/>
                    <a:pt x="189" y="80"/>
                    <a:pt x="189" y="80"/>
                  </a:cubicBezTo>
                  <a:cubicBezTo>
                    <a:pt x="190" y="80"/>
                    <a:pt x="190" y="80"/>
                    <a:pt x="190" y="80"/>
                  </a:cubicBezTo>
                  <a:cubicBezTo>
                    <a:pt x="190" y="80"/>
                    <a:pt x="190" y="80"/>
                    <a:pt x="190" y="80"/>
                  </a:cubicBezTo>
                  <a:cubicBezTo>
                    <a:pt x="191" y="80"/>
                    <a:pt x="191" y="80"/>
                    <a:pt x="191" y="80"/>
                  </a:cubicBezTo>
                  <a:cubicBezTo>
                    <a:pt x="192" y="80"/>
                    <a:pt x="192" y="80"/>
                    <a:pt x="192" y="80"/>
                  </a:cubicBezTo>
                  <a:cubicBezTo>
                    <a:pt x="192" y="79"/>
                    <a:pt x="192" y="79"/>
                    <a:pt x="192" y="79"/>
                  </a:cubicBezTo>
                  <a:cubicBezTo>
                    <a:pt x="192" y="78"/>
                    <a:pt x="192" y="78"/>
                    <a:pt x="192" y="78"/>
                  </a:cubicBezTo>
                  <a:cubicBezTo>
                    <a:pt x="192" y="77"/>
                    <a:pt x="192" y="77"/>
                    <a:pt x="192" y="77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0" y="75"/>
                    <a:pt x="190" y="75"/>
                    <a:pt x="190" y="75"/>
                  </a:cubicBezTo>
                  <a:cubicBezTo>
                    <a:pt x="190" y="75"/>
                    <a:pt x="190" y="75"/>
                    <a:pt x="190" y="75"/>
                  </a:cubicBezTo>
                  <a:cubicBezTo>
                    <a:pt x="190" y="75"/>
                    <a:pt x="190" y="75"/>
                    <a:pt x="190" y="75"/>
                  </a:cubicBezTo>
                  <a:cubicBezTo>
                    <a:pt x="190" y="75"/>
                    <a:pt x="190" y="75"/>
                    <a:pt x="190" y="75"/>
                  </a:cubicBezTo>
                  <a:cubicBezTo>
                    <a:pt x="189" y="74"/>
                    <a:pt x="189" y="74"/>
                    <a:pt x="189" y="74"/>
                  </a:cubicBezTo>
                  <a:cubicBezTo>
                    <a:pt x="189" y="72"/>
                    <a:pt x="189" y="72"/>
                    <a:pt x="189" y="72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87" y="69"/>
                    <a:pt x="187" y="69"/>
                    <a:pt x="187" y="69"/>
                  </a:cubicBezTo>
                  <a:cubicBezTo>
                    <a:pt x="186" y="67"/>
                    <a:pt x="186" y="67"/>
                    <a:pt x="186" y="67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5" y="66"/>
                    <a:pt x="185" y="66"/>
                    <a:pt x="185" y="66"/>
                  </a:cubicBezTo>
                  <a:cubicBezTo>
                    <a:pt x="186" y="65"/>
                    <a:pt x="186" y="65"/>
                    <a:pt x="186" y="65"/>
                  </a:cubicBezTo>
                  <a:cubicBezTo>
                    <a:pt x="186" y="65"/>
                    <a:pt x="186" y="65"/>
                    <a:pt x="186" y="65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7" y="65"/>
                    <a:pt x="187" y="65"/>
                    <a:pt x="187" y="65"/>
                  </a:cubicBezTo>
                  <a:cubicBezTo>
                    <a:pt x="187" y="66"/>
                    <a:pt x="187" y="66"/>
                    <a:pt x="187" y="66"/>
                  </a:cubicBezTo>
                  <a:cubicBezTo>
                    <a:pt x="189" y="67"/>
                    <a:pt x="189" y="67"/>
                    <a:pt x="189" y="67"/>
                  </a:cubicBezTo>
                  <a:cubicBezTo>
                    <a:pt x="190" y="67"/>
                    <a:pt x="190" y="67"/>
                    <a:pt x="190" y="67"/>
                  </a:cubicBezTo>
                  <a:cubicBezTo>
                    <a:pt x="190" y="68"/>
                    <a:pt x="190" y="68"/>
                    <a:pt x="190" y="68"/>
                  </a:cubicBezTo>
                  <a:cubicBezTo>
                    <a:pt x="191" y="71"/>
                    <a:pt x="191" y="71"/>
                    <a:pt x="191" y="71"/>
                  </a:cubicBezTo>
                  <a:cubicBezTo>
                    <a:pt x="192" y="73"/>
                    <a:pt x="192" y="73"/>
                    <a:pt x="192" y="73"/>
                  </a:cubicBezTo>
                  <a:cubicBezTo>
                    <a:pt x="193" y="74"/>
                    <a:pt x="193" y="74"/>
                    <a:pt x="193" y="74"/>
                  </a:cubicBezTo>
                  <a:cubicBezTo>
                    <a:pt x="195" y="75"/>
                    <a:pt x="195" y="75"/>
                    <a:pt x="195" y="75"/>
                  </a:cubicBezTo>
                  <a:cubicBezTo>
                    <a:pt x="196" y="75"/>
                    <a:pt x="196" y="75"/>
                    <a:pt x="196" y="75"/>
                  </a:cubicBezTo>
                  <a:cubicBezTo>
                    <a:pt x="199" y="76"/>
                    <a:pt x="199" y="76"/>
                    <a:pt x="199" y="76"/>
                  </a:cubicBezTo>
                  <a:cubicBezTo>
                    <a:pt x="204" y="77"/>
                    <a:pt x="204" y="77"/>
                    <a:pt x="204" y="77"/>
                  </a:cubicBezTo>
                  <a:cubicBezTo>
                    <a:pt x="205" y="77"/>
                    <a:pt x="205" y="77"/>
                    <a:pt x="205" y="77"/>
                  </a:cubicBezTo>
                  <a:cubicBezTo>
                    <a:pt x="206" y="78"/>
                    <a:pt x="206" y="78"/>
                    <a:pt x="206" y="78"/>
                  </a:cubicBezTo>
                  <a:cubicBezTo>
                    <a:pt x="206" y="79"/>
                    <a:pt x="206" y="79"/>
                    <a:pt x="206" y="79"/>
                  </a:cubicBezTo>
                  <a:cubicBezTo>
                    <a:pt x="207" y="79"/>
                    <a:pt x="207" y="79"/>
                    <a:pt x="207" y="79"/>
                  </a:cubicBezTo>
                  <a:cubicBezTo>
                    <a:pt x="207" y="79"/>
                    <a:pt x="207" y="79"/>
                    <a:pt x="207" y="79"/>
                  </a:cubicBezTo>
                  <a:cubicBezTo>
                    <a:pt x="208" y="79"/>
                    <a:pt x="208" y="79"/>
                    <a:pt x="208" y="79"/>
                  </a:cubicBezTo>
                  <a:cubicBezTo>
                    <a:pt x="208" y="79"/>
                    <a:pt x="208" y="79"/>
                    <a:pt x="208" y="79"/>
                  </a:cubicBezTo>
                  <a:cubicBezTo>
                    <a:pt x="209" y="79"/>
                    <a:pt x="209" y="79"/>
                    <a:pt x="209" y="79"/>
                  </a:cubicBezTo>
                  <a:cubicBezTo>
                    <a:pt x="209" y="78"/>
                    <a:pt x="209" y="78"/>
                    <a:pt x="209" y="78"/>
                  </a:cubicBezTo>
                  <a:cubicBezTo>
                    <a:pt x="209" y="78"/>
                    <a:pt x="209" y="78"/>
                    <a:pt x="209" y="78"/>
                  </a:cubicBezTo>
                  <a:cubicBezTo>
                    <a:pt x="211" y="78"/>
                    <a:pt x="211" y="78"/>
                    <a:pt x="211" y="78"/>
                  </a:cubicBezTo>
                  <a:cubicBezTo>
                    <a:pt x="213" y="79"/>
                    <a:pt x="213" y="79"/>
                    <a:pt x="213" y="79"/>
                  </a:cubicBezTo>
                  <a:cubicBezTo>
                    <a:pt x="214" y="79"/>
                    <a:pt x="214" y="79"/>
                    <a:pt x="214" y="79"/>
                  </a:cubicBezTo>
                  <a:cubicBezTo>
                    <a:pt x="215" y="79"/>
                    <a:pt x="215" y="79"/>
                    <a:pt x="215" y="79"/>
                  </a:cubicBezTo>
                  <a:cubicBezTo>
                    <a:pt x="215" y="79"/>
                    <a:pt x="215" y="79"/>
                    <a:pt x="215" y="79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6" y="79"/>
                    <a:pt x="216" y="79"/>
                    <a:pt x="216" y="79"/>
                  </a:cubicBezTo>
                  <a:cubicBezTo>
                    <a:pt x="219" y="78"/>
                    <a:pt x="219" y="78"/>
                    <a:pt x="219" y="78"/>
                  </a:cubicBezTo>
                  <a:cubicBezTo>
                    <a:pt x="220" y="77"/>
                    <a:pt x="220" y="77"/>
                    <a:pt x="220" y="77"/>
                  </a:cubicBezTo>
                  <a:cubicBezTo>
                    <a:pt x="221" y="77"/>
                    <a:pt x="221" y="77"/>
                    <a:pt x="221" y="77"/>
                  </a:cubicBezTo>
                  <a:cubicBezTo>
                    <a:pt x="222" y="78"/>
                    <a:pt x="222" y="78"/>
                    <a:pt x="222" y="78"/>
                  </a:cubicBezTo>
                  <a:cubicBezTo>
                    <a:pt x="222" y="78"/>
                    <a:pt x="222" y="78"/>
                    <a:pt x="222" y="78"/>
                  </a:cubicBezTo>
                  <a:cubicBezTo>
                    <a:pt x="224" y="79"/>
                    <a:pt x="224" y="79"/>
                    <a:pt x="224" y="79"/>
                  </a:cubicBezTo>
                  <a:cubicBezTo>
                    <a:pt x="225" y="79"/>
                    <a:pt x="225" y="79"/>
                    <a:pt x="225" y="79"/>
                  </a:cubicBezTo>
                  <a:cubicBezTo>
                    <a:pt x="225" y="79"/>
                    <a:pt x="225" y="79"/>
                    <a:pt x="225" y="79"/>
                  </a:cubicBezTo>
                  <a:cubicBezTo>
                    <a:pt x="226" y="79"/>
                    <a:pt x="226" y="79"/>
                    <a:pt x="226" y="79"/>
                  </a:cubicBezTo>
                  <a:cubicBezTo>
                    <a:pt x="226" y="79"/>
                    <a:pt x="226" y="79"/>
                    <a:pt x="226" y="79"/>
                  </a:cubicBezTo>
                  <a:cubicBezTo>
                    <a:pt x="227" y="79"/>
                    <a:pt x="227" y="79"/>
                    <a:pt x="227" y="79"/>
                  </a:cubicBezTo>
                  <a:cubicBezTo>
                    <a:pt x="227" y="79"/>
                    <a:pt x="227" y="79"/>
                    <a:pt x="227" y="79"/>
                  </a:cubicBezTo>
                  <a:cubicBezTo>
                    <a:pt x="228" y="78"/>
                    <a:pt x="228" y="78"/>
                    <a:pt x="228" y="78"/>
                  </a:cubicBezTo>
                  <a:cubicBezTo>
                    <a:pt x="228" y="77"/>
                    <a:pt x="228" y="77"/>
                    <a:pt x="228" y="77"/>
                  </a:cubicBezTo>
                  <a:cubicBezTo>
                    <a:pt x="229" y="76"/>
                    <a:pt x="229" y="76"/>
                    <a:pt x="229" y="76"/>
                  </a:cubicBezTo>
                  <a:cubicBezTo>
                    <a:pt x="232" y="75"/>
                    <a:pt x="232" y="75"/>
                    <a:pt x="232" y="75"/>
                  </a:cubicBezTo>
                  <a:cubicBezTo>
                    <a:pt x="233" y="75"/>
                    <a:pt x="233" y="75"/>
                    <a:pt x="233" y="75"/>
                  </a:cubicBezTo>
                  <a:cubicBezTo>
                    <a:pt x="234" y="73"/>
                    <a:pt x="234" y="73"/>
                    <a:pt x="234" y="73"/>
                  </a:cubicBezTo>
                  <a:cubicBezTo>
                    <a:pt x="235" y="72"/>
                    <a:pt x="235" y="72"/>
                    <a:pt x="235" y="72"/>
                  </a:cubicBezTo>
                  <a:cubicBezTo>
                    <a:pt x="236" y="72"/>
                    <a:pt x="236" y="72"/>
                    <a:pt x="236" y="72"/>
                  </a:cubicBezTo>
                  <a:lnTo>
                    <a:pt x="236" y="71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26" name="Freeform 118">
              <a:extLst>
                <a:ext uri="{FF2B5EF4-FFF2-40B4-BE49-F238E27FC236}">
                  <a16:creationId xmlns:a16="http://schemas.microsoft.com/office/drawing/2014/main" id="{832F806E-F19A-4D31-B25C-F0E99AE890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7685" y="987440"/>
              <a:ext cx="569119" cy="482203"/>
            </a:xfrm>
            <a:custGeom>
              <a:avLst/>
              <a:gdLst>
                <a:gd name="T0" fmla="*/ 465 w 478"/>
                <a:gd name="T1" fmla="*/ 168 h 405"/>
                <a:gd name="T2" fmla="*/ 450 w 478"/>
                <a:gd name="T3" fmla="*/ 159 h 405"/>
                <a:gd name="T4" fmla="*/ 438 w 478"/>
                <a:gd name="T5" fmla="*/ 132 h 405"/>
                <a:gd name="T6" fmla="*/ 425 w 478"/>
                <a:gd name="T7" fmla="*/ 96 h 405"/>
                <a:gd name="T8" fmla="*/ 434 w 478"/>
                <a:gd name="T9" fmla="*/ 69 h 405"/>
                <a:gd name="T10" fmla="*/ 411 w 478"/>
                <a:gd name="T11" fmla="*/ 79 h 405"/>
                <a:gd name="T12" fmla="*/ 398 w 478"/>
                <a:gd name="T13" fmla="*/ 84 h 405"/>
                <a:gd name="T14" fmla="*/ 402 w 478"/>
                <a:gd name="T15" fmla="*/ 63 h 405"/>
                <a:gd name="T16" fmla="*/ 396 w 478"/>
                <a:gd name="T17" fmla="*/ 44 h 405"/>
                <a:gd name="T18" fmla="*/ 409 w 478"/>
                <a:gd name="T19" fmla="*/ 16 h 405"/>
                <a:gd name="T20" fmla="*/ 402 w 478"/>
                <a:gd name="T21" fmla="*/ 4 h 405"/>
                <a:gd name="T22" fmla="*/ 388 w 478"/>
                <a:gd name="T23" fmla="*/ 2 h 405"/>
                <a:gd name="T24" fmla="*/ 337 w 478"/>
                <a:gd name="T25" fmla="*/ 14 h 405"/>
                <a:gd name="T26" fmla="*/ 308 w 478"/>
                <a:gd name="T27" fmla="*/ 10 h 405"/>
                <a:gd name="T28" fmla="*/ 283 w 478"/>
                <a:gd name="T29" fmla="*/ 18 h 405"/>
                <a:gd name="T30" fmla="*/ 272 w 478"/>
                <a:gd name="T31" fmla="*/ 37 h 405"/>
                <a:gd name="T32" fmla="*/ 258 w 478"/>
                <a:gd name="T33" fmla="*/ 46 h 405"/>
                <a:gd name="T34" fmla="*/ 251 w 478"/>
                <a:gd name="T35" fmla="*/ 56 h 405"/>
                <a:gd name="T36" fmla="*/ 254 w 478"/>
                <a:gd name="T37" fmla="*/ 81 h 405"/>
                <a:gd name="T38" fmla="*/ 245 w 478"/>
                <a:gd name="T39" fmla="*/ 92 h 405"/>
                <a:gd name="T40" fmla="*/ 237 w 478"/>
                <a:gd name="T41" fmla="*/ 105 h 405"/>
                <a:gd name="T42" fmla="*/ 235 w 478"/>
                <a:gd name="T43" fmla="*/ 121 h 405"/>
                <a:gd name="T44" fmla="*/ 224 w 478"/>
                <a:gd name="T45" fmla="*/ 115 h 405"/>
                <a:gd name="T46" fmla="*/ 212 w 478"/>
                <a:gd name="T47" fmla="*/ 119 h 405"/>
                <a:gd name="T48" fmla="*/ 166 w 478"/>
                <a:gd name="T49" fmla="*/ 136 h 405"/>
                <a:gd name="T50" fmla="*/ 128 w 478"/>
                <a:gd name="T51" fmla="*/ 138 h 405"/>
                <a:gd name="T52" fmla="*/ 84 w 478"/>
                <a:gd name="T53" fmla="*/ 165 h 405"/>
                <a:gd name="T54" fmla="*/ 69 w 478"/>
                <a:gd name="T55" fmla="*/ 184 h 405"/>
                <a:gd name="T56" fmla="*/ 44 w 478"/>
                <a:gd name="T57" fmla="*/ 205 h 405"/>
                <a:gd name="T58" fmla="*/ 27 w 478"/>
                <a:gd name="T59" fmla="*/ 212 h 405"/>
                <a:gd name="T60" fmla="*/ 19 w 478"/>
                <a:gd name="T61" fmla="*/ 226 h 405"/>
                <a:gd name="T62" fmla="*/ 25 w 478"/>
                <a:gd name="T63" fmla="*/ 231 h 405"/>
                <a:gd name="T64" fmla="*/ 23 w 478"/>
                <a:gd name="T65" fmla="*/ 264 h 405"/>
                <a:gd name="T66" fmla="*/ 38 w 478"/>
                <a:gd name="T67" fmla="*/ 319 h 405"/>
                <a:gd name="T68" fmla="*/ 25 w 478"/>
                <a:gd name="T69" fmla="*/ 336 h 405"/>
                <a:gd name="T70" fmla="*/ 4 w 478"/>
                <a:gd name="T71" fmla="*/ 348 h 405"/>
                <a:gd name="T72" fmla="*/ 29 w 478"/>
                <a:gd name="T73" fmla="*/ 357 h 405"/>
                <a:gd name="T74" fmla="*/ 78 w 478"/>
                <a:gd name="T75" fmla="*/ 352 h 405"/>
                <a:gd name="T76" fmla="*/ 88 w 478"/>
                <a:gd name="T77" fmla="*/ 344 h 405"/>
                <a:gd name="T78" fmla="*/ 90 w 478"/>
                <a:gd name="T79" fmla="*/ 336 h 405"/>
                <a:gd name="T80" fmla="*/ 94 w 478"/>
                <a:gd name="T81" fmla="*/ 336 h 405"/>
                <a:gd name="T82" fmla="*/ 101 w 478"/>
                <a:gd name="T83" fmla="*/ 397 h 405"/>
                <a:gd name="T84" fmla="*/ 147 w 478"/>
                <a:gd name="T85" fmla="*/ 382 h 405"/>
                <a:gd name="T86" fmla="*/ 178 w 478"/>
                <a:gd name="T87" fmla="*/ 390 h 405"/>
                <a:gd name="T88" fmla="*/ 208 w 478"/>
                <a:gd name="T89" fmla="*/ 359 h 405"/>
                <a:gd name="T90" fmla="*/ 216 w 478"/>
                <a:gd name="T91" fmla="*/ 350 h 405"/>
                <a:gd name="T92" fmla="*/ 235 w 478"/>
                <a:gd name="T93" fmla="*/ 367 h 405"/>
                <a:gd name="T94" fmla="*/ 245 w 478"/>
                <a:gd name="T95" fmla="*/ 373 h 405"/>
                <a:gd name="T96" fmla="*/ 270 w 478"/>
                <a:gd name="T97" fmla="*/ 367 h 405"/>
                <a:gd name="T98" fmla="*/ 304 w 478"/>
                <a:gd name="T99" fmla="*/ 388 h 405"/>
                <a:gd name="T100" fmla="*/ 316 w 478"/>
                <a:gd name="T101" fmla="*/ 384 h 405"/>
                <a:gd name="T102" fmla="*/ 335 w 478"/>
                <a:gd name="T103" fmla="*/ 384 h 405"/>
                <a:gd name="T104" fmla="*/ 352 w 478"/>
                <a:gd name="T105" fmla="*/ 342 h 405"/>
                <a:gd name="T106" fmla="*/ 369 w 478"/>
                <a:gd name="T107" fmla="*/ 331 h 405"/>
                <a:gd name="T108" fmla="*/ 381 w 478"/>
                <a:gd name="T109" fmla="*/ 317 h 405"/>
                <a:gd name="T110" fmla="*/ 392 w 478"/>
                <a:gd name="T111" fmla="*/ 294 h 405"/>
                <a:gd name="T112" fmla="*/ 392 w 478"/>
                <a:gd name="T113" fmla="*/ 283 h 405"/>
                <a:gd name="T114" fmla="*/ 434 w 478"/>
                <a:gd name="T115" fmla="*/ 247 h 405"/>
                <a:gd name="T116" fmla="*/ 446 w 478"/>
                <a:gd name="T117" fmla="*/ 203 h 405"/>
                <a:gd name="T118" fmla="*/ 469 w 478"/>
                <a:gd name="T119" fmla="*/ 203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8" h="405">
                  <a:moveTo>
                    <a:pt x="476" y="172"/>
                  </a:moveTo>
                  <a:lnTo>
                    <a:pt x="474" y="172"/>
                  </a:lnTo>
                  <a:lnTo>
                    <a:pt x="474" y="172"/>
                  </a:lnTo>
                  <a:lnTo>
                    <a:pt x="471" y="174"/>
                  </a:lnTo>
                  <a:lnTo>
                    <a:pt x="471" y="174"/>
                  </a:lnTo>
                  <a:lnTo>
                    <a:pt x="471" y="174"/>
                  </a:lnTo>
                  <a:lnTo>
                    <a:pt x="469" y="174"/>
                  </a:lnTo>
                  <a:lnTo>
                    <a:pt x="469" y="172"/>
                  </a:lnTo>
                  <a:lnTo>
                    <a:pt x="469" y="172"/>
                  </a:lnTo>
                  <a:lnTo>
                    <a:pt x="467" y="170"/>
                  </a:lnTo>
                  <a:lnTo>
                    <a:pt x="465" y="168"/>
                  </a:lnTo>
                  <a:lnTo>
                    <a:pt x="465" y="168"/>
                  </a:lnTo>
                  <a:lnTo>
                    <a:pt x="465" y="165"/>
                  </a:lnTo>
                  <a:lnTo>
                    <a:pt x="463" y="165"/>
                  </a:lnTo>
                  <a:lnTo>
                    <a:pt x="463" y="163"/>
                  </a:lnTo>
                  <a:lnTo>
                    <a:pt x="461" y="161"/>
                  </a:lnTo>
                  <a:lnTo>
                    <a:pt x="459" y="161"/>
                  </a:lnTo>
                  <a:lnTo>
                    <a:pt x="459" y="161"/>
                  </a:lnTo>
                  <a:lnTo>
                    <a:pt x="459" y="161"/>
                  </a:lnTo>
                  <a:lnTo>
                    <a:pt x="457" y="161"/>
                  </a:lnTo>
                  <a:lnTo>
                    <a:pt x="455" y="159"/>
                  </a:lnTo>
                  <a:lnTo>
                    <a:pt x="450" y="159"/>
                  </a:lnTo>
                  <a:lnTo>
                    <a:pt x="450" y="159"/>
                  </a:lnTo>
                  <a:lnTo>
                    <a:pt x="448" y="157"/>
                  </a:lnTo>
                  <a:lnTo>
                    <a:pt x="444" y="153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1"/>
                  </a:lnTo>
                  <a:lnTo>
                    <a:pt x="444" y="149"/>
                  </a:lnTo>
                  <a:lnTo>
                    <a:pt x="442" y="147"/>
                  </a:lnTo>
                  <a:lnTo>
                    <a:pt x="440" y="142"/>
                  </a:lnTo>
                  <a:lnTo>
                    <a:pt x="440" y="142"/>
                  </a:lnTo>
                  <a:lnTo>
                    <a:pt x="438" y="132"/>
                  </a:lnTo>
                  <a:lnTo>
                    <a:pt x="438" y="128"/>
                  </a:lnTo>
                  <a:lnTo>
                    <a:pt x="438" y="126"/>
                  </a:lnTo>
                  <a:lnTo>
                    <a:pt x="436" y="123"/>
                  </a:lnTo>
                  <a:lnTo>
                    <a:pt x="432" y="117"/>
                  </a:lnTo>
                  <a:lnTo>
                    <a:pt x="430" y="113"/>
                  </a:lnTo>
                  <a:lnTo>
                    <a:pt x="430" y="111"/>
                  </a:lnTo>
                  <a:lnTo>
                    <a:pt x="427" y="109"/>
                  </a:lnTo>
                  <a:lnTo>
                    <a:pt x="427" y="105"/>
                  </a:lnTo>
                  <a:lnTo>
                    <a:pt x="427" y="102"/>
                  </a:lnTo>
                  <a:lnTo>
                    <a:pt x="425" y="98"/>
                  </a:lnTo>
                  <a:lnTo>
                    <a:pt x="425" y="96"/>
                  </a:lnTo>
                  <a:lnTo>
                    <a:pt x="427" y="90"/>
                  </a:lnTo>
                  <a:lnTo>
                    <a:pt x="427" y="88"/>
                  </a:lnTo>
                  <a:lnTo>
                    <a:pt x="427" y="86"/>
                  </a:lnTo>
                  <a:lnTo>
                    <a:pt x="430" y="81"/>
                  </a:lnTo>
                  <a:lnTo>
                    <a:pt x="432" y="79"/>
                  </a:lnTo>
                  <a:lnTo>
                    <a:pt x="432" y="79"/>
                  </a:lnTo>
                  <a:lnTo>
                    <a:pt x="432" y="73"/>
                  </a:lnTo>
                  <a:lnTo>
                    <a:pt x="432" y="71"/>
                  </a:lnTo>
                  <a:lnTo>
                    <a:pt x="434" y="69"/>
                  </a:lnTo>
                  <a:lnTo>
                    <a:pt x="434" y="69"/>
                  </a:lnTo>
                  <a:lnTo>
                    <a:pt x="434" y="69"/>
                  </a:lnTo>
                  <a:lnTo>
                    <a:pt x="434" y="69"/>
                  </a:lnTo>
                  <a:lnTo>
                    <a:pt x="432" y="69"/>
                  </a:lnTo>
                  <a:lnTo>
                    <a:pt x="430" y="67"/>
                  </a:lnTo>
                  <a:lnTo>
                    <a:pt x="425" y="67"/>
                  </a:lnTo>
                  <a:lnTo>
                    <a:pt x="425" y="67"/>
                  </a:lnTo>
                  <a:lnTo>
                    <a:pt x="423" y="67"/>
                  </a:lnTo>
                  <a:lnTo>
                    <a:pt x="421" y="67"/>
                  </a:lnTo>
                  <a:lnTo>
                    <a:pt x="421" y="67"/>
                  </a:lnTo>
                  <a:lnTo>
                    <a:pt x="419" y="69"/>
                  </a:lnTo>
                  <a:lnTo>
                    <a:pt x="411" y="77"/>
                  </a:lnTo>
                  <a:lnTo>
                    <a:pt x="411" y="79"/>
                  </a:lnTo>
                  <a:lnTo>
                    <a:pt x="409" y="79"/>
                  </a:lnTo>
                  <a:lnTo>
                    <a:pt x="409" y="81"/>
                  </a:lnTo>
                  <a:lnTo>
                    <a:pt x="409" y="81"/>
                  </a:lnTo>
                  <a:lnTo>
                    <a:pt x="404" y="81"/>
                  </a:lnTo>
                  <a:lnTo>
                    <a:pt x="404" y="84"/>
                  </a:lnTo>
                  <a:lnTo>
                    <a:pt x="400" y="86"/>
                  </a:lnTo>
                  <a:lnTo>
                    <a:pt x="400" y="86"/>
                  </a:lnTo>
                  <a:lnTo>
                    <a:pt x="398" y="86"/>
                  </a:lnTo>
                  <a:lnTo>
                    <a:pt x="398" y="86"/>
                  </a:lnTo>
                  <a:lnTo>
                    <a:pt x="398" y="84"/>
                  </a:lnTo>
                  <a:lnTo>
                    <a:pt x="398" y="84"/>
                  </a:lnTo>
                  <a:lnTo>
                    <a:pt x="398" y="81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398" y="79"/>
                  </a:lnTo>
                  <a:lnTo>
                    <a:pt x="398" y="79"/>
                  </a:lnTo>
                  <a:lnTo>
                    <a:pt x="398" y="77"/>
                  </a:lnTo>
                  <a:lnTo>
                    <a:pt x="398" y="75"/>
                  </a:lnTo>
                  <a:lnTo>
                    <a:pt x="398" y="71"/>
                  </a:lnTo>
                  <a:lnTo>
                    <a:pt x="402" y="65"/>
                  </a:lnTo>
                  <a:lnTo>
                    <a:pt x="402" y="63"/>
                  </a:lnTo>
                  <a:lnTo>
                    <a:pt x="402" y="63"/>
                  </a:lnTo>
                  <a:lnTo>
                    <a:pt x="402" y="60"/>
                  </a:lnTo>
                  <a:lnTo>
                    <a:pt x="402" y="58"/>
                  </a:lnTo>
                  <a:lnTo>
                    <a:pt x="400" y="56"/>
                  </a:lnTo>
                  <a:lnTo>
                    <a:pt x="398" y="54"/>
                  </a:lnTo>
                  <a:lnTo>
                    <a:pt x="398" y="52"/>
                  </a:lnTo>
                  <a:lnTo>
                    <a:pt x="398" y="52"/>
                  </a:lnTo>
                  <a:lnTo>
                    <a:pt x="398" y="50"/>
                  </a:lnTo>
                  <a:lnTo>
                    <a:pt x="398" y="48"/>
                  </a:lnTo>
                  <a:lnTo>
                    <a:pt x="398" y="48"/>
                  </a:lnTo>
                  <a:lnTo>
                    <a:pt x="396" y="46"/>
                  </a:lnTo>
                  <a:lnTo>
                    <a:pt x="396" y="44"/>
                  </a:lnTo>
                  <a:lnTo>
                    <a:pt x="396" y="44"/>
                  </a:lnTo>
                  <a:lnTo>
                    <a:pt x="396" y="39"/>
                  </a:lnTo>
                  <a:lnTo>
                    <a:pt x="396" y="39"/>
                  </a:lnTo>
                  <a:lnTo>
                    <a:pt x="398" y="35"/>
                  </a:lnTo>
                  <a:lnTo>
                    <a:pt x="402" y="25"/>
                  </a:lnTo>
                  <a:lnTo>
                    <a:pt x="404" y="23"/>
                  </a:lnTo>
                  <a:lnTo>
                    <a:pt x="407" y="23"/>
                  </a:lnTo>
                  <a:lnTo>
                    <a:pt x="407" y="21"/>
                  </a:lnTo>
                  <a:lnTo>
                    <a:pt x="409" y="18"/>
                  </a:lnTo>
                  <a:lnTo>
                    <a:pt x="409" y="18"/>
                  </a:lnTo>
                  <a:lnTo>
                    <a:pt x="409" y="16"/>
                  </a:lnTo>
                  <a:lnTo>
                    <a:pt x="407" y="16"/>
                  </a:lnTo>
                  <a:lnTo>
                    <a:pt x="407" y="14"/>
                  </a:lnTo>
                  <a:lnTo>
                    <a:pt x="407" y="14"/>
                  </a:lnTo>
                  <a:lnTo>
                    <a:pt x="407" y="10"/>
                  </a:lnTo>
                  <a:lnTo>
                    <a:pt x="404" y="8"/>
                  </a:lnTo>
                  <a:lnTo>
                    <a:pt x="404" y="8"/>
                  </a:lnTo>
                  <a:lnTo>
                    <a:pt x="404" y="8"/>
                  </a:lnTo>
                  <a:lnTo>
                    <a:pt x="404" y="6"/>
                  </a:lnTo>
                  <a:lnTo>
                    <a:pt x="402" y="6"/>
                  </a:lnTo>
                  <a:lnTo>
                    <a:pt x="402" y="4"/>
                  </a:lnTo>
                  <a:lnTo>
                    <a:pt x="402" y="4"/>
                  </a:lnTo>
                  <a:lnTo>
                    <a:pt x="400" y="4"/>
                  </a:lnTo>
                  <a:lnTo>
                    <a:pt x="400" y="4"/>
                  </a:lnTo>
                  <a:lnTo>
                    <a:pt x="400" y="4"/>
                  </a:lnTo>
                  <a:lnTo>
                    <a:pt x="398" y="2"/>
                  </a:lnTo>
                  <a:lnTo>
                    <a:pt x="398" y="0"/>
                  </a:lnTo>
                  <a:lnTo>
                    <a:pt x="396" y="0"/>
                  </a:lnTo>
                  <a:lnTo>
                    <a:pt x="396" y="0"/>
                  </a:lnTo>
                  <a:lnTo>
                    <a:pt x="390" y="0"/>
                  </a:lnTo>
                  <a:lnTo>
                    <a:pt x="390" y="0"/>
                  </a:lnTo>
                  <a:lnTo>
                    <a:pt x="390" y="2"/>
                  </a:lnTo>
                  <a:lnTo>
                    <a:pt x="388" y="2"/>
                  </a:lnTo>
                  <a:lnTo>
                    <a:pt x="388" y="4"/>
                  </a:lnTo>
                  <a:lnTo>
                    <a:pt x="388" y="4"/>
                  </a:lnTo>
                  <a:lnTo>
                    <a:pt x="386" y="4"/>
                  </a:lnTo>
                  <a:lnTo>
                    <a:pt x="379" y="4"/>
                  </a:lnTo>
                  <a:lnTo>
                    <a:pt x="375" y="6"/>
                  </a:lnTo>
                  <a:lnTo>
                    <a:pt x="373" y="8"/>
                  </a:lnTo>
                  <a:lnTo>
                    <a:pt x="371" y="10"/>
                  </a:lnTo>
                  <a:lnTo>
                    <a:pt x="369" y="12"/>
                  </a:lnTo>
                  <a:lnTo>
                    <a:pt x="342" y="14"/>
                  </a:lnTo>
                  <a:lnTo>
                    <a:pt x="339" y="14"/>
                  </a:lnTo>
                  <a:lnTo>
                    <a:pt x="337" y="14"/>
                  </a:lnTo>
                  <a:lnTo>
                    <a:pt x="331" y="12"/>
                  </a:lnTo>
                  <a:lnTo>
                    <a:pt x="329" y="12"/>
                  </a:lnTo>
                  <a:lnTo>
                    <a:pt x="329" y="12"/>
                  </a:lnTo>
                  <a:lnTo>
                    <a:pt x="327" y="10"/>
                  </a:lnTo>
                  <a:lnTo>
                    <a:pt x="325" y="8"/>
                  </a:lnTo>
                  <a:lnTo>
                    <a:pt x="323" y="8"/>
                  </a:lnTo>
                  <a:lnTo>
                    <a:pt x="319" y="8"/>
                  </a:lnTo>
                  <a:lnTo>
                    <a:pt x="314" y="8"/>
                  </a:lnTo>
                  <a:lnTo>
                    <a:pt x="310" y="8"/>
                  </a:lnTo>
                  <a:lnTo>
                    <a:pt x="310" y="8"/>
                  </a:lnTo>
                  <a:lnTo>
                    <a:pt x="308" y="10"/>
                  </a:lnTo>
                  <a:lnTo>
                    <a:pt x="306" y="10"/>
                  </a:lnTo>
                  <a:lnTo>
                    <a:pt x="306" y="12"/>
                  </a:lnTo>
                  <a:lnTo>
                    <a:pt x="304" y="12"/>
                  </a:lnTo>
                  <a:lnTo>
                    <a:pt x="304" y="12"/>
                  </a:lnTo>
                  <a:lnTo>
                    <a:pt x="300" y="14"/>
                  </a:lnTo>
                  <a:lnTo>
                    <a:pt x="298" y="14"/>
                  </a:lnTo>
                  <a:lnTo>
                    <a:pt x="293" y="14"/>
                  </a:lnTo>
                  <a:lnTo>
                    <a:pt x="293" y="16"/>
                  </a:lnTo>
                  <a:lnTo>
                    <a:pt x="287" y="16"/>
                  </a:lnTo>
                  <a:lnTo>
                    <a:pt x="285" y="16"/>
                  </a:lnTo>
                  <a:lnTo>
                    <a:pt x="283" y="18"/>
                  </a:lnTo>
                  <a:lnTo>
                    <a:pt x="281" y="21"/>
                  </a:lnTo>
                  <a:lnTo>
                    <a:pt x="281" y="21"/>
                  </a:lnTo>
                  <a:lnTo>
                    <a:pt x="279" y="23"/>
                  </a:lnTo>
                  <a:lnTo>
                    <a:pt x="279" y="23"/>
                  </a:lnTo>
                  <a:lnTo>
                    <a:pt x="277" y="27"/>
                  </a:lnTo>
                  <a:lnTo>
                    <a:pt x="275" y="29"/>
                  </a:lnTo>
                  <a:lnTo>
                    <a:pt x="275" y="29"/>
                  </a:lnTo>
                  <a:lnTo>
                    <a:pt x="272" y="31"/>
                  </a:lnTo>
                  <a:lnTo>
                    <a:pt x="272" y="33"/>
                  </a:lnTo>
                  <a:lnTo>
                    <a:pt x="272" y="33"/>
                  </a:lnTo>
                  <a:lnTo>
                    <a:pt x="272" y="37"/>
                  </a:lnTo>
                  <a:lnTo>
                    <a:pt x="270" y="39"/>
                  </a:lnTo>
                  <a:lnTo>
                    <a:pt x="270" y="39"/>
                  </a:lnTo>
                  <a:lnTo>
                    <a:pt x="270" y="42"/>
                  </a:lnTo>
                  <a:lnTo>
                    <a:pt x="268" y="42"/>
                  </a:lnTo>
                  <a:lnTo>
                    <a:pt x="268" y="42"/>
                  </a:lnTo>
                  <a:lnTo>
                    <a:pt x="264" y="44"/>
                  </a:lnTo>
                  <a:lnTo>
                    <a:pt x="264" y="46"/>
                  </a:lnTo>
                  <a:lnTo>
                    <a:pt x="262" y="46"/>
                  </a:lnTo>
                  <a:lnTo>
                    <a:pt x="260" y="46"/>
                  </a:lnTo>
                  <a:lnTo>
                    <a:pt x="258" y="46"/>
                  </a:lnTo>
                  <a:lnTo>
                    <a:pt x="258" y="46"/>
                  </a:lnTo>
                  <a:lnTo>
                    <a:pt x="254" y="44"/>
                  </a:lnTo>
                  <a:lnTo>
                    <a:pt x="254" y="44"/>
                  </a:lnTo>
                  <a:lnTo>
                    <a:pt x="251" y="44"/>
                  </a:lnTo>
                  <a:lnTo>
                    <a:pt x="251" y="44"/>
                  </a:lnTo>
                  <a:lnTo>
                    <a:pt x="249" y="44"/>
                  </a:lnTo>
                  <a:lnTo>
                    <a:pt x="245" y="46"/>
                  </a:lnTo>
                  <a:lnTo>
                    <a:pt x="243" y="46"/>
                  </a:lnTo>
                  <a:lnTo>
                    <a:pt x="245" y="50"/>
                  </a:lnTo>
                  <a:lnTo>
                    <a:pt x="247" y="54"/>
                  </a:lnTo>
                  <a:lnTo>
                    <a:pt x="247" y="54"/>
                  </a:lnTo>
                  <a:lnTo>
                    <a:pt x="251" y="56"/>
                  </a:lnTo>
                  <a:lnTo>
                    <a:pt x="251" y="58"/>
                  </a:lnTo>
                  <a:lnTo>
                    <a:pt x="254" y="63"/>
                  </a:lnTo>
                  <a:lnTo>
                    <a:pt x="256" y="65"/>
                  </a:lnTo>
                  <a:lnTo>
                    <a:pt x="256" y="67"/>
                  </a:lnTo>
                  <a:lnTo>
                    <a:pt x="256" y="67"/>
                  </a:lnTo>
                  <a:lnTo>
                    <a:pt x="256" y="67"/>
                  </a:lnTo>
                  <a:lnTo>
                    <a:pt x="258" y="73"/>
                  </a:lnTo>
                  <a:lnTo>
                    <a:pt x="258" y="75"/>
                  </a:lnTo>
                  <a:lnTo>
                    <a:pt x="258" y="77"/>
                  </a:lnTo>
                  <a:lnTo>
                    <a:pt x="258" y="77"/>
                  </a:lnTo>
                  <a:lnTo>
                    <a:pt x="254" y="81"/>
                  </a:lnTo>
                  <a:lnTo>
                    <a:pt x="254" y="86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51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7" y="92"/>
                  </a:lnTo>
                  <a:lnTo>
                    <a:pt x="247" y="92"/>
                  </a:lnTo>
                  <a:lnTo>
                    <a:pt x="245" y="92"/>
                  </a:lnTo>
                  <a:lnTo>
                    <a:pt x="245" y="92"/>
                  </a:lnTo>
                  <a:lnTo>
                    <a:pt x="243" y="92"/>
                  </a:lnTo>
                  <a:lnTo>
                    <a:pt x="243" y="92"/>
                  </a:lnTo>
                  <a:lnTo>
                    <a:pt x="243" y="92"/>
                  </a:lnTo>
                  <a:lnTo>
                    <a:pt x="243" y="94"/>
                  </a:lnTo>
                  <a:lnTo>
                    <a:pt x="237" y="98"/>
                  </a:lnTo>
                  <a:lnTo>
                    <a:pt x="235" y="100"/>
                  </a:lnTo>
                  <a:lnTo>
                    <a:pt x="235" y="102"/>
                  </a:lnTo>
                  <a:lnTo>
                    <a:pt x="235" y="102"/>
                  </a:lnTo>
                  <a:lnTo>
                    <a:pt x="235" y="105"/>
                  </a:lnTo>
                  <a:lnTo>
                    <a:pt x="237" y="105"/>
                  </a:lnTo>
                  <a:lnTo>
                    <a:pt x="237" y="105"/>
                  </a:lnTo>
                  <a:lnTo>
                    <a:pt x="237" y="107"/>
                  </a:lnTo>
                  <a:lnTo>
                    <a:pt x="239" y="107"/>
                  </a:lnTo>
                  <a:lnTo>
                    <a:pt x="239" y="107"/>
                  </a:lnTo>
                  <a:lnTo>
                    <a:pt x="241" y="109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39" y="115"/>
                  </a:lnTo>
                  <a:lnTo>
                    <a:pt x="237" y="121"/>
                  </a:lnTo>
                  <a:lnTo>
                    <a:pt x="237" y="121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3" y="119"/>
                  </a:lnTo>
                  <a:lnTo>
                    <a:pt x="231" y="119"/>
                  </a:lnTo>
                  <a:lnTo>
                    <a:pt x="231" y="119"/>
                  </a:lnTo>
                  <a:lnTo>
                    <a:pt x="228" y="115"/>
                  </a:lnTo>
                  <a:lnTo>
                    <a:pt x="228" y="115"/>
                  </a:lnTo>
                  <a:lnTo>
                    <a:pt x="226" y="113"/>
                  </a:lnTo>
                  <a:lnTo>
                    <a:pt x="226" y="113"/>
                  </a:lnTo>
                  <a:lnTo>
                    <a:pt x="226" y="113"/>
                  </a:lnTo>
                  <a:lnTo>
                    <a:pt x="224" y="115"/>
                  </a:lnTo>
                  <a:lnTo>
                    <a:pt x="224" y="115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22" y="115"/>
                  </a:lnTo>
                  <a:lnTo>
                    <a:pt x="220" y="117"/>
                  </a:lnTo>
                  <a:lnTo>
                    <a:pt x="220" y="117"/>
                  </a:lnTo>
                  <a:lnTo>
                    <a:pt x="220" y="119"/>
                  </a:lnTo>
                  <a:lnTo>
                    <a:pt x="218" y="119"/>
                  </a:lnTo>
                  <a:lnTo>
                    <a:pt x="216" y="119"/>
                  </a:lnTo>
                  <a:lnTo>
                    <a:pt x="214" y="117"/>
                  </a:lnTo>
                  <a:lnTo>
                    <a:pt x="214" y="117"/>
                  </a:lnTo>
                  <a:lnTo>
                    <a:pt x="212" y="119"/>
                  </a:lnTo>
                  <a:lnTo>
                    <a:pt x="208" y="121"/>
                  </a:lnTo>
                  <a:lnTo>
                    <a:pt x="205" y="121"/>
                  </a:lnTo>
                  <a:lnTo>
                    <a:pt x="201" y="123"/>
                  </a:lnTo>
                  <a:lnTo>
                    <a:pt x="193" y="128"/>
                  </a:lnTo>
                  <a:lnTo>
                    <a:pt x="191" y="128"/>
                  </a:lnTo>
                  <a:lnTo>
                    <a:pt x="191" y="128"/>
                  </a:lnTo>
                  <a:lnTo>
                    <a:pt x="189" y="130"/>
                  </a:lnTo>
                  <a:lnTo>
                    <a:pt x="172" y="136"/>
                  </a:lnTo>
                  <a:lnTo>
                    <a:pt x="170" y="136"/>
                  </a:lnTo>
                  <a:lnTo>
                    <a:pt x="170" y="136"/>
                  </a:lnTo>
                  <a:lnTo>
                    <a:pt x="166" y="136"/>
                  </a:lnTo>
                  <a:lnTo>
                    <a:pt x="166" y="136"/>
                  </a:lnTo>
                  <a:lnTo>
                    <a:pt x="164" y="136"/>
                  </a:lnTo>
                  <a:lnTo>
                    <a:pt x="161" y="136"/>
                  </a:lnTo>
                  <a:lnTo>
                    <a:pt x="153" y="140"/>
                  </a:lnTo>
                  <a:lnTo>
                    <a:pt x="151" y="140"/>
                  </a:lnTo>
                  <a:lnTo>
                    <a:pt x="151" y="140"/>
                  </a:lnTo>
                  <a:lnTo>
                    <a:pt x="149" y="140"/>
                  </a:lnTo>
                  <a:lnTo>
                    <a:pt x="147" y="140"/>
                  </a:lnTo>
                  <a:lnTo>
                    <a:pt x="145" y="140"/>
                  </a:lnTo>
                  <a:lnTo>
                    <a:pt x="140" y="138"/>
                  </a:lnTo>
                  <a:lnTo>
                    <a:pt x="128" y="138"/>
                  </a:lnTo>
                  <a:lnTo>
                    <a:pt x="128" y="138"/>
                  </a:lnTo>
                  <a:lnTo>
                    <a:pt x="126" y="140"/>
                  </a:lnTo>
                  <a:lnTo>
                    <a:pt x="126" y="140"/>
                  </a:lnTo>
                  <a:lnTo>
                    <a:pt x="126" y="142"/>
                  </a:lnTo>
                  <a:lnTo>
                    <a:pt x="124" y="144"/>
                  </a:lnTo>
                  <a:lnTo>
                    <a:pt x="115" y="147"/>
                  </a:lnTo>
                  <a:lnTo>
                    <a:pt x="105" y="153"/>
                  </a:lnTo>
                  <a:lnTo>
                    <a:pt x="101" y="155"/>
                  </a:lnTo>
                  <a:lnTo>
                    <a:pt x="99" y="157"/>
                  </a:lnTo>
                  <a:lnTo>
                    <a:pt x="94" y="159"/>
                  </a:lnTo>
                  <a:lnTo>
                    <a:pt x="84" y="165"/>
                  </a:lnTo>
                  <a:lnTo>
                    <a:pt x="82" y="168"/>
                  </a:lnTo>
                  <a:lnTo>
                    <a:pt x="80" y="170"/>
                  </a:lnTo>
                  <a:lnTo>
                    <a:pt x="80" y="172"/>
                  </a:lnTo>
                  <a:lnTo>
                    <a:pt x="78" y="174"/>
                  </a:lnTo>
                  <a:lnTo>
                    <a:pt x="78" y="174"/>
                  </a:lnTo>
                  <a:lnTo>
                    <a:pt x="80" y="176"/>
                  </a:lnTo>
                  <a:lnTo>
                    <a:pt x="80" y="178"/>
                  </a:lnTo>
                  <a:lnTo>
                    <a:pt x="80" y="180"/>
                  </a:lnTo>
                  <a:lnTo>
                    <a:pt x="78" y="180"/>
                  </a:lnTo>
                  <a:lnTo>
                    <a:pt x="73" y="182"/>
                  </a:lnTo>
                  <a:lnTo>
                    <a:pt x="69" y="184"/>
                  </a:lnTo>
                  <a:lnTo>
                    <a:pt x="67" y="186"/>
                  </a:lnTo>
                  <a:lnTo>
                    <a:pt x="63" y="189"/>
                  </a:lnTo>
                  <a:lnTo>
                    <a:pt x="61" y="191"/>
                  </a:lnTo>
                  <a:lnTo>
                    <a:pt x="59" y="193"/>
                  </a:lnTo>
                  <a:lnTo>
                    <a:pt x="57" y="193"/>
                  </a:lnTo>
                  <a:lnTo>
                    <a:pt x="57" y="195"/>
                  </a:lnTo>
                  <a:lnTo>
                    <a:pt x="55" y="199"/>
                  </a:lnTo>
                  <a:lnTo>
                    <a:pt x="50" y="201"/>
                  </a:lnTo>
                  <a:lnTo>
                    <a:pt x="48" y="201"/>
                  </a:lnTo>
                  <a:lnTo>
                    <a:pt x="46" y="203"/>
                  </a:lnTo>
                  <a:lnTo>
                    <a:pt x="44" y="205"/>
                  </a:lnTo>
                  <a:lnTo>
                    <a:pt x="40" y="210"/>
                  </a:lnTo>
                  <a:lnTo>
                    <a:pt x="40" y="210"/>
                  </a:lnTo>
                  <a:lnTo>
                    <a:pt x="36" y="214"/>
                  </a:lnTo>
                  <a:lnTo>
                    <a:pt x="34" y="214"/>
                  </a:lnTo>
                  <a:lnTo>
                    <a:pt x="34" y="214"/>
                  </a:lnTo>
                  <a:lnTo>
                    <a:pt x="32" y="214"/>
                  </a:lnTo>
                  <a:lnTo>
                    <a:pt x="32" y="214"/>
                  </a:lnTo>
                  <a:lnTo>
                    <a:pt x="29" y="214"/>
                  </a:lnTo>
                  <a:lnTo>
                    <a:pt x="29" y="212"/>
                  </a:lnTo>
                  <a:lnTo>
                    <a:pt x="27" y="212"/>
                  </a:lnTo>
                  <a:lnTo>
                    <a:pt x="27" y="212"/>
                  </a:lnTo>
                  <a:lnTo>
                    <a:pt x="25" y="214"/>
                  </a:lnTo>
                  <a:lnTo>
                    <a:pt x="21" y="216"/>
                  </a:lnTo>
                  <a:lnTo>
                    <a:pt x="19" y="216"/>
                  </a:lnTo>
                  <a:lnTo>
                    <a:pt x="17" y="220"/>
                  </a:lnTo>
                  <a:lnTo>
                    <a:pt x="17" y="220"/>
                  </a:lnTo>
                  <a:lnTo>
                    <a:pt x="15" y="220"/>
                  </a:lnTo>
                  <a:lnTo>
                    <a:pt x="15" y="222"/>
                  </a:lnTo>
                  <a:lnTo>
                    <a:pt x="15" y="222"/>
                  </a:lnTo>
                  <a:lnTo>
                    <a:pt x="17" y="224"/>
                  </a:lnTo>
                  <a:lnTo>
                    <a:pt x="17" y="224"/>
                  </a:lnTo>
                  <a:lnTo>
                    <a:pt x="19" y="226"/>
                  </a:lnTo>
                  <a:lnTo>
                    <a:pt x="19" y="226"/>
                  </a:lnTo>
                  <a:lnTo>
                    <a:pt x="21" y="226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23" y="224"/>
                  </a:lnTo>
                  <a:lnTo>
                    <a:pt x="25" y="226"/>
                  </a:lnTo>
                  <a:lnTo>
                    <a:pt x="25" y="226"/>
                  </a:lnTo>
                  <a:lnTo>
                    <a:pt x="25" y="229"/>
                  </a:lnTo>
                  <a:lnTo>
                    <a:pt x="25" y="231"/>
                  </a:lnTo>
                  <a:lnTo>
                    <a:pt x="25" y="231"/>
                  </a:lnTo>
                  <a:lnTo>
                    <a:pt x="25" y="233"/>
                  </a:lnTo>
                  <a:lnTo>
                    <a:pt x="25" y="233"/>
                  </a:lnTo>
                  <a:lnTo>
                    <a:pt x="27" y="233"/>
                  </a:lnTo>
                  <a:lnTo>
                    <a:pt x="27" y="235"/>
                  </a:lnTo>
                  <a:lnTo>
                    <a:pt x="25" y="239"/>
                  </a:lnTo>
                  <a:lnTo>
                    <a:pt x="25" y="239"/>
                  </a:lnTo>
                  <a:lnTo>
                    <a:pt x="25" y="241"/>
                  </a:lnTo>
                  <a:lnTo>
                    <a:pt x="25" y="245"/>
                  </a:lnTo>
                  <a:lnTo>
                    <a:pt x="23" y="256"/>
                  </a:lnTo>
                  <a:lnTo>
                    <a:pt x="23" y="258"/>
                  </a:lnTo>
                  <a:lnTo>
                    <a:pt x="23" y="264"/>
                  </a:lnTo>
                  <a:lnTo>
                    <a:pt x="23" y="266"/>
                  </a:lnTo>
                  <a:lnTo>
                    <a:pt x="25" y="268"/>
                  </a:lnTo>
                  <a:lnTo>
                    <a:pt x="36" y="296"/>
                  </a:lnTo>
                  <a:lnTo>
                    <a:pt x="36" y="298"/>
                  </a:lnTo>
                  <a:lnTo>
                    <a:pt x="36" y="302"/>
                  </a:lnTo>
                  <a:lnTo>
                    <a:pt x="36" y="304"/>
                  </a:lnTo>
                  <a:lnTo>
                    <a:pt x="36" y="313"/>
                  </a:lnTo>
                  <a:lnTo>
                    <a:pt x="36" y="315"/>
                  </a:lnTo>
                  <a:lnTo>
                    <a:pt x="36" y="317"/>
                  </a:lnTo>
                  <a:lnTo>
                    <a:pt x="36" y="317"/>
                  </a:lnTo>
                  <a:lnTo>
                    <a:pt x="38" y="319"/>
                  </a:lnTo>
                  <a:lnTo>
                    <a:pt x="38" y="321"/>
                  </a:lnTo>
                  <a:lnTo>
                    <a:pt x="38" y="321"/>
                  </a:lnTo>
                  <a:lnTo>
                    <a:pt x="38" y="323"/>
                  </a:lnTo>
                  <a:lnTo>
                    <a:pt x="38" y="325"/>
                  </a:lnTo>
                  <a:lnTo>
                    <a:pt x="38" y="325"/>
                  </a:lnTo>
                  <a:lnTo>
                    <a:pt x="36" y="327"/>
                  </a:lnTo>
                  <a:lnTo>
                    <a:pt x="36" y="327"/>
                  </a:lnTo>
                  <a:lnTo>
                    <a:pt x="29" y="329"/>
                  </a:lnTo>
                  <a:lnTo>
                    <a:pt x="27" y="329"/>
                  </a:lnTo>
                  <a:lnTo>
                    <a:pt x="27" y="331"/>
                  </a:lnTo>
                  <a:lnTo>
                    <a:pt x="25" y="336"/>
                  </a:lnTo>
                  <a:lnTo>
                    <a:pt x="25" y="338"/>
                  </a:lnTo>
                  <a:lnTo>
                    <a:pt x="23" y="338"/>
                  </a:lnTo>
                  <a:lnTo>
                    <a:pt x="23" y="340"/>
                  </a:lnTo>
                  <a:lnTo>
                    <a:pt x="21" y="340"/>
                  </a:lnTo>
                  <a:lnTo>
                    <a:pt x="19" y="340"/>
                  </a:lnTo>
                  <a:lnTo>
                    <a:pt x="19" y="340"/>
                  </a:lnTo>
                  <a:lnTo>
                    <a:pt x="19" y="342"/>
                  </a:lnTo>
                  <a:lnTo>
                    <a:pt x="19" y="342"/>
                  </a:lnTo>
                  <a:lnTo>
                    <a:pt x="11" y="346"/>
                  </a:lnTo>
                  <a:lnTo>
                    <a:pt x="9" y="346"/>
                  </a:lnTo>
                  <a:lnTo>
                    <a:pt x="4" y="348"/>
                  </a:lnTo>
                  <a:lnTo>
                    <a:pt x="2" y="350"/>
                  </a:lnTo>
                  <a:lnTo>
                    <a:pt x="0" y="350"/>
                  </a:lnTo>
                  <a:lnTo>
                    <a:pt x="0" y="352"/>
                  </a:lnTo>
                  <a:lnTo>
                    <a:pt x="0" y="355"/>
                  </a:lnTo>
                  <a:lnTo>
                    <a:pt x="2" y="355"/>
                  </a:lnTo>
                  <a:lnTo>
                    <a:pt x="4" y="355"/>
                  </a:lnTo>
                  <a:lnTo>
                    <a:pt x="6" y="355"/>
                  </a:lnTo>
                  <a:lnTo>
                    <a:pt x="15" y="359"/>
                  </a:lnTo>
                  <a:lnTo>
                    <a:pt x="17" y="361"/>
                  </a:lnTo>
                  <a:lnTo>
                    <a:pt x="21" y="359"/>
                  </a:lnTo>
                  <a:lnTo>
                    <a:pt x="29" y="357"/>
                  </a:lnTo>
                  <a:lnTo>
                    <a:pt x="50" y="346"/>
                  </a:lnTo>
                  <a:lnTo>
                    <a:pt x="55" y="344"/>
                  </a:lnTo>
                  <a:lnTo>
                    <a:pt x="57" y="344"/>
                  </a:lnTo>
                  <a:lnTo>
                    <a:pt x="65" y="344"/>
                  </a:lnTo>
                  <a:lnTo>
                    <a:pt x="69" y="346"/>
                  </a:lnTo>
                  <a:lnTo>
                    <a:pt x="71" y="348"/>
                  </a:lnTo>
                  <a:lnTo>
                    <a:pt x="71" y="350"/>
                  </a:lnTo>
                  <a:lnTo>
                    <a:pt x="73" y="350"/>
                  </a:lnTo>
                  <a:lnTo>
                    <a:pt x="73" y="352"/>
                  </a:lnTo>
                  <a:lnTo>
                    <a:pt x="76" y="352"/>
                  </a:lnTo>
                  <a:lnTo>
                    <a:pt x="78" y="352"/>
                  </a:lnTo>
                  <a:lnTo>
                    <a:pt x="78" y="352"/>
                  </a:lnTo>
                  <a:lnTo>
                    <a:pt x="84" y="348"/>
                  </a:lnTo>
                  <a:lnTo>
                    <a:pt x="88" y="346"/>
                  </a:lnTo>
                  <a:lnTo>
                    <a:pt x="88" y="346"/>
                  </a:lnTo>
                  <a:lnTo>
                    <a:pt x="90" y="346"/>
                  </a:lnTo>
                  <a:lnTo>
                    <a:pt x="90" y="346"/>
                  </a:lnTo>
                  <a:lnTo>
                    <a:pt x="90" y="344"/>
                  </a:lnTo>
                  <a:lnTo>
                    <a:pt x="90" y="344"/>
                  </a:lnTo>
                  <a:lnTo>
                    <a:pt x="88" y="344"/>
                  </a:lnTo>
                  <a:lnTo>
                    <a:pt x="88" y="344"/>
                  </a:lnTo>
                  <a:lnTo>
                    <a:pt x="88" y="344"/>
                  </a:lnTo>
                  <a:lnTo>
                    <a:pt x="86" y="344"/>
                  </a:lnTo>
                  <a:lnTo>
                    <a:pt x="86" y="342"/>
                  </a:lnTo>
                  <a:lnTo>
                    <a:pt x="86" y="342"/>
                  </a:lnTo>
                  <a:lnTo>
                    <a:pt x="86" y="342"/>
                  </a:lnTo>
                  <a:lnTo>
                    <a:pt x="88" y="340"/>
                  </a:lnTo>
                  <a:lnTo>
                    <a:pt x="88" y="340"/>
                  </a:lnTo>
                  <a:lnTo>
                    <a:pt x="88" y="340"/>
                  </a:lnTo>
                  <a:lnTo>
                    <a:pt x="88" y="340"/>
                  </a:lnTo>
                  <a:lnTo>
                    <a:pt x="90" y="338"/>
                  </a:lnTo>
                  <a:lnTo>
                    <a:pt x="90" y="338"/>
                  </a:lnTo>
                  <a:lnTo>
                    <a:pt x="90" y="336"/>
                  </a:lnTo>
                  <a:lnTo>
                    <a:pt x="90" y="331"/>
                  </a:lnTo>
                  <a:lnTo>
                    <a:pt x="90" y="329"/>
                  </a:lnTo>
                  <a:lnTo>
                    <a:pt x="92" y="329"/>
                  </a:lnTo>
                  <a:lnTo>
                    <a:pt x="92" y="327"/>
                  </a:lnTo>
                  <a:lnTo>
                    <a:pt x="94" y="327"/>
                  </a:lnTo>
                  <a:lnTo>
                    <a:pt x="94" y="329"/>
                  </a:lnTo>
                  <a:lnTo>
                    <a:pt x="92" y="331"/>
                  </a:lnTo>
                  <a:lnTo>
                    <a:pt x="92" y="334"/>
                  </a:lnTo>
                  <a:lnTo>
                    <a:pt x="92" y="334"/>
                  </a:lnTo>
                  <a:lnTo>
                    <a:pt x="92" y="334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4" y="340"/>
                  </a:lnTo>
                  <a:lnTo>
                    <a:pt x="94" y="342"/>
                  </a:lnTo>
                  <a:lnTo>
                    <a:pt x="101" y="352"/>
                  </a:lnTo>
                  <a:lnTo>
                    <a:pt x="101" y="357"/>
                  </a:lnTo>
                  <a:lnTo>
                    <a:pt x="101" y="365"/>
                  </a:lnTo>
                  <a:lnTo>
                    <a:pt x="101" y="369"/>
                  </a:lnTo>
                  <a:lnTo>
                    <a:pt x="103" y="386"/>
                  </a:lnTo>
                  <a:lnTo>
                    <a:pt x="103" y="388"/>
                  </a:lnTo>
                  <a:lnTo>
                    <a:pt x="103" y="394"/>
                  </a:lnTo>
                  <a:lnTo>
                    <a:pt x="101" y="397"/>
                  </a:lnTo>
                  <a:lnTo>
                    <a:pt x="99" y="399"/>
                  </a:lnTo>
                  <a:lnTo>
                    <a:pt x="99" y="401"/>
                  </a:lnTo>
                  <a:lnTo>
                    <a:pt x="101" y="403"/>
                  </a:lnTo>
                  <a:lnTo>
                    <a:pt x="105" y="405"/>
                  </a:lnTo>
                  <a:lnTo>
                    <a:pt x="107" y="405"/>
                  </a:lnTo>
                  <a:lnTo>
                    <a:pt x="109" y="405"/>
                  </a:lnTo>
                  <a:lnTo>
                    <a:pt x="111" y="405"/>
                  </a:lnTo>
                  <a:lnTo>
                    <a:pt x="115" y="401"/>
                  </a:lnTo>
                  <a:lnTo>
                    <a:pt x="128" y="388"/>
                  </a:lnTo>
                  <a:lnTo>
                    <a:pt x="136" y="382"/>
                  </a:lnTo>
                  <a:lnTo>
                    <a:pt x="147" y="382"/>
                  </a:lnTo>
                  <a:lnTo>
                    <a:pt x="151" y="382"/>
                  </a:lnTo>
                  <a:lnTo>
                    <a:pt x="155" y="384"/>
                  </a:lnTo>
                  <a:lnTo>
                    <a:pt x="168" y="392"/>
                  </a:lnTo>
                  <a:lnTo>
                    <a:pt x="170" y="392"/>
                  </a:lnTo>
                  <a:lnTo>
                    <a:pt x="170" y="392"/>
                  </a:lnTo>
                  <a:lnTo>
                    <a:pt x="170" y="392"/>
                  </a:lnTo>
                  <a:lnTo>
                    <a:pt x="172" y="392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6" y="392"/>
                  </a:lnTo>
                  <a:lnTo>
                    <a:pt x="178" y="390"/>
                  </a:lnTo>
                  <a:lnTo>
                    <a:pt x="180" y="388"/>
                  </a:lnTo>
                  <a:lnTo>
                    <a:pt x="214" y="367"/>
                  </a:lnTo>
                  <a:lnTo>
                    <a:pt x="214" y="367"/>
                  </a:lnTo>
                  <a:lnTo>
                    <a:pt x="214" y="365"/>
                  </a:lnTo>
                  <a:lnTo>
                    <a:pt x="212" y="365"/>
                  </a:lnTo>
                  <a:lnTo>
                    <a:pt x="210" y="365"/>
                  </a:lnTo>
                  <a:lnTo>
                    <a:pt x="210" y="365"/>
                  </a:lnTo>
                  <a:lnTo>
                    <a:pt x="208" y="365"/>
                  </a:lnTo>
                  <a:lnTo>
                    <a:pt x="208" y="363"/>
                  </a:lnTo>
                  <a:lnTo>
                    <a:pt x="205" y="361"/>
                  </a:lnTo>
                  <a:lnTo>
                    <a:pt x="208" y="359"/>
                  </a:lnTo>
                  <a:lnTo>
                    <a:pt x="208" y="359"/>
                  </a:lnTo>
                  <a:lnTo>
                    <a:pt x="210" y="357"/>
                  </a:lnTo>
                  <a:lnTo>
                    <a:pt x="210" y="357"/>
                  </a:lnTo>
                  <a:lnTo>
                    <a:pt x="210" y="357"/>
                  </a:lnTo>
                  <a:lnTo>
                    <a:pt x="212" y="357"/>
                  </a:lnTo>
                  <a:lnTo>
                    <a:pt x="212" y="357"/>
                  </a:lnTo>
                  <a:lnTo>
                    <a:pt x="212" y="357"/>
                  </a:lnTo>
                  <a:lnTo>
                    <a:pt x="214" y="355"/>
                  </a:lnTo>
                  <a:lnTo>
                    <a:pt x="214" y="352"/>
                  </a:lnTo>
                  <a:lnTo>
                    <a:pt x="214" y="352"/>
                  </a:lnTo>
                  <a:lnTo>
                    <a:pt x="216" y="350"/>
                  </a:lnTo>
                  <a:lnTo>
                    <a:pt x="216" y="344"/>
                  </a:lnTo>
                  <a:lnTo>
                    <a:pt x="222" y="355"/>
                  </a:lnTo>
                  <a:lnTo>
                    <a:pt x="224" y="357"/>
                  </a:lnTo>
                  <a:lnTo>
                    <a:pt x="226" y="357"/>
                  </a:lnTo>
                  <a:lnTo>
                    <a:pt x="228" y="359"/>
                  </a:lnTo>
                  <a:lnTo>
                    <a:pt x="231" y="361"/>
                  </a:lnTo>
                  <a:lnTo>
                    <a:pt x="231" y="361"/>
                  </a:lnTo>
                  <a:lnTo>
                    <a:pt x="233" y="365"/>
                  </a:lnTo>
                  <a:lnTo>
                    <a:pt x="233" y="365"/>
                  </a:lnTo>
                  <a:lnTo>
                    <a:pt x="233" y="367"/>
                  </a:lnTo>
                  <a:lnTo>
                    <a:pt x="235" y="367"/>
                  </a:lnTo>
                  <a:lnTo>
                    <a:pt x="237" y="369"/>
                  </a:lnTo>
                  <a:lnTo>
                    <a:pt x="239" y="371"/>
                  </a:lnTo>
                  <a:lnTo>
                    <a:pt x="241" y="371"/>
                  </a:lnTo>
                  <a:lnTo>
                    <a:pt x="245" y="378"/>
                  </a:lnTo>
                  <a:lnTo>
                    <a:pt x="245" y="376"/>
                  </a:lnTo>
                  <a:lnTo>
                    <a:pt x="241" y="367"/>
                  </a:lnTo>
                  <a:lnTo>
                    <a:pt x="241" y="367"/>
                  </a:lnTo>
                  <a:lnTo>
                    <a:pt x="243" y="369"/>
                  </a:lnTo>
                  <a:lnTo>
                    <a:pt x="243" y="371"/>
                  </a:lnTo>
                  <a:lnTo>
                    <a:pt x="245" y="371"/>
                  </a:lnTo>
                  <a:lnTo>
                    <a:pt x="245" y="373"/>
                  </a:lnTo>
                  <a:lnTo>
                    <a:pt x="245" y="376"/>
                  </a:lnTo>
                  <a:lnTo>
                    <a:pt x="247" y="376"/>
                  </a:lnTo>
                  <a:lnTo>
                    <a:pt x="251" y="376"/>
                  </a:lnTo>
                  <a:lnTo>
                    <a:pt x="254" y="373"/>
                  </a:lnTo>
                  <a:lnTo>
                    <a:pt x="254" y="371"/>
                  </a:lnTo>
                  <a:lnTo>
                    <a:pt x="254" y="369"/>
                  </a:lnTo>
                  <a:lnTo>
                    <a:pt x="256" y="369"/>
                  </a:lnTo>
                  <a:lnTo>
                    <a:pt x="258" y="367"/>
                  </a:lnTo>
                  <a:lnTo>
                    <a:pt x="260" y="367"/>
                  </a:lnTo>
                  <a:lnTo>
                    <a:pt x="268" y="367"/>
                  </a:lnTo>
                  <a:lnTo>
                    <a:pt x="270" y="367"/>
                  </a:lnTo>
                  <a:lnTo>
                    <a:pt x="270" y="369"/>
                  </a:lnTo>
                  <a:lnTo>
                    <a:pt x="272" y="376"/>
                  </a:lnTo>
                  <a:lnTo>
                    <a:pt x="272" y="380"/>
                  </a:lnTo>
                  <a:lnTo>
                    <a:pt x="272" y="384"/>
                  </a:lnTo>
                  <a:lnTo>
                    <a:pt x="270" y="388"/>
                  </a:lnTo>
                  <a:lnTo>
                    <a:pt x="272" y="394"/>
                  </a:lnTo>
                  <a:lnTo>
                    <a:pt x="279" y="397"/>
                  </a:lnTo>
                  <a:lnTo>
                    <a:pt x="289" y="394"/>
                  </a:lnTo>
                  <a:lnTo>
                    <a:pt x="295" y="392"/>
                  </a:lnTo>
                  <a:lnTo>
                    <a:pt x="302" y="388"/>
                  </a:lnTo>
                  <a:lnTo>
                    <a:pt x="304" y="388"/>
                  </a:lnTo>
                  <a:lnTo>
                    <a:pt x="310" y="384"/>
                  </a:lnTo>
                  <a:lnTo>
                    <a:pt x="314" y="380"/>
                  </a:lnTo>
                  <a:lnTo>
                    <a:pt x="314" y="378"/>
                  </a:lnTo>
                  <a:lnTo>
                    <a:pt x="314" y="378"/>
                  </a:lnTo>
                  <a:lnTo>
                    <a:pt x="316" y="376"/>
                  </a:lnTo>
                  <a:lnTo>
                    <a:pt x="316" y="371"/>
                  </a:lnTo>
                  <a:lnTo>
                    <a:pt x="316" y="369"/>
                  </a:lnTo>
                  <a:lnTo>
                    <a:pt x="316" y="369"/>
                  </a:lnTo>
                  <a:lnTo>
                    <a:pt x="319" y="371"/>
                  </a:lnTo>
                  <a:lnTo>
                    <a:pt x="316" y="382"/>
                  </a:lnTo>
                  <a:lnTo>
                    <a:pt x="316" y="384"/>
                  </a:lnTo>
                  <a:lnTo>
                    <a:pt x="319" y="386"/>
                  </a:lnTo>
                  <a:lnTo>
                    <a:pt x="321" y="386"/>
                  </a:lnTo>
                  <a:lnTo>
                    <a:pt x="323" y="388"/>
                  </a:lnTo>
                  <a:lnTo>
                    <a:pt x="329" y="386"/>
                  </a:lnTo>
                  <a:lnTo>
                    <a:pt x="333" y="380"/>
                  </a:lnTo>
                  <a:lnTo>
                    <a:pt x="337" y="376"/>
                  </a:lnTo>
                  <a:lnTo>
                    <a:pt x="339" y="371"/>
                  </a:lnTo>
                  <a:lnTo>
                    <a:pt x="339" y="373"/>
                  </a:lnTo>
                  <a:lnTo>
                    <a:pt x="339" y="376"/>
                  </a:lnTo>
                  <a:lnTo>
                    <a:pt x="337" y="378"/>
                  </a:lnTo>
                  <a:lnTo>
                    <a:pt x="335" y="384"/>
                  </a:lnTo>
                  <a:lnTo>
                    <a:pt x="333" y="384"/>
                  </a:lnTo>
                  <a:lnTo>
                    <a:pt x="331" y="386"/>
                  </a:lnTo>
                  <a:lnTo>
                    <a:pt x="331" y="386"/>
                  </a:lnTo>
                  <a:lnTo>
                    <a:pt x="331" y="388"/>
                  </a:lnTo>
                  <a:lnTo>
                    <a:pt x="331" y="390"/>
                  </a:lnTo>
                  <a:lnTo>
                    <a:pt x="333" y="392"/>
                  </a:lnTo>
                  <a:lnTo>
                    <a:pt x="335" y="392"/>
                  </a:lnTo>
                  <a:lnTo>
                    <a:pt x="335" y="392"/>
                  </a:lnTo>
                  <a:lnTo>
                    <a:pt x="350" y="352"/>
                  </a:lnTo>
                  <a:lnTo>
                    <a:pt x="352" y="342"/>
                  </a:lnTo>
                  <a:lnTo>
                    <a:pt x="352" y="342"/>
                  </a:lnTo>
                  <a:lnTo>
                    <a:pt x="354" y="340"/>
                  </a:lnTo>
                  <a:lnTo>
                    <a:pt x="356" y="338"/>
                  </a:lnTo>
                  <a:lnTo>
                    <a:pt x="356" y="338"/>
                  </a:lnTo>
                  <a:lnTo>
                    <a:pt x="356" y="338"/>
                  </a:lnTo>
                  <a:lnTo>
                    <a:pt x="365" y="336"/>
                  </a:lnTo>
                  <a:lnTo>
                    <a:pt x="365" y="336"/>
                  </a:lnTo>
                  <a:lnTo>
                    <a:pt x="367" y="334"/>
                  </a:lnTo>
                  <a:lnTo>
                    <a:pt x="367" y="334"/>
                  </a:lnTo>
                  <a:lnTo>
                    <a:pt x="369" y="334"/>
                  </a:lnTo>
                  <a:lnTo>
                    <a:pt x="369" y="331"/>
                  </a:lnTo>
                  <a:lnTo>
                    <a:pt x="369" y="331"/>
                  </a:lnTo>
                  <a:lnTo>
                    <a:pt x="369" y="329"/>
                  </a:lnTo>
                  <a:lnTo>
                    <a:pt x="369" y="329"/>
                  </a:lnTo>
                  <a:lnTo>
                    <a:pt x="369" y="329"/>
                  </a:lnTo>
                  <a:lnTo>
                    <a:pt x="377" y="327"/>
                  </a:lnTo>
                  <a:lnTo>
                    <a:pt x="377" y="325"/>
                  </a:lnTo>
                  <a:lnTo>
                    <a:pt x="377" y="325"/>
                  </a:lnTo>
                  <a:lnTo>
                    <a:pt x="379" y="323"/>
                  </a:lnTo>
                  <a:lnTo>
                    <a:pt x="379" y="323"/>
                  </a:lnTo>
                  <a:lnTo>
                    <a:pt x="381" y="321"/>
                  </a:lnTo>
                  <a:lnTo>
                    <a:pt x="381" y="319"/>
                  </a:lnTo>
                  <a:lnTo>
                    <a:pt x="381" y="317"/>
                  </a:lnTo>
                  <a:lnTo>
                    <a:pt x="381" y="315"/>
                  </a:lnTo>
                  <a:lnTo>
                    <a:pt x="383" y="313"/>
                  </a:lnTo>
                  <a:lnTo>
                    <a:pt x="383" y="310"/>
                  </a:lnTo>
                  <a:lnTo>
                    <a:pt x="388" y="306"/>
                  </a:lnTo>
                  <a:lnTo>
                    <a:pt x="388" y="304"/>
                  </a:lnTo>
                  <a:lnTo>
                    <a:pt x="390" y="302"/>
                  </a:lnTo>
                  <a:lnTo>
                    <a:pt x="392" y="298"/>
                  </a:lnTo>
                  <a:lnTo>
                    <a:pt x="392" y="298"/>
                  </a:lnTo>
                  <a:lnTo>
                    <a:pt x="392" y="298"/>
                  </a:lnTo>
                  <a:lnTo>
                    <a:pt x="392" y="294"/>
                  </a:lnTo>
                  <a:lnTo>
                    <a:pt x="392" y="294"/>
                  </a:lnTo>
                  <a:lnTo>
                    <a:pt x="392" y="292"/>
                  </a:lnTo>
                  <a:lnTo>
                    <a:pt x="390" y="292"/>
                  </a:lnTo>
                  <a:lnTo>
                    <a:pt x="390" y="292"/>
                  </a:lnTo>
                  <a:lnTo>
                    <a:pt x="390" y="289"/>
                  </a:lnTo>
                  <a:lnTo>
                    <a:pt x="390" y="287"/>
                  </a:lnTo>
                  <a:lnTo>
                    <a:pt x="390" y="285"/>
                  </a:lnTo>
                  <a:lnTo>
                    <a:pt x="390" y="285"/>
                  </a:lnTo>
                  <a:lnTo>
                    <a:pt x="390" y="283"/>
                  </a:lnTo>
                  <a:lnTo>
                    <a:pt x="390" y="283"/>
                  </a:lnTo>
                  <a:lnTo>
                    <a:pt x="390" y="283"/>
                  </a:lnTo>
                  <a:lnTo>
                    <a:pt x="392" y="283"/>
                  </a:lnTo>
                  <a:lnTo>
                    <a:pt x="402" y="279"/>
                  </a:lnTo>
                  <a:lnTo>
                    <a:pt x="409" y="279"/>
                  </a:lnTo>
                  <a:lnTo>
                    <a:pt x="413" y="277"/>
                  </a:lnTo>
                  <a:lnTo>
                    <a:pt x="415" y="277"/>
                  </a:lnTo>
                  <a:lnTo>
                    <a:pt x="419" y="273"/>
                  </a:lnTo>
                  <a:lnTo>
                    <a:pt x="432" y="260"/>
                  </a:lnTo>
                  <a:lnTo>
                    <a:pt x="430" y="256"/>
                  </a:lnTo>
                  <a:lnTo>
                    <a:pt x="430" y="256"/>
                  </a:lnTo>
                  <a:lnTo>
                    <a:pt x="432" y="254"/>
                  </a:lnTo>
                  <a:lnTo>
                    <a:pt x="432" y="252"/>
                  </a:lnTo>
                  <a:lnTo>
                    <a:pt x="434" y="247"/>
                  </a:lnTo>
                  <a:lnTo>
                    <a:pt x="434" y="245"/>
                  </a:lnTo>
                  <a:lnTo>
                    <a:pt x="434" y="243"/>
                  </a:lnTo>
                  <a:lnTo>
                    <a:pt x="432" y="241"/>
                  </a:lnTo>
                  <a:lnTo>
                    <a:pt x="432" y="239"/>
                  </a:lnTo>
                  <a:lnTo>
                    <a:pt x="432" y="235"/>
                  </a:lnTo>
                  <a:lnTo>
                    <a:pt x="438" y="207"/>
                  </a:lnTo>
                  <a:lnTo>
                    <a:pt x="440" y="205"/>
                  </a:lnTo>
                  <a:lnTo>
                    <a:pt x="440" y="205"/>
                  </a:lnTo>
                  <a:lnTo>
                    <a:pt x="440" y="203"/>
                  </a:lnTo>
                  <a:lnTo>
                    <a:pt x="444" y="203"/>
                  </a:lnTo>
                  <a:lnTo>
                    <a:pt x="446" y="203"/>
                  </a:lnTo>
                  <a:lnTo>
                    <a:pt x="448" y="201"/>
                  </a:lnTo>
                  <a:lnTo>
                    <a:pt x="453" y="201"/>
                  </a:lnTo>
                  <a:lnTo>
                    <a:pt x="461" y="197"/>
                  </a:lnTo>
                  <a:lnTo>
                    <a:pt x="463" y="197"/>
                  </a:lnTo>
                  <a:lnTo>
                    <a:pt x="465" y="197"/>
                  </a:lnTo>
                  <a:lnTo>
                    <a:pt x="465" y="199"/>
                  </a:lnTo>
                  <a:lnTo>
                    <a:pt x="465" y="199"/>
                  </a:lnTo>
                  <a:lnTo>
                    <a:pt x="465" y="203"/>
                  </a:lnTo>
                  <a:lnTo>
                    <a:pt x="465" y="203"/>
                  </a:lnTo>
                  <a:lnTo>
                    <a:pt x="467" y="203"/>
                  </a:lnTo>
                  <a:lnTo>
                    <a:pt x="469" y="203"/>
                  </a:lnTo>
                  <a:lnTo>
                    <a:pt x="469" y="201"/>
                  </a:lnTo>
                  <a:lnTo>
                    <a:pt x="471" y="199"/>
                  </a:lnTo>
                  <a:lnTo>
                    <a:pt x="476" y="191"/>
                  </a:lnTo>
                  <a:lnTo>
                    <a:pt x="476" y="189"/>
                  </a:lnTo>
                  <a:lnTo>
                    <a:pt x="478" y="184"/>
                  </a:lnTo>
                  <a:lnTo>
                    <a:pt x="478" y="182"/>
                  </a:lnTo>
                  <a:lnTo>
                    <a:pt x="476" y="172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id="{F15BBF94-0254-46C4-9839-9389DACED18A}"/>
              </a:ext>
            </a:extLst>
          </p:cNvPr>
          <p:cNvGrpSpPr/>
          <p:nvPr/>
        </p:nvGrpSpPr>
        <p:grpSpPr>
          <a:xfrm>
            <a:off x="7790826" y="2313563"/>
            <a:ext cx="856774" cy="234554"/>
            <a:chOff x="4934272" y="1712530"/>
            <a:chExt cx="1252538" cy="342900"/>
          </a:xfrm>
          <a:solidFill>
            <a:srgbClr val="92D050"/>
          </a:solidFill>
        </p:grpSpPr>
        <p:sp>
          <p:nvSpPr>
            <p:cNvPr id="128" name="Freeform 91">
              <a:extLst>
                <a:ext uri="{FF2B5EF4-FFF2-40B4-BE49-F238E27FC236}">
                  <a16:creationId xmlns:a16="http://schemas.microsoft.com/office/drawing/2014/main" id="{36025492-59C3-4175-B0BB-897BE6554E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7912" y="1917318"/>
              <a:ext cx="90488" cy="72628"/>
            </a:xfrm>
            <a:custGeom>
              <a:avLst/>
              <a:gdLst>
                <a:gd name="T0" fmla="*/ 76 w 76"/>
                <a:gd name="T1" fmla="*/ 55 h 61"/>
                <a:gd name="T2" fmla="*/ 73 w 76"/>
                <a:gd name="T3" fmla="*/ 55 h 61"/>
                <a:gd name="T4" fmla="*/ 71 w 76"/>
                <a:gd name="T5" fmla="*/ 57 h 61"/>
                <a:gd name="T6" fmla="*/ 71 w 76"/>
                <a:gd name="T7" fmla="*/ 55 h 61"/>
                <a:gd name="T8" fmla="*/ 69 w 76"/>
                <a:gd name="T9" fmla="*/ 36 h 61"/>
                <a:gd name="T10" fmla="*/ 69 w 76"/>
                <a:gd name="T11" fmla="*/ 29 h 61"/>
                <a:gd name="T12" fmla="*/ 69 w 76"/>
                <a:gd name="T13" fmla="*/ 27 h 61"/>
                <a:gd name="T14" fmla="*/ 63 w 76"/>
                <a:gd name="T15" fmla="*/ 25 h 61"/>
                <a:gd name="T16" fmla="*/ 57 w 76"/>
                <a:gd name="T17" fmla="*/ 25 h 61"/>
                <a:gd name="T18" fmla="*/ 50 w 76"/>
                <a:gd name="T19" fmla="*/ 25 h 61"/>
                <a:gd name="T20" fmla="*/ 44 w 76"/>
                <a:gd name="T21" fmla="*/ 21 h 61"/>
                <a:gd name="T22" fmla="*/ 40 w 76"/>
                <a:gd name="T23" fmla="*/ 17 h 61"/>
                <a:gd name="T24" fmla="*/ 38 w 76"/>
                <a:gd name="T25" fmla="*/ 0 h 61"/>
                <a:gd name="T26" fmla="*/ 25 w 76"/>
                <a:gd name="T27" fmla="*/ 11 h 61"/>
                <a:gd name="T28" fmla="*/ 21 w 76"/>
                <a:gd name="T29" fmla="*/ 15 h 61"/>
                <a:gd name="T30" fmla="*/ 19 w 76"/>
                <a:gd name="T31" fmla="*/ 15 h 61"/>
                <a:gd name="T32" fmla="*/ 19 w 76"/>
                <a:gd name="T33" fmla="*/ 13 h 61"/>
                <a:gd name="T34" fmla="*/ 19 w 76"/>
                <a:gd name="T35" fmla="*/ 11 h 61"/>
                <a:gd name="T36" fmla="*/ 17 w 76"/>
                <a:gd name="T37" fmla="*/ 13 h 61"/>
                <a:gd name="T38" fmla="*/ 11 w 76"/>
                <a:gd name="T39" fmla="*/ 11 h 61"/>
                <a:gd name="T40" fmla="*/ 8 w 76"/>
                <a:gd name="T41" fmla="*/ 13 h 61"/>
                <a:gd name="T42" fmla="*/ 8 w 76"/>
                <a:gd name="T43" fmla="*/ 17 h 61"/>
                <a:gd name="T44" fmla="*/ 6 w 76"/>
                <a:gd name="T45" fmla="*/ 21 h 61"/>
                <a:gd name="T46" fmla="*/ 0 w 76"/>
                <a:gd name="T47" fmla="*/ 29 h 61"/>
                <a:gd name="T48" fmla="*/ 0 w 76"/>
                <a:gd name="T49" fmla="*/ 32 h 61"/>
                <a:gd name="T50" fmla="*/ 23 w 76"/>
                <a:gd name="T51" fmla="*/ 44 h 61"/>
                <a:gd name="T52" fmla="*/ 27 w 76"/>
                <a:gd name="T53" fmla="*/ 44 h 61"/>
                <a:gd name="T54" fmla="*/ 29 w 76"/>
                <a:gd name="T55" fmla="*/ 46 h 61"/>
                <a:gd name="T56" fmla="*/ 32 w 76"/>
                <a:gd name="T57" fmla="*/ 50 h 61"/>
                <a:gd name="T58" fmla="*/ 34 w 76"/>
                <a:gd name="T59" fmla="*/ 50 h 61"/>
                <a:gd name="T60" fmla="*/ 40 w 76"/>
                <a:gd name="T61" fmla="*/ 53 h 61"/>
                <a:gd name="T62" fmla="*/ 44 w 76"/>
                <a:gd name="T63" fmla="*/ 55 h 61"/>
                <a:gd name="T64" fmla="*/ 52 w 76"/>
                <a:gd name="T65" fmla="*/ 57 h 61"/>
                <a:gd name="T66" fmla="*/ 57 w 76"/>
                <a:gd name="T67" fmla="*/ 59 h 61"/>
                <a:gd name="T68" fmla="*/ 61 w 76"/>
                <a:gd name="T69" fmla="*/ 59 h 61"/>
                <a:gd name="T70" fmla="*/ 63 w 76"/>
                <a:gd name="T71" fmla="*/ 61 h 61"/>
                <a:gd name="T72" fmla="*/ 76 w 76"/>
                <a:gd name="T7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" h="61">
                  <a:moveTo>
                    <a:pt x="76" y="61"/>
                  </a:moveTo>
                  <a:lnTo>
                    <a:pt x="76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1" y="57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38"/>
                  </a:lnTo>
                  <a:lnTo>
                    <a:pt x="69" y="36"/>
                  </a:lnTo>
                  <a:lnTo>
                    <a:pt x="69" y="32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67" y="27"/>
                  </a:lnTo>
                  <a:lnTo>
                    <a:pt x="63" y="25"/>
                  </a:lnTo>
                  <a:lnTo>
                    <a:pt x="61" y="25"/>
                  </a:lnTo>
                  <a:lnTo>
                    <a:pt x="57" y="25"/>
                  </a:lnTo>
                  <a:lnTo>
                    <a:pt x="55" y="25"/>
                  </a:lnTo>
                  <a:lnTo>
                    <a:pt x="50" y="25"/>
                  </a:lnTo>
                  <a:lnTo>
                    <a:pt x="46" y="25"/>
                  </a:lnTo>
                  <a:lnTo>
                    <a:pt x="44" y="21"/>
                  </a:lnTo>
                  <a:lnTo>
                    <a:pt x="42" y="19"/>
                  </a:lnTo>
                  <a:lnTo>
                    <a:pt x="40" y="17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4" y="4"/>
                  </a:lnTo>
                  <a:lnTo>
                    <a:pt x="25" y="11"/>
                  </a:lnTo>
                  <a:lnTo>
                    <a:pt x="23" y="13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3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1" y="11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7"/>
                  </a:lnTo>
                  <a:lnTo>
                    <a:pt x="8" y="19"/>
                  </a:lnTo>
                  <a:lnTo>
                    <a:pt x="6" y="21"/>
                  </a:lnTo>
                  <a:lnTo>
                    <a:pt x="2" y="27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40" y="53"/>
                  </a:lnTo>
                  <a:lnTo>
                    <a:pt x="42" y="55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7" y="59"/>
                  </a:lnTo>
                  <a:lnTo>
                    <a:pt x="59" y="59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76" y="61"/>
                  </a:lnTo>
                  <a:lnTo>
                    <a:pt x="76" y="61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29" name="Freeform 97">
              <a:extLst>
                <a:ext uri="{FF2B5EF4-FFF2-40B4-BE49-F238E27FC236}">
                  <a16:creationId xmlns:a16="http://schemas.microsoft.com/office/drawing/2014/main" id="{B5EF24D7-34B9-49BE-818F-EC37B9839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5956" y="1732771"/>
              <a:ext cx="282179" cy="214313"/>
            </a:xfrm>
            <a:custGeom>
              <a:avLst/>
              <a:gdLst>
                <a:gd name="T0" fmla="*/ 233 w 237"/>
                <a:gd name="T1" fmla="*/ 84 h 180"/>
                <a:gd name="T2" fmla="*/ 210 w 237"/>
                <a:gd name="T3" fmla="*/ 79 h 180"/>
                <a:gd name="T4" fmla="*/ 195 w 237"/>
                <a:gd name="T5" fmla="*/ 50 h 180"/>
                <a:gd name="T6" fmla="*/ 185 w 237"/>
                <a:gd name="T7" fmla="*/ 33 h 180"/>
                <a:gd name="T8" fmla="*/ 170 w 237"/>
                <a:gd name="T9" fmla="*/ 31 h 180"/>
                <a:gd name="T10" fmla="*/ 172 w 237"/>
                <a:gd name="T11" fmla="*/ 35 h 180"/>
                <a:gd name="T12" fmla="*/ 166 w 237"/>
                <a:gd name="T13" fmla="*/ 39 h 180"/>
                <a:gd name="T14" fmla="*/ 151 w 237"/>
                <a:gd name="T15" fmla="*/ 35 h 180"/>
                <a:gd name="T16" fmla="*/ 141 w 237"/>
                <a:gd name="T17" fmla="*/ 27 h 180"/>
                <a:gd name="T18" fmla="*/ 135 w 237"/>
                <a:gd name="T19" fmla="*/ 27 h 180"/>
                <a:gd name="T20" fmla="*/ 132 w 237"/>
                <a:gd name="T21" fmla="*/ 27 h 180"/>
                <a:gd name="T22" fmla="*/ 126 w 237"/>
                <a:gd name="T23" fmla="*/ 31 h 180"/>
                <a:gd name="T24" fmla="*/ 111 w 237"/>
                <a:gd name="T25" fmla="*/ 25 h 180"/>
                <a:gd name="T26" fmla="*/ 95 w 237"/>
                <a:gd name="T27" fmla="*/ 10 h 180"/>
                <a:gd name="T28" fmla="*/ 76 w 237"/>
                <a:gd name="T29" fmla="*/ 6 h 180"/>
                <a:gd name="T30" fmla="*/ 70 w 237"/>
                <a:gd name="T31" fmla="*/ 2 h 180"/>
                <a:gd name="T32" fmla="*/ 59 w 237"/>
                <a:gd name="T33" fmla="*/ 8 h 180"/>
                <a:gd name="T34" fmla="*/ 59 w 237"/>
                <a:gd name="T35" fmla="*/ 14 h 180"/>
                <a:gd name="T36" fmla="*/ 57 w 237"/>
                <a:gd name="T37" fmla="*/ 23 h 180"/>
                <a:gd name="T38" fmla="*/ 57 w 237"/>
                <a:gd name="T39" fmla="*/ 35 h 180"/>
                <a:gd name="T40" fmla="*/ 44 w 237"/>
                <a:gd name="T41" fmla="*/ 39 h 180"/>
                <a:gd name="T42" fmla="*/ 38 w 237"/>
                <a:gd name="T43" fmla="*/ 39 h 180"/>
                <a:gd name="T44" fmla="*/ 36 w 237"/>
                <a:gd name="T45" fmla="*/ 42 h 180"/>
                <a:gd name="T46" fmla="*/ 19 w 237"/>
                <a:gd name="T47" fmla="*/ 44 h 180"/>
                <a:gd name="T48" fmla="*/ 11 w 237"/>
                <a:gd name="T49" fmla="*/ 44 h 180"/>
                <a:gd name="T50" fmla="*/ 7 w 237"/>
                <a:gd name="T51" fmla="*/ 39 h 180"/>
                <a:gd name="T52" fmla="*/ 5 w 237"/>
                <a:gd name="T53" fmla="*/ 48 h 180"/>
                <a:gd name="T54" fmla="*/ 5 w 237"/>
                <a:gd name="T55" fmla="*/ 75 h 180"/>
                <a:gd name="T56" fmla="*/ 13 w 237"/>
                <a:gd name="T57" fmla="*/ 82 h 180"/>
                <a:gd name="T58" fmla="*/ 3 w 237"/>
                <a:gd name="T59" fmla="*/ 98 h 180"/>
                <a:gd name="T60" fmla="*/ 7 w 237"/>
                <a:gd name="T61" fmla="*/ 98 h 180"/>
                <a:gd name="T62" fmla="*/ 15 w 237"/>
                <a:gd name="T63" fmla="*/ 109 h 180"/>
                <a:gd name="T64" fmla="*/ 9 w 237"/>
                <a:gd name="T65" fmla="*/ 119 h 180"/>
                <a:gd name="T66" fmla="*/ 0 w 237"/>
                <a:gd name="T67" fmla="*/ 126 h 180"/>
                <a:gd name="T68" fmla="*/ 3 w 237"/>
                <a:gd name="T69" fmla="*/ 136 h 180"/>
                <a:gd name="T70" fmla="*/ 11 w 237"/>
                <a:gd name="T71" fmla="*/ 138 h 180"/>
                <a:gd name="T72" fmla="*/ 70 w 237"/>
                <a:gd name="T73" fmla="*/ 147 h 180"/>
                <a:gd name="T74" fmla="*/ 86 w 237"/>
                <a:gd name="T75" fmla="*/ 151 h 180"/>
                <a:gd name="T76" fmla="*/ 99 w 237"/>
                <a:gd name="T77" fmla="*/ 151 h 180"/>
                <a:gd name="T78" fmla="*/ 111 w 237"/>
                <a:gd name="T79" fmla="*/ 155 h 180"/>
                <a:gd name="T80" fmla="*/ 124 w 237"/>
                <a:gd name="T81" fmla="*/ 166 h 180"/>
                <a:gd name="T82" fmla="*/ 137 w 237"/>
                <a:gd name="T83" fmla="*/ 172 h 180"/>
                <a:gd name="T84" fmla="*/ 185 w 237"/>
                <a:gd name="T85" fmla="*/ 180 h 180"/>
                <a:gd name="T86" fmla="*/ 204 w 237"/>
                <a:gd name="T87" fmla="*/ 168 h 180"/>
                <a:gd name="T88" fmla="*/ 214 w 237"/>
                <a:gd name="T89" fmla="*/ 170 h 180"/>
                <a:gd name="T90" fmla="*/ 218 w 237"/>
                <a:gd name="T91" fmla="*/ 168 h 180"/>
                <a:gd name="T92" fmla="*/ 223 w 237"/>
                <a:gd name="T93" fmla="*/ 168 h 180"/>
                <a:gd name="T94" fmla="*/ 223 w 237"/>
                <a:gd name="T95" fmla="*/ 161 h 180"/>
                <a:gd name="T96" fmla="*/ 223 w 237"/>
                <a:gd name="T97" fmla="*/ 157 h 180"/>
                <a:gd name="T98" fmla="*/ 220 w 237"/>
                <a:gd name="T99" fmla="*/ 140 h 180"/>
                <a:gd name="T100" fmla="*/ 216 w 237"/>
                <a:gd name="T101" fmla="*/ 138 h 180"/>
                <a:gd name="T102" fmla="*/ 212 w 237"/>
                <a:gd name="T103" fmla="*/ 136 h 180"/>
                <a:gd name="T104" fmla="*/ 206 w 237"/>
                <a:gd name="T105" fmla="*/ 132 h 180"/>
                <a:gd name="T106" fmla="*/ 208 w 237"/>
                <a:gd name="T107" fmla="*/ 117 h 180"/>
                <a:gd name="T108" fmla="*/ 218 w 237"/>
                <a:gd name="T109" fmla="*/ 115 h 180"/>
                <a:gd name="T110" fmla="*/ 227 w 237"/>
                <a:gd name="T111" fmla="*/ 111 h 180"/>
                <a:gd name="T112" fmla="*/ 227 w 237"/>
                <a:gd name="T113" fmla="*/ 103 h 180"/>
                <a:gd name="T114" fmla="*/ 237 w 237"/>
                <a:gd name="T115" fmla="*/ 86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37" h="180">
                  <a:moveTo>
                    <a:pt x="237" y="86"/>
                  </a:moveTo>
                  <a:lnTo>
                    <a:pt x="235" y="84"/>
                  </a:lnTo>
                  <a:lnTo>
                    <a:pt x="235" y="84"/>
                  </a:lnTo>
                  <a:lnTo>
                    <a:pt x="233" y="84"/>
                  </a:lnTo>
                  <a:lnTo>
                    <a:pt x="233" y="84"/>
                  </a:lnTo>
                  <a:lnTo>
                    <a:pt x="229" y="86"/>
                  </a:lnTo>
                  <a:lnTo>
                    <a:pt x="225" y="86"/>
                  </a:lnTo>
                  <a:lnTo>
                    <a:pt x="220" y="84"/>
                  </a:lnTo>
                  <a:lnTo>
                    <a:pt x="216" y="82"/>
                  </a:lnTo>
                  <a:lnTo>
                    <a:pt x="210" y="79"/>
                  </a:lnTo>
                  <a:lnTo>
                    <a:pt x="208" y="71"/>
                  </a:lnTo>
                  <a:lnTo>
                    <a:pt x="204" y="54"/>
                  </a:lnTo>
                  <a:lnTo>
                    <a:pt x="199" y="52"/>
                  </a:lnTo>
                  <a:lnTo>
                    <a:pt x="197" y="50"/>
                  </a:lnTo>
                  <a:lnTo>
                    <a:pt x="195" y="50"/>
                  </a:lnTo>
                  <a:lnTo>
                    <a:pt x="189" y="39"/>
                  </a:lnTo>
                  <a:lnTo>
                    <a:pt x="187" y="33"/>
                  </a:lnTo>
                  <a:lnTo>
                    <a:pt x="187" y="31"/>
                  </a:lnTo>
                  <a:lnTo>
                    <a:pt x="185" y="31"/>
                  </a:lnTo>
                  <a:lnTo>
                    <a:pt x="185" y="33"/>
                  </a:lnTo>
                  <a:lnTo>
                    <a:pt x="183" y="31"/>
                  </a:lnTo>
                  <a:lnTo>
                    <a:pt x="176" y="31"/>
                  </a:lnTo>
                  <a:lnTo>
                    <a:pt x="174" y="31"/>
                  </a:lnTo>
                  <a:lnTo>
                    <a:pt x="172" y="29"/>
                  </a:lnTo>
                  <a:lnTo>
                    <a:pt x="170" y="31"/>
                  </a:lnTo>
                  <a:lnTo>
                    <a:pt x="172" y="31"/>
                  </a:lnTo>
                  <a:lnTo>
                    <a:pt x="172" y="31"/>
                  </a:lnTo>
                  <a:lnTo>
                    <a:pt x="172" y="33"/>
                  </a:lnTo>
                  <a:lnTo>
                    <a:pt x="172" y="35"/>
                  </a:lnTo>
                  <a:lnTo>
                    <a:pt x="172" y="35"/>
                  </a:lnTo>
                  <a:lnTo>
                    <a:pt x="170" y="35"/>
                  </a:lnTo>
                  <a:lnTo>
                    <a:pt x="170" y="37"/>
                  </a:lnTo>
                  <a:lnTo>
                    <a:pt x="168" y="37"/>
                  </a:lnTo>
                  <a:lnTo>
                    <a:pt x="166" y="39"/>
                  </a:lnTo>
                  <a:lnTo>
                    <a:pt x="166" y="39"/>
                  </a:lnTo>
                  <a:lnTo>
                    <a:pt x="164" y="39"/>
                  </a:lnTo>
                  <a:lnTo>
                    <a:pt x="162" y="39"/>
                  </a:lnTo>
                  <a:lnTo>
                    <a:pt x="160" y="37"/>
                  </a:lnTo>
                  <a:lnTo>
                    <a:pt x="158" y="37"/>
                  </a:lnTo>
                  <a:lnTo>
                    <a:pt x="151" y="35"/>
                  </a:lnTo>
                  <a:lnTo>
                    <a:pt x="149" y="33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3" y="27"/>
                  </a:lnTo>
                  <a:lnTo>
                    <a:pt x="141" y="27"/>
                  </a:lnTo>
                  <a:lnTo>
                    <a:pt x="141" y="27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7" y="25"/>
                  </a:lnTo>
                  <a:lnTo>
                    <a:pt x="135" y="27"/>
                  </a:lnTo>
                  <a:lnTo>
                    <a:pt x="137" y="27"/>
                  </a:lnTo>
                  <a:lnTo>
                    <a:pt x="135" y="29"/>
                  </a:lnTo>
                  <a:lnTo>
                    <a:pt x="135" y="29"/>
                  </a:lnTo>
                  <a:lnTo>
                    <a:pt x="135" y="29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0" y="29"/>
                  </a:lnTo>
                  <a:lnTo>
                    <a:pt x="128" y="29"/>
                  </a:lnTo>
                  <a:lnTo>
                    <a:pt x="128" y="31"/>
                  </a:lnTo>
                  <a:lnTo>
                    <a:pt x="126" y="31"/>
                  </a:lnTo>
                  <a:lnTo>
                    <a:pt x="124" y="29"/>
                  </a:lnTo>
                  <a:lnTo>
                    <a:pt x="122" y="31"/>
                  </a:lnTo>
                  <a:lnTo>
                    <a:pt x="120" y="29"/>
                  </a:lnTo>
                  <a:lnTo>
                    <a:pt x="118" y="27"/>
                  </a:lnTo>
                  <a:lnTo>
                    <a:pt x="111" y="25"/>
                  </a:lnTo>
                  <a:lnTo>
                    <a:pt x="107" y="25"/>
                  </a:lnTo>
                  <a:lnTo>
                    <a:pt x="103" y="23"/>
                  </a:lnTo>
                  <a:lnTo>
                    <a:pt x="101" y="18"/>
                  </a:lnTo>
                  <a:lnTo>
                    <a:pt x="97" y="14"/>
                  </a:lnTo>
                  <a:lnTo>
                    <a:pt x="95" y="10"/>
                  </a:lnTo>
                  <a:lnTo>
                    <a:pt x="93" y="6"/>
                  </a:lnTo>
                  <a:lnTo>
                    <a:pt x="88" y="4"/>
                  </a:lnTo>
                  <a:lnTo>
                    <a:pt x="86" y="4"/>
                  </a:lnTo>
                  <a:lnTo>
                    <a:pt x="78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4" y="6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0" y="2"/>
                  </a:lnTo>
                  <a:lnTo>
                    <a:pt x="67" y="2"/>
                  </a:lnTo>
                  <a:lnTo>
                    <a:pt x="63" y="0"/>
                  </a:lnTo>
                  <a:lnTo>
                    <a:pt x="61" y="2"/>
                  </a:lnTo>
                  <a:lnTo>
                    <a:pt x="61" y="4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10"/>
                  </a:lnTo>
                  <a:lnTo>
                    <a:pt x="61" y="10"/>
                  </a:lnTo>
                  <a:lnTo>
                    <a:pt x="61" y="12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23"/>
                  </a:lnTo>
                  <a:lnTo>
                    <a:pt x="57" y="27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3"/>
                  </a:lnTo>
                  <a:lnTo>
                    <a:pt x="57" y="35"/>
                  </a:lnTo>
                  <a:lnTo>
                    <a:pt x="55" y="42"/>
                  </a:lnTo>
                  <a:lnTo>
                    <a:pt x="53" y="44"/>
                  </a:lnTo>
                  <a:lnTo>
                    <a:pt x="51" y="44"/>
                  </a:lnTo>
                  <a:lnTo>
                    <a:pt x="49" y="42"/>
                  </a:lnTo>
                  <a:lnTo>
                    <a:pt x="44" y="39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0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42"/>
                  </a:lnTo>
                  <a:lnTo>
                    <a:pt x="36" y="44"/>
                  </a:lnTo>
                  <a:lnTo>
                    <a:pt x="34" y="46"/>
                  </a:lnTo>
                  <a:lnTo>
                    <a:pt x="24" y="44"/>
                  </a:lnTo>
                  <a:lnTo>
                    <a:pt x="21" y="44"/>
                  </a:lnTo>
                  <a:lnTo>
                    <a:pt x="19" y="44"/>
                  </a:lnTo>
                  <a:lnTo>
                    <a:pt x="17" y="42"/>
                  </a:lnTo>
                  <a:lnTo>
                    <a:pt x="15" y="42"/>
                  </a:lnTo>
                  <a:lnTo>
                    <a:pt x="13" y="42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39"/>
                  </a:lnTo>
                  <a:lnTo>
                    <a:pt x="7" y="39"/>
                  </a:lnTo>
                  <a:lnTo>
                    <a:pt x="7" y="42"/>
                  </a:lnTo>
                  <a:lnTo>
                    <a:pt x="5" y="42"/>
                  </a:lnTo>
                  <a:lnTo>
                    <a:pt x="5" y="44"/>
                  </a:lnTo>
                  <a:lnTo>
                    <a:pt x="5" y="46"/>
                  </a:lnTo>
                  <a:lnTo>
                    <a:pt x="5" y="48"/>
                  </a:lnTo>
                  <a:lnTo>
                    <a:pt x="5" y="50"/>
                  </a:lnTo>
                  <a:lnTo>
                    <a:pt x="5" y="52"/>
                  </a:lnTo>
                  <a:lnTo>
                    <a:pt x="3" y="54"/>
                  </a:lnTo>
                  <a:lnTo>
                    <a:pt x="3" y="58"/>
                  </a:lnTo>
                  <a:lnTo>
                    <a:pt x="5" y="75"/>
                  </a:lnTo>
                  <a:lnTo>
                    <a:pt x="5" y="77"/>
                  </a:lnTo>
                  <a:lnTo>
                    <a:pt x="7" y="77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7" y="88"/>
                  </a:lnTo>
                  <a:lnTo>
                    <a:pt x="3" y="94"/>
                  </a:lnTo>
                  <a:lnTo>
                    <a:pt x="3" y="96"/>
                  </a:lnTo>
                  <a:lnTo>
                    <a:pt x="3" y="98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3"/>
                  </a:lnTo>
                  <a:lnTo>
                    <a:pt x="5" y="100"/>
                  </a:lnTo>
                  <a:lnTo>
                    <a:pt x="7" y="98"/>
                  </a:lnTo>
                  <a:lnTo>
                    <a:pt x="11" y="100"/>
                  </a:lnTo>
                  <a:lnTo>
                    <a:pt x="13" y="100"/>
                  </a:lnTo>
                  <a:lnTo>
                    <a:pt x="15" y="100"/>
                  </a:lnTo>
                  <a:lnTo>
                    <a:pt x="15" y="105"/>
                  </a:lnTo>
                  <a:lnTo>
                    <a:pt x="15" y="109"/>
                  </a:lnTo>
                  <a:lnTo>
                    <a:pt x="13" y="111"/>
                  </a:lnTo>
                  <a:lnTo>
                    <a:pt x="9" y="115"/>
                  </a:lnTo>
                  <a:lnTo>
                    <a:pt x="7" y="117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7" y="119"/>
                  </a:lnTo>
                  <a:lnTo>
                    <a:pt x="5" y="119"/>
                  </a:lnTo>
                  <a:lnTo>
                    <a:pt x="5" y="121"/>
                  </a:lnTo>
                  <a:lnTo>
                    <a:pt x="3" y="124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3" y="134"/>
                  </a:lnTo>
                  <a:lnTo>
                    <a:pt x="3" y="136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5" y="136"/>
                  </a:lnTo>
                  <a:lnTo>
                    <a:pt x="9" y="138"/>
                  </a:lnTo>
                  <a:lnTo>
                    <a:pt x="11" y="138"/>
                  </a:lnTo>
                  <a:lnTo>
                    <a:pt x="13" y="142"/>
                  </a:lnTo>
                  <a:lnTo>
                    <a:pt x="21" y="142"/>
                  </a:lnTo>
                  <a:lnTo>
                    <a:pt x="38" y="145"/>
                  </a:lnTo>
                  <a:lnTo>
                    <a:pt x="47" y="145"/>
                  </a:lnTo>
                  <a:lnTo>
                    <a:pt x="70" y="147"/>
                  </a:lnTo>
                  <a:lnTo>
                    <a:pt x="72" y="147"/>
                  </a:lnTo>
                  <a:lnTo>
                    <a:pt x="76" y="149"/>
                  </a:lnTo>
                  <a:lnTo>
                    <a:pt x="78" y="149"/>
                  </a:lnTo>
                  <a:lnTo>
                    <a:pt x="82" y="149"/>
                  </a:lnTo>
                  <a:lnTo>
                    <a:pt x="86" y="151"/>
                  </a:lnTo>
                  <a:lnTo>
                    <a:pt x="93" y="151"/>
                  </a:lnTo>
                  <a:lnTo>
                    <a:pt x="97" y="151"/>
                  </a:lnTo>
                  <a:lnTo>
                    <a:pt x="99" y="151"/>
                  </a:lnTo>
                  <a:lnTo>
                    <a:pt x="99" y="151"/>
                  </a:lnTo>
                  <a:lnTo>
                    <a:pt x="99" y="151"/>
                  </a:lnTo>
                  <a:lnTo>
                    <a:pt x="101" y="151"/>
                  </a:lnTo>
                  <a:lnTo>
                    <a:pt x="103" y="151"/>
                  </a:lnTo>
                  <a:lnTo>
                    <a:pt x="105" y="153"/>
                  </a:lnTo>
                  <a:lnTo>
                    <a:pt x="109" y="155"/>
                  </a:lnTo>
                  <a:lnTo>
                    <a:pt x="111" y="155"/>
                  </a:lnTo>
                  <a:lnTo>
                    <a:pt x="116" y="157"/>
                  </a:lnTo>
                  <a:lnTo>
                    <a:pt x="118" y="159"/>
                  </a:lnTo>
                  <a:lnTo>
                    <a:pt x="122" y="161"/>
                  </a:lnTo>
                  <a:lnTo>
                    <a:pt x="122" y="163"/>
                  </a:lnTo>
                  <a:lnTo>
                    <a:pt x="124" y="166"/>
                  </a:lnTo>
                  <a:lnTo>
                    <a:pt x="126" y="166"/>
                  </a:lnTo>
                  <a:lnTo>
                    <a:pt x="132" y="168"/>
                  </a:lnTo>
                  <a:lnTo>
                    <a:pt x="135" y="168"/>
                  </a:lnTo>
                  <a:lnTo>
                    <a:pt x="137" y="170"/>
                  </a:lnTo>
                  <a:lnTo>
                    <a:pt x="137" y="172"/>
                  </a:lnTo>
                  <a:lnTo>
                    <a:pt x="141" y="174"/>
                  </a:lnTo>
                  <a:lnTo>
                    <a:pt x="145" y="172"/>
                  </a:lnTo>
                  <a:lnTo>
                    <a:pt x="149" y="174"/>
                  </a:lnTo>
                  <a:lnTo>
                    <a:pt x="166" y="178"/>
                  </a:lnTo>
                  <a:lnTo>
                    <a:pt x="185" y="180"/>
                  </a:lnTo>
                  <a:lnTo>
                    <a:pt x="195" y="180"/>
                  </a:lnTo>
                  <a:lnTo>
                    <a:pt x="199" y="178"/>
                  </a:lnTo>
                  <a:lnTo>
                    <a:pt x="202" y="176"/>
                  </a:lnTo>
                  <a:lnTo>
                    <a:pt x="202" y="172"/>
                  </a:lnTo>
                  <a:lnTo>
                    <a:pt x="204" y="168"/>
                  </a:lnTo>
                  <a:lnTo>
                    <a:pt x="206" y="168"/>
                  </a:lnTo>
                  <a:lnTo>
                    <a:pt x="212" y="168"/>
                  </a:lnTo>
                  <a:lnTo>
                    <a:pt x="214" y="168"/>
                  </a:lnTo>
                  <a:lnTo>
                    <a:pt x="214" y="168"/>
                  </a:lnTo>
                  <a:lnTo>
                    <a:pt x="214" y="170"/>
                  </a:lnTo>
                  <a:lnTo>
                    <a:pt x="216" y="172"/>
                  </a:lnTo>
                  <a:lnTo>
                    <a:pt x="216" y="172"/>
                  </a:lnTo>
                  <a:lnTo>
                    <a:pt x="218" y="170"/>
                  </a:lnTo>
                  <a:lnTo>
                    <a:pt x="216" y="168"/>
                  </a:lnTo>
                  <a:lnTo>
                    <a:pt x="218" y="168"/>
                  </a:lnTo>
                  <a:lnTo>
                    <a:pt x="218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20" y="166"/>
                  </a:lnTo>
                  <a:lnTo>
                    <a:pt x="223" y="168"/>
                  </a:lnTo>
                  <a:lnTo>
                    <a:pt x="223" y="168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9" y="166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59"/>
                  </a:lnTo>
                  <a:lnTo>
                    <a:pt x="223" y="159"/>
                  </a:lnTo>
                  <a:lnTo>
                    <a:pt x="223" y="157"/>
                  </a:lnTo>
                  <a:lnTo>
                    <a:pt x="223" y="157"/>
                  </a:lnTo>
                  <a:lnTo>
                    <a:pt x="223" y="155"/>
                  </a:lnTo>
                  <a:lnTo>
                    <a:pt x="223" y="153"/>
                  </a:lnTo>
                  <a:lnTo>
                    <a:pt x="220" y="147"/>
                  </a:lnTo>
                  <a:lnTo>
                    <a:pt x="220" y="142"/>
                  </a:lnTo>
                  <a:lnTo>
                    <a:pt x="220" y="140"/>
                  </a:lnTo>
                  <a:lnTo>
                    <a:pt x="220" y="140"/>
                  </a:lnTo>
                  <a:lnTo>
                    <a:pt x="220" y="140"/>
                  </a:lnTo>
                  <a:lnTo>
                    <a:pt x="218" y="140"/>
                  </a:lnTo>
                  <a:lnTo>
                    <a:pt x="218" y="138"/>
                  </a:lnTo>
                  <a:lnTo>
                    <a:pt x="216" y="138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4" y="136"/>
                  </a:lnTo>
                  <a:lnTo>
                    <a:pt x="212" y="136"/>
                  </a:lnTo>
                  <a:lnTo>
                    <a:pt x="212" y="136"/>
                  </a:lnTo>
                  <a:lnTo>
                    <a:pt x="210" y="134"/>
                  </a:lnTo>
                  <a:lnTo>
                    <a:pt x="210" y="134"/>
                  </a:lnTo>
                  <a:lnTo>
                    <a:pt x="208" y="132"/>
                  </a:lnTo>
                  <a:lnTo>
                    <a:pt x="206" y="132"/>
                  </a:lnTo>
                  <a:lnTo>
                    <a:pt x="206" y="130"/>
                  </a:lnTo>
                  <a:lnTo>
                    <a:pt x="208" y="121"/>
                  </a:lnTo>
                  <a:lnTo>
                    <a:pt x="208" y="119"/>
                  </a:lnTo>
                  <a:lnTo>
                    <a:pt x="208" y="119"/>
                  </a:lnTo>
                  <a:lnTo>
                    <a:pt x="208" y="117"/>
                  </a:lnTo>
                  <a:lnTo>
                    <a:pt x="210" y="117"/>
                  </a:lnTo>
                  <a:lnTo>
                    <a:pt x="212" y="115"/>
                  </a:lnTo>
                  <a:lnTo>
                    <a:pt x="212" y="115"/>
                  </a:lnTo>
                  <a:lnTo>
                    <a:pt x="216" y="117"/>
                  </a:lnTo>
                  <a:lnTo>
                    <a:pt x="218" y="115"/>
                  </a:lnTo>
                  <a:lnTo>
                    <a:pt x="220" y="115"/>
                  </a:lnTo>
                  <a:lnTo>
                    <a:pt x="220" y="115"/>
                  </a:lnTo>
                  <a:lnTo>
                    <a:pt x="223" y="113"/>
                  </a:lnTo>
                  <a:lnTo>
                    <a:pt x="225" y="113"/>
                  </a:lnTo>
                  <a:lnTo>
                    <a:pt x="227" y="111"/>
                  </a:lnTo>
                  <a:lnTo>
                    <a:pt x="227" y="109"/>
                  </a:lnTo>
                  <a:lnTo>
                    <a:pt x="227" y="109"/>
                  </a:lnTo>
                  <a:lnTo>
                    <a:pt x="229" y="107"/>
                  </a:lnTo>
                  <a:lnTo>
                    <a:pt x="229" y="105"/>
                  </a:lnTo>
                  <a:lnTo>
                    <a:pt x="227" y="103"/>
                  </a:lnTo>
                  <a:lnTo>
                    <a:pt x="229" y="98"/>
                  </a:lnTo>
                  <a:lnTo>
                    <a:pt x="229" y="96"/>
                  </a:lnTo>
                  <a:lnTo>
                    <a:pt x="231" y="92"/>
                  </a:lnTo>
                  <a:lnTo>
                    <a:pt x="237" y="86"/>
                  </a:lnTo>
                  <a:lnTo>
                    <a:pt x="237" y="86"/>
                  </a:lnTo>
                  <a:lnTo>
                    <a:pt x="237" y="8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30" name="Freeform 112">
              <a:extLst>
                <a:ext uri="{FF2B5EF4-FFF2-40B4-BE49-F238E27FC236}">
                  <a16:creationId xmlns:a16="http://schemas.microsoft.com/office/drawing/2014/main" id="{8FA8A6D6-D985-4EA1-8446-3985C28D061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1675" y="1749440"/>
              <a:ext cx="32147" cy="35719"/>
            </a:xfrm>
            <a:custGeom>
              <a:avLst/>
              <a:gdLst>
                <a:gd name="T0" fmla="*/ 27 w 27"/>
                <a:gd name="T1" fmla="*/ 2 h 30"/>
                <a:gd name="T2" fmla="*/ 27 w 27"/>
                <a:gd name="T3" fmla="*/ 2 h 30"/>
                <a:gd name="T4" fmla="*/ 27 w 27"/>
                <a:gd name="T5" fmla="*/ 2 h 30"/>
                <a:gd name="T6" fmla="*/ 14 w 27"/>
                <a:gd name="T7" fmla="*/ 4 h 30"/>
                <a:gd name="T8" fmla="*/ 10 w 27"/>
                <a:gd name="T9" fmla="*/ 4 h 30"/>
                <a:gd name="T10" fmla="*/ 6 w 27"/>
                <a:gd name="T11" fmla="*/ 2 h 30"/>
                <a:gd name="T12" fmla="*/ 4 w 27"/>
                <a:gd name="T13" fmla="*/ 2 h 30"/>
                <a:gd name="T14" fmla="*/ 4 w 27"/>
                <a:gd name="T15" fmla="*/ 0 h 30"/>
                <a:gd name="T16" fmla="*/ 4 w 27"/>
                <a:gd name="T17" fmla="*/ 0 h 30"/>
                <a:gd name="T18" fmla="*/ 4 w 27"/>
                <a:gd name="T19" fmla="*/ 0 h 30"/>
                <a:gd name="T20" fmla="*/ 0 w 27"/>
                <a:gd name="T21" fmla="*/ 2 h 30"/>
                <a:gd name="T22" fmla="*/ 0 w 27"/>
                <a:gd name="T23" fmla="*/ 4 h 30"/>
                <a:gd name="T24" fmla="*/ 0 w 27"/>
                <a:gd name="T25" fmla="*/ 15 h 30"/>
                <a:gd name="T26" fmla="*/ 4 w 27"/>
                <a:gd name="T27" fmla="*/ 17 h 30"/>
                <a:gd name="T28" fmla="*/ 4 w 27"/>
                <a:gd name="T29" fmla="*/ 21 h 30"/>
                <a:gd name="T30" fmla="*/ 6 w 27"/>
                <a:gd name="T31" fmla="*/ 23 h 30"/>
                <a:gd name="T32" fmla="*/ 6 w 27"/>
                <a:gd name="T33" fmla="*/ 23 h 30"/>
                <a:gd name="T34" fmla="*/ 8 w 27"/>
                <a:gd name="T35" fmla="*/ 23 h 30"/>
                <a:gd name="T36" fmla="*/ 8 w 27"/>
                <a:gd name="T37" fmla="*/ 23 h 30"/>
                <a:gd name="T38" fmla="*/ 8 w 27"/>
                <a:gd name="T39" fmla="*/ 25 h 30"/>
                <a:gd name="T40" fmla="*/ 8 w 27"/>
                <a:gd name="T41" fmla="*/ 25 h 30"/>
                <a:gd name="T42" fmla="*/ 10 w 27"/>
                <a:gd name="T43" fmla="*/ 25 h 30"/>
                <a:gd name="T44" fmla="*/ 12 w 27"/>
                <a:gd name="T45" fmla="*/ 28 h 30"/>
                <a:gd name="T46" fmla="*/ 12 w 27"/>
                <a:gd name="T47" fmla="*/ 28 h 30"/>
                <a:gd name="T48" fmla="*/ 12 w 27"/>
                <a:gd name="T49" fmla="*/ 28 h 30"/>
                <a:gd name="T50" fmla="*/ 14 w 27"/>
                <a:gd name="T51" fmla="*/ 25 h 30"/>
                <a:gd name="T52" fmla="*/ 19 w 27"/>
                <a:gd name="T53" fmla="*/ 28 h 30"/>
                <a:gd name="T54" fmla="*/ 21 w 27"/>
                <a:gd name="T55" fmla="*/ 30 h 30"/>
                <a:gd name="T56" fmla="*/ 23 w 27"/>
                <a:gd name="T57" fmla="*/ 30 h 30"/>
                <a:gd name="T58" fmla="*/ 25 w 27"/>
                <a:gd name="T59" fmla="*/ 28 h 30"/>
                <a:gd name="T60" fmla="*/ 27 w 27"/>
                <a:gd name="T61" fmla="*/ 21 h 30"/>
                <a:gd name="T62" fmla="*/ 27 w 27"/>
                <a:gd name="T63" fmla="*/ 19 h 30"/>
                <a:gd name="T64" fmla="*/ 27 w 27"/>
                <a:gd name="T65" fmla="*/ 17 h 30"/>
                <a:gd name="T66" fmla="*/ 27 w 27"/>
                <a:gd name="T67" fmla="*/ 17 h 30"/>
                <a:gd name="T68" fmla="*/ 27 w 27"/>
                <a:gd name="T69" fmla="*/ 13 h 30"/>
                <a:gd name="T70" fmla="*/ 27 w 27"/>
                <a:gd name="T71" fmla="*/ 9 h 30"/>
                <a:gd name="T72" fmla="*/ 27 w 27"/>
                <a:gd name="T73" fmla="*/ 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" h="30">
                  <a:moveTo>
                    <a:pt x="27" y="2"/>
                  </a:moveTo>
                  <a:lnTo>
                    <a:pt x="27" y="2"/>
                  </a:lnTo>
                  <a:lnTo>
                    <a:pt x="27" y="2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6" y="2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15"/>
                  </a:lnTo>
                  <a:lnTo>
                    <a:pt x="4" y="17"/>
                  </a:lnTo>
                  <a:lnTo>
                    <a:pt x="4" y="21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5"/>
                  </a:lnTo>
                  <a:lnTo>
                    <a:pt x="19" y="28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5" y="28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3"/>
                  </a:lnTo>
                  <a:lnTo>
                    <a:pt x="27" y="9"/>
                  </a:lnTo>
                  <a:lnTo>
                    <a:pt x="27" y="2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31" name="Freeform 116">
              <a:extLst>
                <a:ext uri="{FF2B5EF4-FFF2-40B4-BE49-F238E27FC236}">
                  <a16:creationId xmlns:a16="http://schemas.microsoft.com/office/drawing/2014/main" id="{3E18C186-607C-4496-ACB2-350EACC507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7925" y="1712530"/>
              <a:ext cx="598885" cy="342900"/>
            </a:xfrm>
            <a:custGeom>
              <a:avLst/>
              <a:gdLst>
                <a:gd name="T0" fmla="*/ 170 w 503"/>
                <a:gd name="T1" fmla="*/ 2 h 288"/>
                <a:gd name="T2" fmla="*/ 268 w 503"/>
                <a:gd name="T3" fmla="*/ 143 h 288"/>
                <a:gd name="T4" fmla="*/ 331 w 503"/>
                <a:gd name="T5" fmla="*/ 273 h 288"/>
                <a:gd name="T6" fmla="*/ 322 w 503"/>
                <a:gd name="T7" fmla="*/ 252 h 288"/>
                <a:gd name="T8" fmla="*/ 331 w 503"/>
                <a:gd name="T9" fmla="*/ 195 h 288"/>
                <a:gd name="T10" fmla="*/ 299 w 503"/>
                <a:gd name="T11" fmla="*/ 185 h 288"/>
                <a:gd name="T12" fmla="*/ 264 w 503"/>
                <a:gd name="T13" fmla="*/ 187 h 288"/>
                <a:gd name="T14" fmla="*/ 222 w 503"/>
                <a:gd name="T15" fmla="*/ 193 h 288"/>
                <a:gd name="T16" fmla="*/ 193 w 503"/>
                <a:gd name="T17" fmla="*/ 180 h 288"/>
                <a:gd name="T18" fmla="*/ 174 w 503"/>
                <a:gd name="T19" fmla="*/ 138 h 288"/>
                <a:gd name="T20" fmla="*/ 159 w 503"/>
                <a:gd name="T21" fmla="*/ 130 h 288"/>
                <a:gd name="T22" fmla="*/ 157 w 503"/>
                <a:gd name="T23" fmla="*/ 111 h 288"/>
                <a:gd name="T24" fmla="*/ 142 w 503"/>
                <a:gd name="T25" fmla="*/ 109 h 288"/>
                <a:gd name="T26" fmla="*/ 109 w 503"/>
                <a:gd name="T27" fmla="*/ 111 h 288"/>
                <a:gd name="T28" fmla="*/ 69 w 503"/>
                <a:gd name="T29" fmla="*/ 94 h 288"/>
                <a:gd name="T30" fmla="*/ 54 w 503"/>
                <a:gd name="T31" fmla="*/ 143 h 288"/>
                <a:gd name="T32" fmla="*/ 33 w 503"/>
                <a:gd name="T33" fmla="*/ 145 h 288"/>
                <a:gd name="T34" fmla="*/ 23 w 503"/>
                <a:gd name="T35" fmla="*/ 180 h 288"/>
                <a:gd name="T36" fmla="*/ 35 w 503"/>
                <a:gd name="T37" fmla="*/ 199 h 288"/>
                <a:gd name="T38" fmla="*/ 10 w 503"/>
                <a:gd name="T39" fmla="*/ 220 h 288"/>
                <a:gd name="T40" fmla="*/ 12 w 503"/>
                <a:gd name="T41" fmla="*/ 239 h 288"/>
                <a:gd name="T42" fmla="*/ 21 w 503"/>
                <a:gd name="T43" fmla="*/ 241 h 288"/>
                <a:gd name="T44" fmla="*/ 46 w 503"/>
                <a:gd name="T45" fmla="*/ 239 h 288"/>
                <a:gd name="T46" fmla="*/ 67 w 503"/>
                <a:gd name="T47" fmla="*/ 248 h 288"/>
                <a:gd name="T48" fmla="*/ 77 w 503"/>
                <a:gd name="T49" fmla="*/ 246 h 288"/>
                <a:gd name="T50" fmla="*/ 94 w 503"/>
                <a:gd name="T51" fmla="*/ 243 h 288"/>
                <a:gd name="T52" fmla="*/ 130 w 503"/>
                <a:gd name="T53" fmla="*/ 246 h 288"/>
                <a:gd name="T54" fmla="*/ 165 w 503"/>
                <a:gd name="T55" fmla="*/ 256 h 288"/>
                <a:gd name="T56" fmla="*/ 182 w 503"/>
                <a:gd name="T57" fmla="*/ 252 h 288"/>
                <a:gd name="T58" fmla="*/ 237 w 503"/>
                <a:gd name="T59" fmla="*/ 250 h 288"/>
                <a:gd name="T60" fmla="*/ 258 w 503"/>
                <a:gd name="T61" fmla="*/ 262 h 288"/>
                <a:gd name="T62" fmla="*/ 272 w 503"/>
                <a:gd name="T63" fmla="*/ 262 h 288"/>
                <a:gd name="T64" fmla="*/ 287 w 503"/>
                <a:gd name="T65" fmla="*/ 269 h 288"/>
                <a:gd name="T66" fmla="*/ 308 w 503"/>
                <a:gd name="T67" fmla="*/ 275 h 288"/>
                <a:gd name="T68" fmla="*/ 348 w 503"/>
                <a:gd name="T69" fmla="*/ 283 h 288"/>
                <a:gd name="T70" fmla="*/ 232 w 503"/>
                <a:gd name="T71" fmla="*/ 260 h 288"/>
                <a:gd name="T72" fmla="*/ 283 w 503"/>
                <a:gd name="T73" fmla="*/ 141 h 288"/>
                <a:gd name="T74" fmla="*/ 348 w 503"/>
                <a:gd name="T75" fmla="*/ 134 h 288"/>
                <a:gd name="T76" fmla="*/ 295 w 503"/>
                <a:gd name="T77" fmla="*/ 130 h 288"/>
                <a:gd name="T78" fmla="*/ 165 w 503"/>
                <a:gd name="T79" fmla="*/ 124 h 288"/>
                <a:gd name="T80" fmla="*/ 209 w 503"/>
                <a:gd name="T81" fmla="*/ 141 h 288"/>
                <a:gd name="T82" fmla="*/ 209 w 503"/>
                <a:gd name="T83" fmla="*/ 138 h 288"/>
                <a:gd name="T84" fmla="*/ 249 w 503"/>
                <a:gd name="T85" fmla="*/ 136 h 288"/>
                <a:gd name="T86" fmla="*/ 276 w 503"/>
                <a:gd name="T87" fmla="*/ 128 h 288"/>
                <a:gd name="T88" fmla="*/ 289 w 503"/>
                <a:gd name="T89" fmla="*/ 109 h 288"/>
                <a:gd name="T90" fmla="*/ 180 w 503"/>
                <a:gd name="T91" fmla="*/ 113 h 288"/>
                <a:gd name="T92" fmla="*/ 325 w 503"/>
                <a:gd name="T93" fmla="*/ 130 h 288"/>
                <a:gd name="T94" fmla="*/ 467 w 503"/>
                <a:gd name="T95" fmla="*/ 132 h 288"/>
                <a:gd name="T96" fmla="*/ 459 w 503"/>
                <a:gd name="T97" fmla="*/ 134 h 288"/>
                <a:gd name="T98" fmla="*/ 467 w 503"/>
                <a:gd name="T99" fmla="*/ 132 h 288"/>
                <a:gd name="T100" fmla="*/ 438 w 503"/>
                <a:gd name="T101" fmla="*/ 115 h 288"/>
                <a:gd name="T102" fmla="*/ 360 w 503"/>
                <a:gd name="T103" fmla="*/ 132 h 288"/>
                <a:gd name="T104" fmla="*/ 425 w 503"/>
                <a:gd name="T105" fmla="*/ 117 h 288"/>
                <a:gd name="T106" fmla="*/ 433 w 503"/>
                <a:gd name="T107" fmla="*/ 120 h 288"/>
                <a:gd name="T108" fmla="*/ 440 w 503"/>
                <a:gd name="T109" fmla="*/ 124 h 288"/>
                <a:gd name="T110" fmla="*/ 408 w 503"/>
                <a:gd name="T111" fmla="*/ 105 h 288"/>
                <a:gd name="T112" fmla="*/ 410 w 503"/>
                <a:gd name="T113" fmla="*/ 122 h 288"/>
                <a:gd name="T114" fmla="*/ 421 w 503"/>
                <a:gd name="T115" fmla="*/ 117 h 288"/>
                <a:gd name="T116" fmla="*/ 425 w 503"/>
                <a:gd name="T117" fmla="*/ 11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3" h="288">
                  <a:moveTo>
                    <a:pt x="157" y="10"/>
                  </a:moveTo>
                  <a:lnTo>
                    <a:pt x="157" y="10"/>
                  </a:lnTo>
                  <a:lnTo>
                    <a:pt x="159" y="10"/>
                  </a:lnTo>
                  <a:lnTo>
                    <a:pt x="161" y="10"/>
                  </a:lnTo>
                  <a:lnTo>
                    <a:pt x="161" y="10"/>
                  </a:lnTo>
                  <a:lnTo>
                    <a:pt x="163" y="10"/>
                  </a:lnTo>
                  <a:lnTo>
                    <a:pt x="163" y="10"/>
                  </a:lnTo>
                  <a:lnTo>
                    <a:pt x="165" y="10"/>
                  </a:lnTo>
                  <a:lnTo>
                    <a:pt x="167" y="10"/>
                  </a:lnTo>
                  <a:lnTo>
                    <a:pt x="167" y="10"/>
                  </a:lnTo>
                  <a:lnTo>
                    <a:pt x="170" y="8"/>
                  </a:lnTo>
                  <a:lnTo>
                    <a:pt x="170" y="8"/>
                  </a:lnTo>
                  <a:lnTo>
                    <a:pt x="170" y="6"/>
                  </a:lnTo>
                  <a:lnTo>
                    <a:pt x="170" y="2"/>
                  </a:lnTo>
                  <a:lnTo>
                    <a:pt x="170" y="2"/>
                  </a:lnTo>
                  <a:lnTo>
                    <a:pt x="167" y="0"/>
                  </a:lnTo>
                  <a:lnTo>
                    <a:pt x="167" y="0"/>
                  </a:lnTo>
                  <a:lnTo>
                    <a:pt x="165" y="0"/>
                  </a:lnTo>
                  <a:lnTo>
                    <a:pt x="163" y="0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2"/>
                  </a:lnTo>
                  <a:lnTo>
                    <a:pt x="159" y="4"/>
                  </a:lnTo>
                  <a:lnTo>
                    <a:pt x="157" y="6"/>
                  </a:lnTo>
                  <a:lnTo>
                    <a:pt x="155" y="6"/>
                  </a:lnTo>
                  <a:lnTo>
                    <a:pt x="157" y="8"/>
                  </a:lnTo>
                  <a:lnTo>
                    <a:pt x="157" y="10"/>
                  </a:lnTo>
                  <a:close/>
                  <a:moveTo>
                    <a:pt x="266" y="141"/>
                  </a:moveTo>
                  <a:lnTo>
                    <a:pt x="266" y="141"/>
                  </a:lnTo>
                  <a:lnTo>
                    <a:pt x="268" y="143"/>
                  </a:lnTo>
                  <a:lnTo>
                    <a:pt x="270" y="143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68" y="141"/>
                  </a:lnTo>
                  <a:lnTo>
                    <a:pt x="266" y="141"/>
                  </a:lnTo>
                  <a:lnTo>
                    <a:pt x="266" y="141"/>
                  </a:lnTo>
                  <a:close/>
                  <a:moveTo>
                    <a:pt x="346" y="279"/>
                  </a:moveTo>
                  <a:lnTo>
                    <a:pt x="346" y="279"/>
                  </a:lnTo>
                  <a:lnTo>
                    <a:pt x="346" y="277"/>
                  </a:lnTo>
                  <a:lnTo>
                    <a:pt x="339" y="275"/>
                  </a:lnTo>
                  <a:lnTo>
                    <a:pt x="337" y="275"/>
                  </a:lnTo>
                  <a:lnTo>
                    <a:pt x="335" y="275"/>
                  </a:lnTo>
                  <a:lnTo>
                    <a:pt x="335" y="275"/>
                  </a:lnTo>
                  <a:lnTo>
                    <a:pt x="333" y="273"/>
                  </a:lnTo>
                  <a:lnTo>
                    <a:pt x="331" y="273"/>
                  </a:lnTo>
                  <a:lnTo>
                    <a:pt x="331" y="271"/>
                  </a:lnTo>
                  <a:lnTo>
                    <a:pt x="329" y="269"/>
                  </a:lnTo>
                  <a:lnTo>
                    <a:pt x="329" y="262"/>
                  </a:lnTo>
                  <a:lnTo>
                    <a:pt x="329" y="258"/>
                  </a:lnTo>
                  <a:lnTo>
                    <a:pt x="327" y="256"/>
                  </a:lnTo>
                  <a:lnTo>
                    <a:pt x="327" y="262"/>
                  </a:lnTo>
                  <a:lnTo>
                    <a:pt x="327" y="264"/>
                  </a:lnTo>
                  <a:lnTo>
                    <a:pt x="327" y="264"/>
                  </a:lnTo>
                  <a:lnTo>
                    <a:pt x="325" y="264"/>
                  </a:lnTo>
                  <a:lnTo>
                    <a:pt x="325" y="262"/>
                  </a:lnTo>
                  <a:lnTo>
                    <a:pt x="325" y="258"/>
                  </a:lnTo>
                  <a:lnTo>
                    <a:pt x="322" y="256"/>
                  </a:lnTo>
                  <a:lnTo>
                    <a:pt x="322" y="254"/>
                  </a:lnTo>
                  <a:lnTo>
                    <a:pt x="322" y="254"/>
                  </a:lnTo>
                  <a:lnTo>
                    <a:pt x="322" y="252"/>
                  </a:lnTo>
                  <a:lnTo>
                    <a:pt x="325" y="248"/>
                  </a:lnTo>
                  <a:lnTo>
                    <a:pt x="327" y="229"/>
                  </a:lnTo>
                  <a:lnTo>
                    <a:pt x="331" y="216"/>
                  </a:lnTo>
                  <a:lnTo>
                    <a:pt x="331" y="212"/>
                  </a:lnTo>
                  <a:lnTo>
                    <a:pt x="331" y="210"/>
                  </a:lnTo>
                  <a:lnTo>
                    <a:pt x="331" y="210"/>
                  </a:lnTo>
                  <a:lnTo>
                    <a:pt x="331" y="210"/>
                  </a:lnTo>
                  <a:lnTo>
                    <a:pt x="331" y="208"/>
                  </a:lnTo>
                  <a:lnTo>
                    <a:pt x="331" y="208"/>
                  </a:lnTo>
                  <a:lnTo>
                    <a:pt x="333" y="206"/>
                  </a:lnTo>
                  <a:lnTo>
                    <a:pt x="333" y="206"/>
                  </a:lnTo>
                  <a:lnTo>
                    <a:pt x="333" y="201"/>
                  </a:lnTo>
                  <a:lnTo>
                    <a:pt x="333" y="199"/>
                  </a:lnTo>
                  <a:lnTo>
                    <a:pt x="333" y="197"/>
                  </a:lnTo>
                  <a:lnTo>
                    <a:pt x="331" y="195"/>
                  </a:lnTo>
                  <a:lnTo>
                    <a:pt x="327" y="193"/>
                  </a:lnTo>
                  <a:lnTo>
                    <a:pt x="327" y="191"/>
                  </a:lnTo>
                  <a:lnTo>
                    <a:pt x="325" y="191"/>
                  </a:lnTo>
                  <a:lnTo>
                    <a:pt x="325" y="191"/>
                  </a:lnTo>
                  <a:lnTo>
                    <a:pt x="322" y="191"/>
                  </a:lnTo>
                  <a:lnTo>
                    <a:pt x="320" y="191"/>
                  </a:lnTo>
                  <a:lnTo>
                    <a:pt x="320" y="191"/>
                  </a:lnTo>
                  <a:lnTo>
                    <a:pt x="318" y="191"/>
                  </a:lnTo>
                  <a:lnTo>
                    <a:pt x="314" y="187"/>
                  </a:lnTo>
                  <a:lnTo>
                    <a:pt x="314" y="187"/>
                  </a:lnTo>
                  <a:lnTo>
                    <a:pt x="312" y="187"/>
                  </a:lnTo>
                  <a:lnTo>
                    <a:pt x="308" y="187"/>
                  </a:lnTo>
                  <a:lnTo>
                    <a:pt x="306" y="187"/>
                  </a:lnTo>
                  <a:lnTo>
                    <a:pt x="302" y="187"/>
                  </a:lnTo>
                  <a:lnTo>
                    <a:pt x="299" y="185"/>
                  </a:lnTo>
                  <a:lnTo>
                    <a:pt x="297" y="180"/>
                  </a:lnTo>
                  <a:lnTo>
                    <a:pt x="293" y="178"/>
                  </a:lnTo>
                  <a:lnTo>
                    <a:pt x="291" y="178"/>
                  </a:lnTo>
                  <a:lnTo>
                    <a:pt x="285" y="185"/>
                  </a:lnTo>
                  <a:lnTo>
                    <a:pt x="283" y="185"/>
                  </a:lnTo>
                  <a:lnTo>
                    <a:pt x="281" y="185"/>
                  </a:lnTo>
                  <a:lnTo>
                    <a:pt x="278" y="185"/>
                  </a:lnTo>
                  <a:lnTo>
                    <a:pt x="276" y="185"/>
                  </a:lnTo>
                  <a:lnTo>
                    <a:pt x="276" y="185"/>
                  </a:lnTo>
                  <a:lnTo>
                    <a:pt x="274" y="185"/>
                  </a:lnTo>
                  <a:lnTo>
                    <a:pt x="272" y="187"/>
                  </a:lnTo>
                  <a:lnTo>
                    <a:pt x="270" y="189"/>
                  </a:lnTo>
                  <a:lnTo>
                    <a:pt x="268" y="189"/>
                  </a:lnTo>
                  <a:lnTo>
                    <a:pt x="266" y="189"/>
                  </a:lnTo>
                  <a:lnTo>
                    <a:pt x="264" y="187"/>
                  </a:lnTo>
                  <a:lnTo>
                    <a:pt x="262" y="187"/>
                  </a:lnTo>
                  <a:lnTo>
                    <a:pt x="260" y="187"/>
                  </a:lnTo>
                  <a:lnTo>
                    <a:pt x="258" y="189"/>
                  </a:lnTo>
                  <a:lnTo>
                    <a:pt x="258" y="189"/>
                  </a:lnTo>
                  <a:lnTo>
                    <a:pt x="245" y="187"/>
                  </a:lnTo>
                  <a:lnTo>
                    <a:pt x="243" y="187"/>
                  </a:lnTo>
                  <a:lnTo>
                    <a:pt x="239" y="189"/>
                  </a:lnTo>
                  <a:lnTo>
                    <a:pt x="239" y="189"/>
                  </a:lnTo>
                  <a:lnTo>
                    <a:pt x="237" y="189"/>
                  </a:lnTo>
                  <a:lnTo>
                    <a:pt x="234" y="189"/>
                  </a:lnTo>
                  <a:lnTo>
                    <a:pt x="230" y="191"/>
                  </a:lnTo>
                  <a:lnTo>
                    <a:pt x="226" y="193"/>
                  </a:lnTo>
                  <a:lnTo>
                    <a:pt x="226" y="195"/>
                  </a:lnTo>
                  <a:lnTo>
                    <a:pt x="224" y="195"/>
                  </a:lnTo>
                  <a:lnTo>
                    <a:pt x="222" y="193"/>
                  </a:lnTo>
                  <a:lnTo>
                    <a:pt x="220" y="191"/>
                  </a:lnTo>
                  <a:lnTo>
                    <a:pt x="218" y="191"/>
                  </a:lnTo>
                  <a:lnTo>
                    <a:pt x="216" y="191"/>
                  </a:lnTo>
                  <a:lnTo>
                    <a:pt x="214" y="191"/>
                  </a:lnTo>
                  <a:lnTo>
                    <a:pt x="214" y="191"/>
                  </a:lnTo>
                  <a:lnTo>
                    <a:pt x="211" y="191"/>
                  </a:lnTo>
                  <a:lnTo>
                    <a:pt x="209" y="189"/>
                  </a:lnTo>
                  <a:lnTo>
                    <a:pt x="207" y="189"/>
                  </a:lnTo>
                  <a:lnTo>
                    <a:pt x="205" y="187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199" y="183"/>
                  </a:lnTo>
                  <a:lnTo>
                    <a:pt x="197" y="183"/>
                  </a:lnTo>
                  <a:lnTo>
                    <a:pt x="195" y="183"/>
                  </a:lnTo>
                  <a:lnTo>
                    <a:pt x="193" y="180"/>
                  </a:lnTo>
                  <a:lnTo>
                    <a:pt x="180" y="176"/>
                  </a:lnTo>
                  <a:lnTo>
                    <a:pt x="172" y="170"/>
                  </a:lnTo>
                  <a:lnTo>
                    <a:pt x="172" y="162"/>
                  </a:lnTo>
                  <a:lnTo>
                    <a:pt x="174" y="162"/>
                  </a:lnTo>
                  <a:lnTo>
                    <a:pt x="176" y="159"/>
                  </a:lnTo>
                  <a:lnTo>
                    <a:pt x="178" y="157"/>
                  </a:lnTo>
                  <a:lnTo>
                    <a:pt x="178" y="153"/>
                  </a:lnTo>
                  <a:lnTo>
                    <a:pt x="178" y="151"/>
                  </a:lnTo>
                  <a:lnTo>
                    <a:pt x="178" y="147"/>
                  </a:lnTo>
                  <a:lnTo>
                    <a:pt x="178" y="147"/>
                  </a:lnTo>
                  <a:lnTo>
                    <a:pt x="178" y="145"/>
                  </a:lnTo>
                  <a:lnTo>
                    <a:pt x="176" y="143"/>
                  </a:lnTo>
                  <a:lnTo>
                    <a:pt x="176" y="141"/>
                  </a:lnTo>
                  <a:lnTo>
                    <a:pt x="174" y="138"/>
                  </a:lnTo>
                  <a:lnTo>
                    <a:pt x="174" y="138"/>
                  </a:lnTo>
                  <a:lnTo>
                    <a:pt x="172" y="138"/>
                  </a:lnTo>
                  <a:lnTo>
                    <a:pt x="170" y="141"/>
                  </a:lnTo>
                  <a:lnTo>
                    <a:pt x="167" y="143"/>
                  </a:lnTo>
                  <a:lnTo>
                    <a:pt x="167" y="145"/>
                  </a:lnTo>
                  <a:lnTo>
                    <a:pt x="161" y="143"/>
                  </a:lnTo>
                  <a:lnTo>
                    <a:pt x="159" y="141"/>
                  </a:lnTo>
                  <a:lnTo>
                    <a:pt x="157" y="138"/>
                  </a:lnTo>
                  <a:lnTo>
                    <a:pt x="163" y="138"/>
                  </a:lnTo>
                  <a:lnTo>
                    <a:pt x="165" y="138"/>
                  </a:lnTo>
                  <a:lnTo>
                    <a:pt x="165" y="136"/>
                  </a:lnTo>
                  <a:lnTo>
                    <a:pt x="163" y="134"/>
                  </a:lnTo>
                  <a:lnTo>
                    <a:pt x="163" y="132"/>
                  </a:lnTo>
                  <a:lnTo>
                    <a:pt x="161" y="132"/>
                  </a:lnTo>
                  <a:lnTo>
                    <a:pt x="161" y="132"/>
                  </a:lnTo>
                  <a:lnTo>
                    <a:pt x="159" y="130"/>
                  </a:lnTo>
                  <a:lnTo>
                    <a:pt x="159" y="128"/>
                  </a:lnTo>
                  <a:lnTo>
                    <a:pt x="159" y="128"/>
                  </a:lnTo>
                  <a:lnTo>
                    <a:pt x="159" y="126"/>
                  </a:lnTo>
                  <a:lnTo>
                    <a:pt x="161" y="126"/>
                  </a:lnTo>
                  <a:lnTo>
                    <a:pt x="163" y="126"/>
                  </a:lnTo>
                  <a:lnTo>
                    <a:pt x="163" y="124"/>
                  </a:lnTo>
                  <a:lnTo>
                    <a:pt x="161" y="124"/>
                  </a:lnTo>
                  <a:lnTo>
                    <a:pt x="159" y="124"/>
                  </a:lnTo>
                  <a:lnTo>
                    <a:pt x="159" y="124"/>
                  </a:lnTo>
                  <a:lnTo>
                    <a:pt x="157" y="124"/>
                  </a:lnTo>
                  <a:lnTo>
                    <a:pt x="155" y="120"/>
                  </a:lnTo>
                  <a:lnTo>
                    <a:pt x="155" y="120"/>
                  </a:lnTo>
                  <a:lnTo>
                    <a:pt x="155" y="117"/>
                  </a:lnTo>
                  <a:lnTo>
                    <a:pt x="157" y="113"/>
                  </a:lnTo>
                  <a:lnTo>
                    <a:pt x="157" y="111"/>
                  </a:lnTo>
                  <a:lnTo>
                    <a:pt x="157" y="109"/>
                  </a:lnTo>
                  <a:lnTo>
                    <a:pt x="157" y="109"/>
                  </a:lnTo>
                  <a:lnTo>
                    <a:pt x="157" y="109"/>
                  </a:lnTo>
                  <a:lnTo>
                    <a:pt x="155" y="107"/>
                  </a:lnTo>
                  <a:lnTo>
                    <a:pt x="155" y="107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3" y="109"/>
                  </a:lnTo>
                  <a:lnTo>
                    <a:pt x="153" y="111"/>
                  </a:lnTo>
                  <a:lnTo>
                    <a:pt x="151" y="111"/>
                  </a:lnTo>
                  <a:lnTo>
                    <a:pt x="151" y="111"/>
                  </a:lnTo>
                  <a:lnTo>
                    <a:pt x="149" y="111"/>
                  </a:lnTo>
                  <a:lnTo>
                    <a:pt x="147" y="111"/>
                  </a:lnTo>
                  <a:lnTo>
                    <a:pt x="144" y="109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0" y="107"/>
                  </a:lnTo>
                  <a:lnTo>
                    <a:pt x="140" y="109"/>
                  </a:lnTo>
                  <a:lnTo>
                    <a:pt x="140" y="109"/>
                  </a:lnTo>
                  <a:lnTo>
                    <a:pt x="138" y="109"/>
                  </a:lnTo>
                  <a:lnTo>
                    <a:pt x="134" y="107"/>
                  </a:lnTo>
                  <a:lnTo>
                    <a:pt x="132" y="107"/>
                  </a:lnTo>
                  <a:lnTo>
                    <a:pt x="128" y="109"/>
                  </a:lnTo>
                  <a:lnTo>
                    <a:pt x="128" y="109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9" y="111"/>
                  </a:lnTo>
                  <a:lnTo>
                    <a:pt x="115" y="111"/>
                  </a:lnTo>
                  <a:lnTo>
                    <a:pt x="111" y="111"/>
                  </a:lnTo>
                  <a:lnTo>
                    <a:pt x="109" y="111"/>
                  </a:lnTo>
                  <a:lnTo>
                    <a:pt x="107" y="109"/>
                  </a:lnTo>
                  <a:lnTo>
                    <a:pt x="100" y="103"/>
                  </a:lnTo>
                  <a:lnTo>
                    <a:pt x="98" y="99"/>
                  </a:lnTo>
                  <a:lnTo>
                    <a:pt x="96" y="99"/>
                  </a:lnTo>
                  <a:lnTo>
                    <a:pt x="94" y="99"/>
                  </a:lnTo>
                  <a:lnTo>
                    <a:pt x="92" y="101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6" y="101"/>
                  </a:lnTo>
                  <a:lnTo>
                    <a:pt x="82" y="101"/>
                  </a:lnTo>
                  <a:lnTo>
                    <a:pt x="75" y="99"/>
                  </a:lnTo>
                  <a:lnTo>
                    <a:pt x="73" y="99"/>
                  </a:lnTo>
                  <a:lnTo>
                    <a:pt x="71" y="96"/>
                  </a:lnTo>
                  <a:lnTo>
                    <a:pt x="69" y="94"/>
                  </a:lnTo>
                  <a:lnTo>
                    <a:pt x="69" y="94"/>
                  </a:lnTo>
                  <a:lnTo>
                    <a:pt x="65" y="101"/>
                  </a:lnTo>
                  <a:lnTo>
                    <a:pt x="65" y="103"/>
                  </a:lnTo>
                  <a:lnTo>
                    <a:pt x="65" y="105"/>
                  </a:lnTo>
                  <a:lnTo>
                    <a:pt x="63" y="113"/>
                  </a:lnTo>
                  <a:lnTo>
                    <a:pt x="63" y="115"/>
                  </a:lnTo>
                  <a:lnTo>
                    <a:pt x="63" y="124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32"/>
                  </a:lnTo>
                  <a:lnTo>
                    <a:pt x="63" y="134"/>
                  </a:lnTo>
                  <a:lnTo>
                    <a:pt x="63" y="134"/>
                  </a:lnTo>
                  <a:lnTo>
                    <a:pt x="63" y="136"/>
                  </a:lnTo>
                  <a:lnTo>
                    <a:pt x="59" y="138"/>
                  </a:lnTo>
                  <a:lnTo>
                    <a:pt x="56" y="141"/>
                  </a:lnTo>
                  <a:lnTo>
                    <a:pt x="54" y="143"/>
                  </a:lnTo>
                  <a:lnTo>
                    <a:pt x="52" y="143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9"/>
                  </a:lnTo>
                  <a:lnTo>
                    <a:pt x="44" y="149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35" y="145"/>
                  </a:lnTo>
                  <a:lnTo>
                    <a:pt x="35" y="145"/>
                  </a:lnTo>
                  <a:lnTo>
                    <a:pt x="33" y="145"/>
                  </a:lnTo>
                  <a:lnTo>
                    <a:pt x="33" y="145"/>
                  </a:lnTo>
                  <a:lnTo>
                    <a:pt x="33" y="145"/>
                  </a:lnTo>
                  <a:lnTo>
                    <a:pt x="31" y="145"/>
                  </a:lnTo>
                  <a:lnTo>
                    <a:pt x="29" y="145"/>
                  </a:lnTo>
                  <a:lnTo>
                    <a:pt x="27" y="143"/>
                  </a:lnTo>
                  <a:lnTo>
                    <a:pt x="25" y="145"/>
                  </a:lnTo>
                  <a:lnTo>
                    <a:pt x="25" y="149"/>
                  </a:lnTo>
                  <a:lnTo>
                    <a:pt x="25" y="153"/>
                  </a:lnTo>
                  <a:lnTo>
                    <a:pt x="25" y="157"/>
                  </a:lnTo>
                  <a:lnTo>
                    <a:pt x="25" y="157"/>
                  </a:lnTo>
                  <a:lnTo>
                    <a:pt x="23" y="170"/>
                  </a:lnTo>
                  <a:lnTo>
                    <a:pt x="25" y="174"/>
                  </a:lnTo>
                  <a:lnTo>
                    <a:pt x="25" y="176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3" y="180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3" y="185"/>
                  </a:lnTo>
                  <a:lnTo>
                    <a:pt x="25" y="187"/>
                  </a:lnTo>
                  <a:lnTo>
                    <a:pt x="25" y="187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31" y="189"/>
                  </a:lnTo>
                  <a:lnTo>
                    <a:pt x="33" y="191"/>
                  </a:lnTo>
                  <a:lnTo>
                    <a:pt x="35" y="193"/>
                  </a:lnTo>
                  <a:lnTo>
                    <a:pt x="35" y="195"/>
                  </a:lnTo>
                  <a:lnTo>
                    <a:pt x="35" y="195"/>
                  </a:lnTo>
                  <a:lnTo>
                    <a:pt x="35" y="199"/>
                  </a:lnTo>
                  <a:lnTo>
                    <a:pt x="35" y="201"/>
                  </a:lnTo>
                  <a:lnTo>
                    <a:pt x="33" y="206"/>
                  </a:lnTo>
                  <a:lnTo>
                    <a:pt x="33" y="210"/>
                  </a:lnTo>
                  <a:lnTo>
                    <a:pt x="31" y="210"/>
                  </a:lnTo>
                  <a:lnTo>
                    <a:pt x="31" y="210"/>
                  </a:lnTo>
                  <a:lnTo>
                    <a:pt x="29" y="210"/>
                  </a:lnTo>
                  <a:lnTo>
                    <a:pt x="29" y="210"/>
                  </a:lnTo>
                  <a:lnTo>
                    <a:pt x="29" y="210"/>
                  </a:lnTo>
                  <a:lnTo>
                    <a:pt x="27" y="208"/>
                  </a:lnTo>
                  <a:lnTo>
                    <a:pt x="27" y="210"/>
                  </a:lnTo>
                  <a:lnTo>
                    <a:pt x="25" y="210"/>
                  </a:lnTo>
                  <a:lnTo>
                    <a:pt x="23" y="212"/>
                  </a:lnTo>
                  <a:lnTo>
                    <a:pt x="21" y="212"/>
                  </a:lnTo>
                  <a:lnTo>
                    <a:pt x="15" y="216"/>
                  </a:lnTo>
                  <a:lnTo>
                    <a:pt x="10" y="220"/>
                  </a:lnTo>
                  <a:lnTo>
                    <a:pt x="6" y="222"/>
                  </a:lnTo>
                  <a:lnTo>
                    <a:pt x="4" y="225"/>
                  </a:lnTo>
                  <a:lnTo>
                    <a:pt x="2" y="227"/>
                  </a:lnTo>
                  <a:lnTo>
                    <a:pt x="2" y="227"/>
                  </a:lnTo>
                  <a:lnTo>
                    <a:pt x="2" y="227"/>
                  </a:lnTo>
                  <a:lnTo>
                    <a:pt x="2" y="229"/>
                  </a:lnTo>
                  <a:lnTo>
                    <a:pt x="2" y="231"/>
                  </a:lnTo>
                  <a:lnTo>
                    <a:pt x="2" y="231"/>
                  </a:lnTo>
                  <a:lnTo>
                    <a:pt x="2" y="235"/>
                  </a:lnTo>
                  <a:lnTo>
                    <a:pt x="0" y="235"/>
                  </a:lnTo>
                  <a:lnTo>
                    <a:pt x="0" y="237"/>
                  </a:lnTo>
                  <a:lnTo>
                    <a:pt x="6" y="239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9"/>
                  </a:lnTo>
                  <a:lnTo>
                    <a:pt x="12" y="237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5" y="235"/>
                  </a:lnTo>
                  <a:lnTo>
                    <a:pt x="15" y="235"/>
                  </a:lnTo>
                  <a:lnTo>
                    <a:pt x="17" y="235"/>
                  </a:lnTo>
                  <a:lnTo>
                    <a:pt x="17" y="235"/>
                  </a:lnTo>
                  <a:lnTo>
                    <a:pt x="17" y="237"/>
                  </a:lnTo>
                  <a:lnTo>
                    <a:pt x="17" y="237"/>
                  </a:lnTo>
                  <a:lnTo>
                    <a:pt x="19" y="237"/>
                  </a:lnTo>
                  <a:lnTo>
                    <a:pt x="19" y="239"/>
                  </a:lnTo>
                  <a:lnTo>
                    <a:pt x="21" y="239"/>
                  </a:lnTo>
                  <a:lnTo>
                    <a:pt x="21" y="239"/>
                  </a:lnTo>
                  <a:lnTo>
                    <a:pt x="21" y="241"/>
                  </a:lnTo>
                  <a:lnTo>
                    <a:pt x="21" y="241"/>
                  </a:lnTo>
                  <a:lnTo>
                    <a:pt x="23" y="241"/>
                  </a:lnTo>
                  <a:lnTo>
                    <a:pt x="29" y="239"/>
                  </a:lnTo>
                  <a:lnTo>
                    <a:pt x="31" y="239"/>
                  </a:lnTo>
                  <a:lnTo>
                    <a:pt x="31" y="239"/>
                  </a:lnTo>
                  <a:lnTo>
                    <a:pt x="31" y="237"/>
                  </a:lnTo>
                  <a:lnTo>
                    <a:pt x="33" y="239"/>
                  </a:lnTo>
                  <a:lnTo>
                    <a:pt x="33" y="239"/>
                  </a:lnTo>
                  <a:lnTo>
                    <a:pt x="35" y="239"/>
                  </a:lnTo>
                  <a:lnTo>
                    <a:pt x="35" y="239"/>
                  </a:lnTo>
                  <a:lnTo>
                    <a:pt x="40" y="239"/>
                  </a:lnTo>
                  <a:lnTo>
                    <a:pt x="42" y="239"/>
                  </a:lnTo>
                  <a:lnTo>
                    <a:pt x="42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6" y="239"/>
                  </a:lnTo>
                  <a:lnTo>
                    <a:pt x="46" y="239"/>
                  </a:lnTo>
                  <a:lnTo>
                    <a:pt x="48" y="241"/>
                  </a:lnTo>
                  <a:lnTo>
                    <a:pt x="48" y="241"/>
                  </a:lnTo>
                  <a:lnTo>
                    <a:pt x="48" y="243"/>
                  </a:lnTo>
                  <a:lnTo>
                    <a:pt x="48" y="243"/>
                  </a:lnTo>
                  <a:lnTo>
                    <a:pt x="54" y="246"/>
                  </a:lnTo>
                  <a:lnTo>
                    <a:pt x="56" y="246"/>
                  </a:lnTo>
                  <a:lnTo>
                    <a:pt x="59" y="246"/>
                  </a:lnTo>
                  <a:lnTo>
                    <a:pt x="59" y="246"/>
                  </a:lnTo>
                  <a:lnTo>
                    <a:pt x="63" y="246"/>
                  </a:lnTo>
                  <a:lnTo>
                    <a:pt x="65" y="248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9" y="250"/>
                  </a:lnTo>
                  <a:lnTo>
                    <a:pt x="71" y="250"/>
                  </a:lnTo>
                  <a:lnTo>
                    <a:pt x="73" y="250"/>
                  </a:lnTo>
                  <a:lnTo>
                    <a:pt x="73" y="250"/>
                  </a:lnTo>
                  <a:lnTo>
                    <a:pt x="73" y="248"/>
                  </a:lnTo>
                  <a:lnTo>
                    <a:pt x="71" y="248"/>
                  </a:lnTo>
                  <a:lnTo>
                    <a:pt x="71" y="246"/>
                  </a:lnTo>
                  <a:lnTo>
                    <a:pt x="73" y="246"/>
                  </a:lnTo>
                  <a:lnTo>
                    <a:pt x="73" y="246"/>
                  </a:lnTo>
                  <a:lnTo>
                    <a:pt x="73" y="243"/>
                  </a:lnTo>
                  <a:lnTo>
                    <a:pt x="73" y="243"/>
                  </a:lnTo>
                  <a:lnTo>
                    <a:pt x="75" y="241"/>
                  </a:lnTo>
                  <a:lnTo>
                    <a:pt x="75" y="243"/>
                  </a:lnTo>
                  <a:lnTo>
                    <a:pt x="75" y="243"/>
                  </a:lnTo>
                  <a:lnTo>
                    <a:pt x="77" y="246"/>
                  </a:lnTo>
                  <a:lnTo>
                    <a:pt x="77" y="246"/>
                  </a:lnTo>
                  <a:lnTo>
                    <a:pt x="79" y="246"/>
                  </a:lnTo>
                  <a:lnTo>
                    <a:pt x="79" y="243"/>
                  </a:lnTo>
                  <a:lnTo>
                    <a:pt x="79" y="241"/>
                  </a:lnTo>
                  <a:lnTo>
                    <a:pt x="79" y="239"/>
                  </a:lnTo>
                  <a:lnTo>
                    <a:pt x="82" y="239"/>
                  </a:lnTo>
                  <a:lnTo>
                    <a:pt x="82" y="239"/>
                  </a:lnTo>
                  <a:lnTo>
                    <a:pt x="84" y="239"/>
                  </a:lnTo>
                  <a:lnTo>
                    <a:pt x="84" y="239"/>
                  </a:lnTo>
                  <a:lnTo>
                    <a:pt x="86" y="241"/>
                  </a:lnTo>
                  <a:lnTo>
                    <a:pt x="88" y="239"/>
                  </a:lnTo>
                  <a:lnTo>
                    <a:pt x="88" y="241"/>
                  </a:lnTo>
                  <a:lnTo>
                    <a:pt x="90" y="243"/>
                  </a:lnTo>
                  <a:lnTo>
                    <a:pt x="92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4" y="243"/>
                  </a:lnTo>
                  <a:lnTo>
                    <a:pt x="96" y="241"/>
                  </a:lnTo>
                  <a:lnTo>
                    <a:pt x="98" y="241"/>
                  </a:lnTo>
                  <a:lnTo>
                    <a:pt x="100" y="243"/>
                  </a:lnTo>
                  <a:lnTo>
                    <a:pt x="103" y="243"/>
                  </a:lnTo>
                  <a:lnTo>
                    <a:pt x="119" y="246"/>
                  </a:lnTo>
                  <a:lnTo>
                    <a:pt x="121" y="246"/>
                  </a:lnTo>
                  <a:lnTo>
                    <a:pt x="123" y="246"/>
                  </a:lnTo>
                  <a:lnTo>
                    <a:pt x="123" y="248"/>
                  </a:lnTo>
                  <a:lnTo>
                    <a:pt x="123" y="248"/>
                  </a:lnTo>
                  <a:lnTo>
                    <a:pt x="126" y="248"/>
                  </a:lnTo>
                  <a:lnTo>
                    <a:pt x="128" y="246"/>
                  </a:lnTo>
                  <a:lnTo>
                    <a:pt x="128" y="246"/>
                  </a:lnTo>
                  <a:lnTo>
                    <a:pt x="130" y="246"/>
                  </a:lnTo>
                  <a:lnTo>
                    <a:pt x="132" y="246"/>
                  </a:lnTo>
                  <a:lnTo>
                    <a:pt x="136" y="248"/>
                  </a:lnTo>
                  <a:lnTo>
                    <a:pt x="136" y="248"/>
                  </a:lnTo>
                  <a:lnTo>
                    <a:pt x="136" y="250"/>
                  </a:lnTo>
                  <a:lnTo>
                    <a:pt x="136" y="250"/>
                  </a:lnTo>
                  <a:lnTo>
                    <a:pt x="138" y="250"/>
                  </a:lnTo>
                  <a:lnTo>
                    <a:pt x="140" y="250"/>
                  </a:lnTo>
                  <a:lnTo>
                    <a:pt x="140" y="252"/>
                  </a:lnTo>
                  <a:lnTo>
                    <a:pt x="142" y="252"/>
                  </a:lnTo>
                  <a:lnTo>
                    <a:pt x="149" y="252"/>
                  </a:lnTo>
                  <a:lnTo>
                    <a:pt x="155" y="254"/>
                  </a:lnTo>
                  <a:lnTo>
                    <a:pt x="159" y="254"/>
                  </a:lnTo>
                  <a:lnTo>
                    <a:pt x="163" y="256"/>
                  </a:lnTo>
                  <a:lnTo>
                    <a:pt x="163" y="256"/>
                  </a:lnTo>
                  <a:lnTo>
                    <a:pt x="165" y="256"/>
                  </a:lnTo>
                  <a:lnTo>
                    <a:pt x="167" y="254"/>
                  </a:lnTo>
                  <a:lnTo>
                    <a:pt x="167" y="254"/>
                  </a:lnTo>
                  <a:lnTo>
                    <a:pt x="170" y="254"/>
                  </a:lnTo>
                  <a:lnTo>
                    <a:pt x="172" y="254"/>
                  </a:lnTo>
                  <a:lnTo>
                    <a:pt x="172" y="254"/>
                  </a:lnTo>
                  <a:lnTo>
                    <a:pt x="174" y="252"/>
                  </a:lnTo>
                  <a:lnTo>
                    <a:pt x="174" y="252"/>
                  </a:lnTo>
                  <a:lnTo>
                    <a:pt x="176" y="252"/>
                  </a:lnTo>
                  <a:lnTo>
                    <a:pt x="176" y="252"/>
                  </a:lnTo>
                  <a:lnTo>
                    <a:pt x="176" y="252"/>
                  </a:lnTo>
                  <a:lnTo>
                    <a:pt x="178" y="252"/>
                  </a:lnTo>
                  <a:lnTo>
                    <a:pt x="178" y="252"/>
                  </a:lnTo>
                  <a:lnTo>
                    <a:pt x="178" y="252"/>
                  </a:lnTo>
                  <a:lnTo>
                    <a:pt x="180" y="250"/>
                  </a:lnTo>
                  <a:lnTo>
                    <a:pt x="182" y="252"/>
                  </a:lnTo>
                  <a:lnTo>
                    <a:pt x="182" y="252"/>
                  </a:lnTo>
                  <a:lnTo>
                    <a:pt x="186" y="254"/>
                  </a:lnTo>
                  <a:lnTo>
                    <a:pt x="188" y="252"/>
                  </a:lnTo>
                  <a:lnTo>
                    <a:pt x="193" y="246"/>
                  </a:lnTo>
                  <a:lnTo>
                    <a:pt x="197" y="243"/>
                  </a:lnTo>
                  <a:lnTo>
                    <a:pt x="201" y="241"/>
                  </a:lnTo>
                  <a:lnTo>
                    <a:pt x="214" y="241"/>
                  </a:lnTo>
                  <a:lnTo>
                    <a:pt x="218" y="241"/>
                  </a:lnTo>
                  <a:lnTo>
                    <a:pt x="222" y="241"/>
                  </a:lnTo>
                  <a:lnTo>
                    <a:pt x="226" y="243"/>
                  </a:lnTo>
                  <a:lnTo>
                    <a:pt x="228" y="246"/>
                  </a:lnTo>
                  <a:lnTo>
                    <a:pt x="232" y="252"/>
                  </a:lnTo>
                  <a:lnTo>
                    <a:pt x="234" y="252"/>
                  </a:lnTo>
                  <a:lnTo>
                    <a:pt x="234" y="252"/>
                  </a:lnTo>
                  <a:lnTo>
                    <a:pt x="237" y="250"/>
                  </a:lnTo>
                  <a:lnTo>
                    <a:pt x="239" y="250"/>
                  </a:lnTo>
                  <a:lnTo>
                    <a:pt x="239" y="252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1" y="254"/>
                  </a:lnTo>
                  <a:lnTo>
                    <a:pt x="245" y="256"/>
                  </a:lnTo>
                  <a:lnTo>
                    <a:pt x="245" y="256"/>
                  </a:lnTo>
                  <a:lnTo>
                    <a:pt x="249" y="256"/>
                  </a:lnTo>
                  <a:lnTo>
                    <a:pt x="249" y="256"/>
                  </a:lnTo>
                  <a:lnTo>
                    <a:pt x="251" y="256"/>
                  </a:lnTo>
                  <a:lnTo>
                    <a:pt x="251" y="256"/>
                  </a:lnTo>
                  <a:lnTo>
                    <a:pt x="253" y="258"/>
                  </a:lnTo>
                  <a:lnTo>
                    <a:pt x="255" y="258"/>
                  </a:lnTo>
                  <a:lnTo>
                    <a:pt x="258" y="260"/>
                  </a:lnTo>
                  <a:lnTo>
                    <a:pt x="258" y="262"/>
                  </a:lnTo>
                  <a:lnTo>
                    <a:pt x="260" y="262"/>
                  </a:lnTo>
                  <a:lnTo>
                    <a:pt x="260" y="262"/>
                  </a:lnTo>
                  <a:lnTo>
                    <a:pt x="262" y="262"/>
                  </a:lnTo>
                  <a:lnTo>
                    <a:pt x="262" y="262"/>
                  </a:lnTo>
                  <a:lnTo>
                    <a:pt x="264" y="262"/>
                  </a:lnTo>
                  <a:lnTo>
                    <a:pt x="262" y="264"/>
                  </a:lnTo>
                  <a:lnTo>
                    <a:pt x="264" y="264"/>
                  </a:lnTo>
                  <a:lnTo>
                    <a:pt x="264" y="264"/>
                  </a:lnTo>
                  <a:lnTo>
                    <a:pt x="266" y="264"/>
                  </a:lnTo>
                  <a:lnTo>
                    <a:pt x="266" y="264"/>
                  </a:lnTo>
                  <a:lnTo>
                    <a:pt x="266" y="264"/>
                  </a:lnTo>
                  <a:lnTo>
                    <a:pt x="268" y="262"/>
                  </a:lnTo>
                  <a:lnTo>
                    <a:pt x="270" y="262"/>
                  </a:lnTo>
                  <a:lnTo>
                    <a:pt x="270" y="262"/>
                  </a:lnTo>
                  <a:lnTo>
                    <a:pt x="272" y="262"/>
                  </a:lnTo>
                  <a:lnTo>
                    <a:pt x="272" y="267"/>
                  </a:lnTo>
                  <a:lnTo>
                    <a:pt x="272" y="267"/>
                  </a:lnTo>
                  <a:lnTo>
                    <a:pt x="272" y="267"/>
                  </a:lnTo>
                  <a:lnTo>
                    <a:pt x="272" y="267"/>
                  </a:lnTo>
                  <a:lnTo>
                    <a:pt x="272" y="267"/>
                  </a:lnTo>
                  <a:lnTo>
                    <a:pt x="274" y="267"/>
                  </a:lnTo>
                  <a:lnTo>
                    <a:pt x="274" y="267"/>
                  </a:lnTo>
                  <a:lnTo>
                    <a:pt x="278" y="269"/>
                  </a:lnTo>
                  <a:lnTo>
                    <a:pt x="281" y="269"/>
                  </a:lnTo>
                  <a:lnTo>
                    <a:pt x="283" y="269"/>
                  </a:lnTo>
                  <a:lnTo>
                    <a:pt x="283" y="269"/>
                  </a:lnTo>
                  <a:lnTo>
                    <a:pt x="285" y="269"/>
                  </a:lnTo>
                  <a:lnTo>
                    <a:pt x="285" y="269"/>
                  </a:lnTo>
                  <a:lnTo>
                    <a:pt x="287" y="269"/>
                  </a:lnTo>
                  <a:lnTo>
                    <a:pt x="287" y="269"/>
                  </a:lnTo>
                  <a:lnTo>
                    <a:pt x="287" y="271"/>
                  </a:lnTo>
                  <a:lnTo>
                    <a:pt x="287" y="273"/>
                  </a:lnTo>
                  <a:lnTo>
                    <a:pt x="287" y="273"/>
                  </a:lnTo>
                  <a:lnTo>
                    <a:pt x="289" y="273"/>
                  </a:lnTo>
                  <a:lnTo>
                    <a:pt x="291" y="273"/>
                  </a:lnTo>
                  <a:lnTo>
                    <a:pt x="291" y="273"/>
                  </a:lnTo>
                  <a:lnTo>
                    <a:pt x="293" y="273"/>
                  </a:lnTo>
                  <a:lnTo>
                    <a:pt x="293" y="275"/>
                  </a:lnTo>
                  <a:lnTo>
                    <a:pt x="295" y="275"/>
                  </a:lnTo>
                  <a:lnTo>
                    <a:pt x="297" y="275"/>
                  </a:lnTo>
                  <a:lnTo>
                    <a:pt x="299" y="275"/>
                  </a:lnTo>
                  <a:lnTo>
                    <a:pt x="304" y="273"/>
                  </a:lnTo>
                  <a:lnTo>
                    <a:pt x="306" y="273"/>
                  </a:lnTo>
                  <a:lnTo>
                    <a:pt x="306" y="275"/>
                  </a:lnTo>
                  <a:lnTo>
                    <a:pt x="308" y="275"/>
                  </a:lnTo>
                  <a:lnTo>
                    <a:pt x="310" y="275"/>
                  </a:lnTo>
                  <a:lnTo>
                    <a:pt x="314" y="273"/>
                  </a:lnTo>
                  <a:lnTo>
                    <a:pt x="318" y="273"/>
                  </a:lnTo>
                  <a:lnTo>
                    <a:pt x="322" y="275"/>
                  </a:lnTo>
                  <a:lnTo>
                    <a:pt x="325" y="277"/>
                  </a:lnTo>
                  <a:lnTo>
                    <a:pt x="327" y="281"/>
                  </a:lnTo>
                  <a:lnTo>
                    <a:pt x="325" y="283"/>
                  </a:lnTo>
                  <a:lnTo>
                    <a:pt x="325" y="285"/>
                  </a:lnTo>
                  <a:lnTo>
                    <a:pt x="327" y="285"/>
                  </a:lnTo>
                  <a:lnTo>
                    <a:pt x="331" y="285"/>
                  </a:lnTo>
                  <a:lnTo>
                    <a:pt x="333" y="285"/>
                  </a:lnTo>
                  <a:lnTo>
                    <a:pt x="341" y="288"/>
                  </a:lnTo>
                  <a:lnTo>
                    <a:pt x="346" y="288"/>
                  </a:lnTo>
                  <a:lnTo>
                    <a:pt x="348" y="285"/>
                  </a:lnTo>
                  <a:lnTo>
                    <a:pt x="348" y="283"/>
                  </a:lnTo>
                  <a:lnTo>
                    <a:pt x="348" y="281"/>
                  </a:lnTo>
                  <a:lnTo>
                    <a:pt x="346" y="279"/>
                  </a:lnTo>
                  <a:close/>
                  <a:moveTo>
                    <a:pt x="232" y="258"/>
                  </a:moveTo>
                  <a:lnTo>
                    <a:pt x="232" y="256"/>
                  </a:lnTo>
                  <a:lnTo>
                    <a:pt x="226" y="256"/>
                  </a:lnTo>
                  <a:lnTo>
                    <a:pt x="222" y="256"/>
                  </a:lnTo>
                  <a:lnTo>
                    <a:pt x="222" y="256"/>
                  </a:lnTo>
                  <a:lnTo>
                    <a:pt x="222" y="256"/>
                  </a:lnTo>
                  <a:lnTo>
                    <a:pt x="222" y="258"/>
                  </a:lnTo>
                  <a:lnTo>
                    <a:pt x="222" y="260"/>
                  </a:lnTo>
                  <a:lnTo>
                    <a:pt x="222" y="260"/>
                  </a:lnTo>
                  <a:lnTo>
                    <a:pt x="222" y="262"/>
                  </a:lnTo>
                  <a:lnTo>
                    <a:pt x="230" y="262"/>
                  </a:lnTo>
                  <a:lnTo>
                    <a:pt x="232" y="260"/>
                  </a:lnTo>
                  <a:lnTo>
                    <a:pt x="232" y="260"/>
                  </a:lnTo>
                  <a:lnTo>
                    <a:pt x="234" y="260"/>
                  </a:lnTo>
                  <a:lnTo>
                    <a:pt x="234" y="258"/>
                  </a:lnTo>
                  <a:lnTo>
                    <a:pt x="232" y="258"/>
                  </a:lnTo>
                  <a:close/>
                  <a:moveTo>
                    <a:pt x="283" y="136"/>
                  </a:moveTo>
                  <a:lnTo>
                    <a:pt x="281" y="136"/>
                  </a:lnTo>
                  <a:lnTo>
                    <a:pt x="278" y="136"/>
                  </a:lnTo>
                  <a:lnTo>
                    <a:pt x="278" y="138"/>
                  </a:lnTo>
                  <a:lnTo>
                    <a:pt x="278" y="141"/>
                  </a:lnTo>
                  <a:lnTo>
                    <a:pt x="278" y="141"/>
                  </a:lnTo>
                  <a:lnTo>
                    <a:pt x="283" y="138"/>
                  </a:lnTo>
                  <a:lnTo>
                    <a:pt x="283" y="141"/>
                  </a:lnTo>
                  <a:lnTo>
                    <a:pt x="283" y="141"/>
                  </a:lnTo>
                  <a:lnTo>
                    <a:pt x="285" y="141"/>
                  </a:lnTo>
                  <a:lnTo>
                    <a:pt x="285" y="143"/>
                  </a:lnTo>
                  <a:lnTo>
                    <a:pt x="283" y="141"/>
                  </a:lnTo>
                  <a:lnTo>
                    <a:pt x="283" y="136"/>
                  </a:lnTo>
                  <a:close/>
                  <a:moveTo>
                    <a:pt x="306" y="120"/>
                  </a:moveTo>
                  <a:lnTo>
                    <a:pt x="306" y="120"/>
                  </a:lnTo>
                  <a:lnTo>
                    <a:pt x="306" y="120"/>
                  </a:lnTo>
                  <a:lnTo>
                    <a:pt x="306" y="120"/>
                  </a:lnTo>
                  <a:lnTo>
                    <a:pt x="306" y="117"/>
                  </a:lnTo>
                  <a:lnTo>
                    <a:pt x="306" y="117"/>
                  </a:lnTo>
                  <a:lnTo>
                    <a:pt x="304" y="120"/>
                  </a:lnTo>
                  <a:lnTo>
                    <a:pt x="304" y="120"/>
                  </a:lnTo>
                  <a:lnTo>
                    <a:pt x="306" y="120"/>
                  </a:lnTo>
                  <a:close/>
                  <a:moveTo>
                    <a:pt x="337" y="134"/>
                  </a:moveTo>
                  <a:lnTo>
                    <a:pt x="339" y="134"/>
                  </a:lnTo>
                  <a:lnTo>
                    <a:pt x="348" y="136"/>
                  </a:lnTo>
                  <a:lnTo>
                    <a:pt x="348" y="136"/>
                  </a:lnTo>
                  <a:lnTo>
                    <a:pt x="348" y="134"/>
                  </a:lnTo>
                  <a:lnTo>
                    <a:pt x="348" y="132"/>
                  </a:lnTo>
                  <a:lnTo>
                    <a:pt x="348" y="132"/>
                  </a:lnTo>
                  <a:lnTo>
                    <a:pt x="346" y="132"/>
                  </a:lnTo>
                  <a:lnTo>
                    <a:pt x="346" y="132"/>
                  </a:lnTo>
                  <a:lnTo>
                    <a:pt x="343" y="132"/>
                  </a:lnTo>
                  <a:lnTo>
                    <a:pt x="341" y="132"/>
                  </a:lnTo>
                  <a:lnTo>
                    <a:pt x="341" y="130"/>
                  </a:lnTo>
                  <a:lnTo>
                    <a:pt x="339" y="132"/>
                  </a:lnTo>
                  <a:lnTo>
                    <a:pt x="337" y="132"/>
                  </a:lnTo>
                  <a:lnTo>
                    <a:pt x="337" y="132"/>
                  </a:lnTo>
                  <a:lnTo>
                    <a:pt x="335" y="134"/>
                  </a:lnTo>
                  <a:lnTo>
                    <a:pt x="335" y="134"/>
                  </a:lnTo>
                  <a:lnTo>
                    <a:pt x="337" y="134"/>
                  </a:lnTo>
                  <a:lnTo>
                    <a:pt x="337" y="134"/>
                  </a:lnTo>
                  <a:close/>
                  <a:moveTo>
                    <a:pt x="295" y="130"/>
                  </a:moveTo>
                  <a:lnTo>
                    <a:pt x="295" y="130"/>
                  </a:lnTo>
                  <a:lnTo>
                    <a:pt x="293" y="128"/>
                  </a:lnTo>
                  <a:lnTo>
                    <a:pt x="293" y="128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5" y="126"/>
                  </a:lnTo>
                  <a:lnTo>
                    <a:pt x="283" y="126"/>
                  </a:lnTo>
                  <a:lnTo>
                    <a:pt x="283" y="126"/>
                  </a:lnTo>
                  <a:lnTo>
                    <a:pt x="283" y="128"/>
                  </a:lnTo>
                  <a:lnTo>
                    <a:pt x="285" y="128"/>
                  </a:lnTo>
                  <a:lnTo>
                    <a:pt x="289" y="130"/>
                  </a:lnTo>
                  <a:lnTo>
                    <a:pt x="295" y="130"/>
                  </a:lnTo>
                  <a:close/>
                  <a:moveTo>
                    <a:pt x="167" y="124"/>
                  </a:moveTo>
                  <a:lnTo>
                    <a:pt x="167" y="124"/>
                  </a:lnTo>
                  <a:lnTo>
                    <a:pt x="165" y="124"/>
                  </a:lnTo>
                  <a:lnTo>
                    <a:pt x="165" y="126"/>
                  </a:lnTo>
                  <a:lnTo>
                    <a:pt x="165" y="128"/>
                  </a:lnTo>
                  <a:lnTo>
                    <a:pt x="167" y="128"/>
                  </a:lnTo>
                  <a:lnTo>
                    <a:pt x="167" y="130"/>
                  </a:lnTo>
                  <a:lnTo>
                    <a:pt x="167" y="128"/>
                  </a:lnTo>
                  <a:lnTo>
                    <a:pt x="170" y="128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7" y="134"/>
                  </a:lnTo>
                  <a:lnTo>
                    <a:pt x="170" y="134"/>
                  </a:lnTo>
                  <a:lnTo>
                    <a:pt x="170" y="134"/>
                  </a:lnTo>
                  <a:lnTo>
                    <a:pt x="174" y="134"/>
                  </a:lnTo>
                  <a:lnTo>
                    <a:pt x="178" y="134"/>
                  </a:lnTo>
                  <a:lnTo>
                    <a:pt x="207" y="143"/>
                  </a:lnTo>
                  <a:lnTo>
                    <a:pt x="209" y="141"/>
                  </a:lnTo>
                  <a:lnTo>
                    <a:pt x="209" y="141"/>
                  </a:lnTo>
                  <a:lnTo>
                    <a:pt x="207" y="138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5" y="136"/>
                  </a:lnTo>
                  <a:lnTo>
                    <a:pt x="205" y="134"/>
                  </a:lnTo>
                  <a:lnTo>
                    <a:pt x="205" y="134"/>
                  </a:lnTo>
                  <a:lnTo>
                    <a:pt x="207" y="132"/>
                  </a:lnTo>
                  <a:lnTo>
                    <a:pt x="209" y="134"/>
                  </a:lnTo>
                  <a:lnTo>
                    <a:pt x="209" y="134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09" y="136"/>
                  </a:lnTo>
                  <a:lnTo>
                    <a:pt x="209" y="136"/>
                  </a:lnTo>
                  <a:lnTo>
                    <a:pt x="209" y="138"/>
                  </a:lnTo>
                  <a:lnTo>
                    <a:pt x="209" y="141"/>
                  </a:lnTo>
                  <a:lnTo>
                    <a:pt x="211" y="141"/>
                  </a:lnTo>
                  <a:lnTo>
                    <a:pt x="218" y="141"/>
                  </a:lnTo>
                  <a:lnTo>
                    <a:pt x="218" y="141"/>
                  </a:lnTo>
                  <a:lnTo>
                    <a:pt x="220" y="141"/>
                  </a:lnTo>
                  <a:lnTo>
                    <a:pt x="234" y="141"/>
                  </a:lnTo>
                  <a:lnTo>
                    <a:pt x="239" y="141"/>
                  </a:lnTo>
                  <a:lnTo>
                    <a:pt x="241" y="143"/>
                  </a:lnTo>
                  <a:lnTo>
                    <a:pt x="243" y="143"/>
                  </a:lnTo>
                  <a:lnTo>
                    <a:pt x="243" y="143"/>
                  </a:lnTo>
                  <a:lnTo>
                    <a:pt x="245" y="143"/>
                  </a:lnTo>
                  <a:lnTo>
                    <a:pt x="247" y="143"/>
                  </a:lnTo>
                  <a:lnTo>
                    <a:pt x="247" y="141"/>
                  </a:lnTo>
                  <a:lnTo>
                    <a:pt x="249" y="138"/>
                  </a:lnTo>
                  <a:lnTo>
                    <a:pt x="249" y="136"/>
                  </a:lnTo>
                  <a:lnTo>
                    <a:pt x="249" y="136"/>
                  </a:lnTo>
                  <a:lnTo>
                    <a:pt x="249" y="134"/>
                  </a:lnTo>
                  <a:lnTo>
                    <a:pt x="251" y="132"/>
                  </a:lnTo>
                  <a:lnTo>
                    <a:pt x="253" y="132"/>
                  </a:lnTo>
                  <a:lnTo>
                    <a:pt x="255" y="132"/>
                  </a:lnTo>
                  <a:lnTo>
                    <a:pt x="258" y="130"/>
                  </a:lnTo>
                  <a:lnTo>
                    <a:pt x="260" y="130"/>
                  </a:lnTo>
                  <a:lnTo>
                    <a:pt x="262" y="130"/>
                  </a:lnTo>
                  <a:lnTo>
                    <a:pt x="268" y="132"/>
                  </a:lnTo>
                  <a:lnTo>
                    <a:pt x="274" y="132"/>
                  </a:lnTo>
                  <a:lnTo>
                    <a:pt x="276" y="132"/>
                  </a:lnTo>
                  <a:lnTo>
                    <a:pt x="278" y="132"/>
                  </a:lnTo>
                  <a:lnTo>
                    <a:pt x="278" y="130"/>
                  </a:lnTo>
                  <a:lnTo>
                    <a:pt x="278" y="130"/>
                  </a:lnTo>
                  <a:lnTo>
                    <a:pt x="276" y="128"/>
                  </a:lnTo>
                  <a:lnTo>
                    <a:pt x="278" y="126"/>
                  </a:lnTo>
                  <a:lnTo>
                    <a:pt x="281" y="124"/>
                  </a:lnTo>
                  <a:lnTo>
                    <a:pt x="283" y="124"/>
                  </a:lnTo>
                  <a:lnTo>
                    <a:pt x="285" y="124"/>
                  </a:lnTo>
                  <a:lnTo>
                    <a:pt x="287" y="122"/>
                  </a:lnTo>
                  <a:lnTo>
                    <a:pt x="293" y="122"/>
                  </a:lnTo>
                  <a:lnTo>
                    <a:pt x="297" y="117"/>
                  </a:lnTo>
                  <a:lnTo>
                    <a:pt x="302" y="117"/>
                  </a:lnTo>
                  <a:lnTo>
                    <a:pt x="299" y="115"/>
                  </a:lnTo>
                  <a:lnTo>
                    <a:pt x="297" y="113"/>
                  </a:lnTo>
                  <a:lnTo>
                    <a:pt x="295" y="113"/>
                  </a:lnTo>
                  <a:lnTo>
                    <a:pt x="293" y="111"/>
                  </a:lnTo>
                  <a:lnTo>
                    <a:pt x="291" y="111"/>
                  </a:lnTo>
                  <a:lnTo>
                    <a:pt x="289" y="109"/>
                  </a:lnTo>
                  <a:lnTo>
                    <a:pt x="289" y="109"/>
                  </a:lnTo>
                  <a:lnTo>
                    <a:pt x="287" y="107"/>
                  </a:lnTo>
                  <a:lnTo>
                    <a:pt x="283" y="107"/>
                  </a:lnTo>
                  <a:lnTo>
                    <a:pt x="270" y="109"/>
                  </a:lnTo>
                  <a:lnTo>
                    <a:pt x="258" y="109"/>
                  </a:lnTo>
                  <a:lnTo>
                    <a:pt x="245" y="109"/>
                  </a:lnTo>
                  <a:lnTo>
                    <a:pt x="237" y="109"/>
                  </a:lnTo>
                  <a:lnTo>
                    <a:pt x="220" y="109"/>
                  </a:lnTo>
                  <a:lnTo>
                    <a:pt x="209" y="109"/>
                  </a:lnTo>
                  <a:lnTo>
                    <a:pt x="201" y="109"/>
                  </a:lnTo>
                  <a:lnTo>
                    <a:pt x="193" y="109"/>
                  </a:lnTo>
                  <a:lnTo>
                    <a:pt x="191" y="109"/>
                  </a:lnTo>
                  <a:lnTo>
                    <a:pt x="186" y="109"/>
                  </a:lnTo>
                  <a:lnTo>
                    <a:pt x="182" y="111"/>
                  </a:lnTo>
                  <a:lnTo>
                    <a:pt x="180" y="111"/>
                  </a:lnTo>
                  <a:lnTo>
                    <a:pt x="180" y="113"/>
                  </a:lnTo>
                  <a:lnTo>
                    <a:pt x="176" y="117"/>
                  </a:lnTo>
                  <a:lnTo>
                    <a:pt x="172" y="122"/>
                  </a:lnTo>
                  <a:lnTo>
                    <a:pt x="170" y="122"/>
                  </a:lnTo>
                  <a:lnTo>
                    <a:pt x="167" y="124"/>
                  </a:lnTo>
                  <a:close/>
                  <a:moveTo>
                    <a:pt x="316" y="132"/>
                  </a:moveTo>
                  <a:lnTo>
                    <a:pt x="316" y="134"/>
                  </a:lnTo>
                  <a:lnTo>
                    <a:pt x="318" y="134"/>
                  </a:lnTo>
                  <a:lnTo>
                    <a:pt x="320" y="134"/>
                  </a:lnTo>
                  <a:lnTo>
                    <a:pt x="320" y="134"/>
                  </a:lnTo>
                  <a:lnTo>
                    <a:pt x="322" y="136"/>
                  </a:lnTo>
                  <a:lnTo>
                    <a:pt x="325" y="136"/>
                  </a:lnTo>
                  <a:lnTo>
                    <a:pt x="327" y="136"/>
                  </a:lnTo>
                  <a:lnTo>
                    <a:pt x="327" y="134"/>
                  </a:lnTo>
                  <a:lnTo>
                    <a:pt x="327" y="132"/>
                  </a:lnTo>
                  <a:lnTo>
                    <a:pt x="325" y="130"/>
                  </a:lnTo>
                  <a:lnTo>
                    <a:pt x="325" y="128"/>
                  </a:lnTo>
                  <a:lnTo>
                    <a:pt x="322" y="126"/>
                  </a:lnTo>
                  <a:lnTo>
                    <a:pt x="320" y="126"/>
                  </a:lnTo>
                  <a:lnTo>
                    <a:pt x="320" y="124"/>
                  </a:lnTo>
                  <a:lnTo>
                    <a:pt x="316" y="126"/>
                  </a:lnTo>
                  <a:lnTo>
                    <a:pt x="314" y="128"/>
                  </a:lnTo>
                  <a:lnTo>
                    <a:pt x="314" y="130"/>
                  </a:lnTo>
                  <a:lnTo>
                    <a:pt x="316" y="132"/>
                  </a:lnTo>
                  <a:close/>
                  <a:moveTo>
                    <a:pt x="469" y="117"/>
                  </a:moveTo>
                  <a:lnTo>
                    <a:pt x="471" y="117"/>
                  </a:lnTo>
                  <a:lnTo>
                    <a:pt x="467" y="115"/>
                  </a:lnTo>
                  <a:lnTo>
                    <a:pt x="469" y="117"/>
                  </a:lnTo>
                  <a:close/>
                  <a:moveTo>
                    <a:pt x="467" y="130"/>
                  </a:moveTo>
                  <a:lnTo>
                    <a:pt x="467" y="130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5" y="132"/>
                  </a:lnTo>
                  <a:lnTo>
                    <a:pt x="465" y="132"/>
                  </a:lnTo>
                  <a:lnTo>
                    <a:pt x="465" y="134"/>
                  </a:lnTo>
                  <a:lnTo>
                    <a:pt x="465" y="134"/>
                  </a:lnTo>
                  <a:lnTo>
                    <a:pt x="467" y="134"/>
                  </a:lnTo>
                  <a:lnTo>
                    <a:pt x="467" y="134"/>
                  </a:lnTo>
                  <a:lnTo>
                    <a:pt x="467" y="134"/>
                  </a:lnTo>
                  <a:lnTo>
                    <a:pt x="465" y="134"/>
                  </a:lnTo>
                  <a:lnTo>
                    <a:pt x="463" y="134"/>
                  </a:lnTo>
                  <a:lnTo>
                    <a:pt x="461" y="134"/>
                  </a:lnTo>
                  <a:lnTo>
                    <a:pt x="459" y="134"/>
                  </a:lnTo>
                  <a:lnTo>
                    <a:pt x="459" y="134"/>
                  </a:lnTo>
                  <a:lnTo>
                    <a:pt x="459" y="132"/>
                  </a:lnTo>
                  <a:lnTo>
                    <a:pt x="459" y="132"/>
                  </a:lnTo>
                  <a:lnTo>
                    <a:pt x="457" y="130"/>
                  </a:lnTo>
                  <a:lnTo>
                    <a:pt x="457" y="130"/>
                  </a:lnTo>
                  <a:lnTo>
                    <a:pt x="457" y="134"/>
                  </a:lnTo>
                  <a:lnTo>
                    <a:pt x="457" y="134"/>
                  </a:lnTo>
                  <a:lnTo>
                    <a:pt x="454" y="132"/>
                  </a:lnTo>
                  <a:lnTo>
                    <a:pt x="454" y="132"/>
                  </a:lnTo>
                  <a:lnTo>
                    <a:pt x="454" y="134"/>
                  </a:lnTo>
                  <a:lnTo>
                    <a:pt x="454" y="136"/>
                  </a:lnTo>
                  <a:lnTo>
                    <a:pt x="459" y="138"/>
                  </a:lnTo>
                  <a:lnTo>
                    <a:pt x="463" y="138"/>
                  </a:lnTo>
                  <a:lnTo>
                    <a:pt x="467" y="138"/>
                  </a:lnTo>
                  <a:lnTo>
                    <a:pt x="467" y="136"/>
                  </a:lnTo>
                  <a:lnTo>
                    <a:pt x="467" y="132"/>
                  </a:lnTo>
                  <a:lnTo>
                    <a:pt x="467" y="130"/>
                  </a:lnTo>
                  <a:lnTo>
                    <a:pt x="467" y="130"/>
                  </a:lnTo>
                  <a:close/>
                  <a:moveTo>
                    <a:pt x="503" y="113"/>
                  </a:moveTo>
                  <a:lnTo>
                    <a:pt x="501" y="113"/>
                  </a:lnTo>
                  <a:lnTo>
                    <a:pt x="498" y="115"/>
                  </a:lnTo>
                  <a:lnTo>
                    <a:pt x="501" y="115"/>
                  </a:lnTo>
                  <a:lnTo>
                    <a:pt x="503" y="115"/>
                  </a:lnTo>
                  <a:lnTo>
                    <a:pt x="503" y="115"/>
                  </a:lnTo>
                  <a:lnTo>
                    <a:pt x="503" y="113"/>
                  </a:lnTo>
                  <a:close/>
                  <a:moveTo>
                    <a:pt x="446" y="120"/>
                  </a:moveTo>
                  <a:lnTo>
                    <a:pt x="446" y="120"/>
                  </a:lnTo>
                  <a:lnTo>
                    <a:pt x="438" y="115"/>
                  </a:lnTo>
                  <a:lnTo>
                    <a:pt x="438" y="115"/>
                  </a:lnTo>
                  <a:lnTo>
                    <a:pt x="438" y="115"/>
                  </a:lnTo>
                  <a:lnTo>
                    <a:pt x="438" y="115"/>
                  </a:lnTo>
                  <a:lnTo>
                    <a:pt x="438" y="115"/>
                  </a:lnTo>
                  <a:lnTo>
                    <a:pt x="436" y="115"/>
                  </a:lnTo>
                  <a:lnTo>
                    <a:pt x="436" y="115"/>
                  </a:lnTo>
                  <a:lnTo>
                    <a:pt x="436" y="117"/>
                  </a:lnTo>
                  <a:lnTo>
                    <a:pt x="438" y="117"/>
                  </a:lnTo>
                  <a:lnTo>
                    <a:pt x="438" y="120"/>
                  </a:lnTo>
                  <a:lnTo>
                    <a:pt x="442" y="120"/>
                  </a:lnTo>
                  <a:lnTo>
                    <a:pt x="442" y="120"/>
                  </a:lnTo>
                  <a:lnTo>
                    <a:pt x="444" y="120"/>
                  </a:lnTo>
                  <a:lnTo>
                    <a:pt x="444" y="120"/>
                  </a:lnTo>
                  <a:lnTo>
                    <a:pt x="446" y="122"/>
                  </a:lnTo>
                  <a:lnTo>
                    <a:pt x="446" y="120"/>
                  </a:lnTo>
                  <a:lnTo>
                    <a:pt x="446" y="120"/>
                  </a:lnTo>
                  <a:lnTo>
                    <a:pt x="446" y="120"/>
                  </a:lnTo>
                  <a:close/>
                  <a:moveTo>
                    <a:pt x="360" y="132"/>
                  </a:moveTo>
                  <a:lnTo>
                    <a:pt x="360" y="132"/>
                  </a:lnTo>
                  <a:lnTo>
                    <a:pt x="360" y="132"/>
                  </a:lnTo>
                  <a:lnTo>
                    <a:pt x="362" y="132"/>
                  </a:lnTo>
                  <a:lnTo>
                    <a:pt x="362" y="132"/>
                  </a:lnTo>
                  <a:lnTo>
                    <a:pt x="362" y="132"/>
                  </a:lnTo>
                  <a:lnTo>
                    <a:pt x="362" y="132"/>
                  </a:lnTo>
                  <a:lnTo>
                    <a:pt x="362" y="132"/>
                  </a:lnTo>
                  <a:lnTo>
                    <a:pt x="362" y="132"/>
                  </a:lnTo>
                  <a:lnTo>
                    <a:pt x="360" y="132"/>
                  </a:lnTo>
                  <a:close/>
                  <a:moveTo>
                    <a:pt x="427" y="120"/>
                  </a:moveTo>
                  <a:lnTo>
                    <a:pt x="427" y="117"/>
                  </a:lnTo>
                  <a:lnTo>
                    <a:pt x="427" y="117"/>
                  </a:lnTo>
                  <a:lnTo>
                    <a:pt x="427" y="117"/>
                  </a:lnTo>
                  <a:lnTo>
                    <a:pt x="427" y="117"/>
                  </a:lnTo>
                  <a:lnTo>
                    <a:pt x="425" y="117"/>
                  </a:lnTo>
                  <a:lnTo>
                    <a:pt x="425" y="117"/>
                  </a:lnTo>
                  <a:lnTo>
                    <a:pt x="425" y="117"/>
                  </a:lnTo>
                  <a:lnTo>
                    <a:pt x="423" y="120"/>
                  </a:lnTo>
                  <a:lnTo>
                    <a:pt x="425" y="120"/>
                  </a:lnTo>
                  <a:lnTo>
                    <a:pt x="427" y="120"/>
                  </a:lnTo>
                  <a:lnTo>
                    <a:pt x="427" y="122"/>
                  </a:lnTo>
                  <a:lnTo>
                    <a:pt x="429" y="120"/>
                  </a:lnTo>
                  <a:lnTo>
                    <a:pt x="427" y="120"/>
                  </a:lnTo>
                  <a:lnTo>
                    <a:pt x="427" y="120"/>
                  </a:lnTo>
                  <a:close/>
                  <a:moveTo>
                    <a:pt x="433" y="120"/>
                  </a:moveTo>
                  <a:lnTo>
                    <a:pt x="433" y="120"/>
                  </a:lnTo>
                  <a:lnTo>
                    <a:pt x="433" y="120"/>
                  </a:lnTo>
                  <a:lnTo>
                    <a:pt x="433" y="117"/>
                  </a:lnTo>
                  <a:lnTo>
                    <a:pt x="433" y="117"/>
                  </a:lnTo>
                  <a:lnTo>
                    <a:pt x="433" y="120"/>
                  </a:lnTo>
                  <a:lnTo>
                    <a:pt x="433" y="120"/>
                  </a:lnTo>
                  <a:lnTo>
                    <a:pt x="431" y="120"/>
                  </a:lnTo>
                  <a:lnTo>
                    <a:pt x="431" y="122"/>
                  </a:lnTo>
                  <a:lnTo>
                    <a:pt x="431" y="122"/>
                  </a:lnTo>
                  <a:lnTo>
                    <a:pt x="433" y="124"/>
                  </a:lnTo>
                  <a:lnTo>
                    <a:pt x="433" y="122"/>
                  </a:lnTo>
                  <a:lnTo>
                    <a:pt x="433" y="122"/>
                  </a:lnTo>
                  <a:lnTo>
                    <a:pt x="436" y="122"/>
                  </a:lnTo>
                  <a:lnTo>
                    <a:pt x="436" y="122"/>
                  </a:lnTo>
                  <a:lnTo>
                    <a:pt x="433" y="120"/>
                  </a:lnTo>
                  <a:close/>
                  <a:moveTo>
                    <a:pt x="442" y="124"/>
                  </a:moveTo>
                  <a:lnTo>
                    <a:pt x="440" y="124"/>
                  </a:lnTo>
                  <a:lnTo>
                    <a:pt x="440" y="124"/>
                  </a:lnTo>
                  <a:lnTo>
                    <a:pt x="440" y="124"/>
                  </a:lnTo>
                  <a:lnTo>
                    <a:pt x="440" y="124"/>
                  </a:lnTo>
                  <a:lnTo>
                    <a:pt x="440" y="126"/>
                  </a:lnTo>
                  <a:lnTo>
                    <a:pt x="440" y="124"/>
                  </a:lnTo>
                  <a:lnTo>
                    <a:pt x="440" y="126"/>
                  </a:lnTo>
                  <a:lnTo>
                    <a:pt x="440" y="126"/>
                  </a:lnTo>
                  <a:lnTo>
                    <a:pt x="442" y="126"/>
                  </a:lnTo>
                  <a:lnTo>
                    <a:pt x="442" y="124"/>
                  </a:lnTo>
                  <a:lnTo>
                    <a:pt x="442" y="124"/>
                  </a:lnTo>
                  <a:lnTo>
                    <a:pt x="442" y="124"/>
                  </a:lnTo>
                  <a:close/>
                  <a:moveTo>
                    <a:pt x="438" y="111"/>
                  </a:moveTo>
                  <a:lnTo>
                    <a:pt x="436" y="109"/>
                  </a:lnTo>
                  <a:lnTo>
                    <a:pt x="429" y="105"/>
                  </a:lnTo>
                  <a:lnTo>
                    <a:pt x="427" y="105"/>
                  </a:lnTo>
                  <a:lnTo>
                    <a:pt x="419" y="105"/>
                  </a:lnTo>
                  <a:lnTo>
                    <a:pt x="410" y="105"/>
                  </a:lnTo>
                  <a:lnTo>
                    <a:pt x="408" y="105"/>
                  </a:lnTo>
                  <a:lnTo>
                    <a:pt x="408" y="105"/>
                  </a:lnTo>
                  <a:lnTo>
                    <a:pt x="406" y="105"/>
                  </a:lnTo>
                  <a:lnTo>
                    <a:pt x="408" y="107"/>
                  </a:lnTo>
                  <a:lnTo>
                    <a:pt x="406" y="109"/>
                  </a:lnTo>
                  <a:lnTo>
                    <a:pt x="404" y="109"/>
                  </a:lnTo>
                  <a:lnTo>
                    <a:pt x="404" y="111"/>
                  </a:lnTo>
                  <a:lnTo>
                    <a:pt x="404" y="113"/>
                  </a:lnTo>
                  <a:lnTo>
                    <a:pt x="404" y="113"/>
                  </a:lnTo>
                  <a:lnTo>
                    <a:pt x="406" y="115"/>
                  </a:lnTo>
                  <a:lnTo>
                    <a:pt x="410" y="113"/>
                  </a:lnTo>
                  <a:lnTo>
                    <a:pt x="408" y="117"/>
                  </a:lnTo>
                  <a:lnTo>
                    <a:pt x="408" y="117"/>
                  </a:lnTo>
                  <a:lnTo>
                    <a:pt x="410" y="120"/>
                  </a:lnTo>
                  <a:lnTo>
                    <a:pt x="410" y="120"/>
                  </a:lnTo>
                  <a:lnTo>
                    <a:pt x="410" y="122"/>
                  </a:lnTo>
                  <a:lnTo>
                    <a:pt x="413" y="120"/>
                  </a:lnTo>
                  <a:lnTo>
                    <a:pt x="413" y="120"/>
                  </a:lnTo>
                  <a:lnTo>
                    <a:pt x="413" y="120"/>
                  </a:lnTo>
                  <a:lnTo>
                    <a:pt x="413" y="120"/>
                  </a:lnTo>
                  <a:lnTo>
                    <a:pt x="413" y="120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7"/>
                  </a:lnTo>
                  <a:lnTo>
                    <a:pt x="413" y="115"/>
                  </a:lnTo>
                  <a:lnTo>
                    <a:pt x="417" y="117"/>
                  </a:lnTo>
                  <a:lnTo>
                    <a:pt x="419" y="120"/>
                  </a:lnTo>
                  <a:lnTo>
                    <a:pt x="421" y="117"/>
                  </a:lnTo>
                  <a:lnTo>
                    <a:pt x="421" y="117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9" y="115"/>
                  </a:lnTo>
                  <a:lnTo>
                    <a:pt x="417" y="115"/>
                  </a:lnTo>
                  <a:lnTo>
                    <a:pt x="417" y="113"/>
                  </a:lnTo>
                  <a:lnTo>
                    <a:pt x="417" y="113"/>
                  </a:lnTo>
                  <a:lnTo>
                    <a:pt x="417" y="113"/>
                  </a:lnTo>
                  <a:lnTo>
                    <a:pt x="419" y="111"/>
                  </a:lnTo>
                  <a:lnTo>
                    <a:pt x="421" y="111"/>
                  </a:lnTo>
                  <a:lnTo>
                    <a:pt x="421" y="111"/>
                  </a:lnTo>
                  <a:lnTo>
                    <a:pt x="421" y="113"/>
                  </a:lnTo>
                  <a:lnTo>
                    <a:pt x="423" y="113"/>
                  </a:lnTo>
                  <a:lnTo>
                    <a:pt x="423" y="113"/>
                  </a:lnTo>
                  <a:lnTo>
                    <a:pt x="423" y="113"/>
                  </a:lnTo>
                  <a:lnTo>
                    <a:pt x="425" y="111"/>
                  </a:lnTo>
                  <a:lnTo>
                    <a:pt x="425" y="111"/>
                  </a:lnTo>
                  <a:lnTo>
                    <a:pt x="425" y="111"/>
                  </a:lnTo>
                  <a:lnTo>
                    <a:pt x="425" y="111"/>
                  </a:lnTo>
                  <a:lnTo>
                    <a:pt x="427" y="111"/>
                  </a:lnTo>
                  <a:lnTo>
                    <a:pt x="427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31" y="113"/>
                  </a:lnTo>
                  <a:lnTo>
                    <a:pt x="436" y="113"/>
                  </a:lnTo>
                  <a:lnTo>
                    <a:pt x="438" y="113"/>
                  </a:lnTo>
                  <a:lnTo>
                    <a:pt x="438" y="111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32" name="Freeform 119">
              <a:extLst>
                <a:ext uri="{FF2B5EF4-FFF2-40B4-BE49-F238E27FC236}">
                  <a16:creationId xmlns:a16="http://schemas.microsoft.com/office/drawing/2014/main" id="{4665C0A1-4183-48AA-8798-9F48903391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21225" y="1712530"/>
              <a:ext cx="348854" cy="282178"/>
            </a:xfrm>
            <a:custGeom>
              <a:avLst/>
              <a:gdLst>
                <a:gd name="T0" fmla="*/ 180 w 293"/>
                <a:gd name="T1" fmla="*/ 8 h 237"/>
                <a:gd name="T2" fmla="*/ 182 w 293"/>
                <a:gd name="T3" fmla="*/ 8 h 237"/>
                <a:gd name="T4" fmla="*/ 178 w 293"/>
                <a:gd name="T5" fmla="*/ 8 h 237"/>
                <a:gd name="T6" fmla="*/ 174 w 293"/>
                <a:gd name="T7" fmla="*/ 2 h 237"/>
                <a:gd name="T8" fmla="*/ 180 w 293"/>
                <a:gd name="T9" fmla="*/ 10 h 237"/>
                <a:gd name="T10" fmla="*/ 192 w 293"/>
                <a:gd name="T11" fmla="*/ 10 h 237"/>
                <a:gd name="T12" fmla="*/ 291 w 293"/>
                <a:gd name="T13" fmla="*/ 92 h 237"/>
                <a:gd name="T14" fmla="*/ 272 w 293"/>
                <a:gd name="T15" fmla="*/ 90 h 237"/>
                <a:gd name="T16" fmla="*/ 243 w 293"/>
                <a:gd name="T17" fmla="*/ 90 h 237"/>
                <a:gd name="T18" fmla="*/ 234 w 293"/>
                <a:gd name="T19" fmla="*/ 67 h 237"/>
                <a:gd name="T20" fmla="*/ 230 w 293"/>
                <a:gd name="T21" fmla="*/ 67 h 237"/>
                <a:gd name="T22" fmla="*/ 216 w 293"/>
                <a:gd name="T23" fmla="*/ 65 h 237"/>
                <a:gd name="T24" fmla="*/ 201 w 293"/>
                <a:gd name="T25" fmla="*/ 71 h 237"/>
                <a:gd name="T26" fmla="*/ 199 w 293"/>
                <a:gd name="T27" fmla="*/ 86 h 237"/>
                <a:gd name="T28" fmla="*/ 178 w 293"/>
                <a:gd name="T29" fmla="*/ 115 h 237"/>
                <a:gd name="T30" fmla="*/ 161 w 293"/>
                <a:gd name="T31" fmla="*/ 113 h 237"/>
                <a:gd name="T32" fmla="*/ 153 w 293"/>
                <a:gd name="T33" fmla="*/ 107 h 237"/>
                <a:gd name="T34" fmla="*/ 125 w 293"/>
                <a:gd name="T35" fmla="*/ 111 h 237"/>
                <a:gd name="T36" fmla="*/ 56 w 293"/>
                <a:gd name="T37" fmla="*/ 107 h 237"/>
                <a:gd name="T38" fmla="*/ 42 w 293"/>
                <a:gd name="T39" fmla="*/ 101 h 237"/>
                <a:gd name="T40" fmla="*/ 33 w 293"/>
                <a:gd name="T41" fmla="*/ 105 h 237"/>
                <a:gd name="T42" fmla="*/ 23 w 293"/>
                <a:gd name="T43" fmla="*/ 115 h 237"/>
                <a:gd name="T44" fmla="*/ 19 w 293"/>
                <a:gd name="T45" fmla="*/ 130 h 237"/>
                <a:gd name="T46" fmla="*/ 6 w 293"/>
                <a:gd name="T47" fmla="*/ 132 h 237"/>
                <a:gd name="T48" fmla="*/ 0 w 293"/>
                <a:gd name="T49" fmla="*/ 149 h 237"/>
                <a:gd name="T50" fmla="*/ 10 w 293"/>
                <a:gd name="T51" fmla="*/ 153 h 237"/>
                <a:gd name="T52" fmla="*/ 14 w 293"/>
                <a:gd name="T53" fmla="*/ 157 h 237"/>
                <a:gd name="T54" fmla="*/ 17 w 293"/>
                <a:gd name="T55" fmla="*/ 174 h 237"/>
                <a:gd name="T56" fmla="*/ 25 w 293"/>
                <a:gd name="T57" fmla="*/ 180 h 237"/>
                <a:gd name="T58" fmla="*/ 33 w 293"/>
                <a:gd name="T59" fmla="*/ 185 h 237"/>
                <a:gd name="T60" fmla="*/ 44 w 293"/>
                <a:gd name="T61" fmla="*/ 189 h 237"/>
                <a:gd name="T62" fmla="*/ 79 w 293"/>
                <a:gd name="T63" fmla="*/ 189 h 237"/>
                <a:gd name="T64" fmla="*/ 81 w 293"/>
                <a:gd name="T65" fmla="*/ 193 h 237"/>
                <a:gd name="T66" fmla="*/ 121 w 293"/>
                <a:gd name="T67" fmla="*/ 199 h 237"/>
                <a:gd name="T68" fmla="*/ 140 w 293"/>
                <a:gd name="T69" fmla="*/ 201 h 237"/>
                <a:gd name="T70" fmla="*/ 148 w 293"/>
                <a:gd name="T71" fmla="*/ 185 h 237"/>
                <a:gd name="T72" fmla="*/ 159 w 293"/>
                <a:gd name="T73" fmla="*/ 183 h 237"/>
                <a:gd name="T74" fmla="*/ 165 w 293"/>
                <a:gd name="T75" fmla="*/ 183 h 237"/>
                <a:gd name="T76" fmla="*/ 186 w 293"/>
                <a:gd name="T77" fmla="*/ 197 h 237"/>
                <a:gd name="T78" fmla="*/ 209 w 293"/>
                <a:gd name="T79" fmla="*/ 199 h 237"/>
                <a:gd name="T80" fmla="*/ 211 w 293"/>
                <a:gd name="T81" fmla="*/ 227 h 237"/>
                <a:gd name="T82" fmla="*/ 216 w 293"/>
                <a:gd name="T83" fmla="*/ 233 h 237"/>
                <a:gd name="T84" fmla="*/ 226 w 293"/>
                <a:gd name="T85" fmla="*/ 231 h 237"/>
                <a:gd name="T86" fmla="*/ 234 w 293"/>
                <a:gd name="T87" fmla="*/ 220 h 237"/>
                <a:gd name="T88" fmla="*/ 253 w 293"/>
                <a:gd name="T89" fmla="*/ 210 h 237"/>
                <a:gd name="T90" fmla="*/ 259 w 293"/>
                <a:gd name="T91" fmla="*/ 201 h 237"/>
                <a:gd name="T92" fmla="*/ 253 w 293"/>
                <a:gd name="T93" fmla="*/ 189 h 237"/>
                <a:gd name="T94" fmla="*/ 247 w 293"/>
                <a:gd name="T95" fmla="*/ 183 h 237"/>
                <a:gd name="T96" fmla="*/ 247 w 293"/>
                <a:gd name="T97" fmla="*/ 170 h 237"/>
                <a:gd name="T98" fmla="*/ 253 w 293"/>
                <a:gd name="T99" fmla="*/ 145 h 237"/>
                <a:gd name="T100" fmla="*/ 262 w 293"/>
                <a:gd name="T101" fmla="*/ 147 h 237"/>
                <a:gd name="T102" fmla="*/ 274 w 293"/>
                <a:gd name="T103" fmla="*/ 147 h 237"/>
                <a:gd name="T104" fmla="*/ 287 w 293"/>
                <a:gd name="T105" fmla="*/ 136 h 237"/>
                <a:gd name="T106" fmla="*/ 287 w 293"/>
                <a:gd name="T107" fmla="*/ 115 h 237"/>
                <a:gd name="T108" fmla="*/ 293 w 293"/>
                <a:gd name="T109" fmla="*/ 94 h 237"/>
                <a:gd name="T110" fmla="*/ 159 w 293"/>
                <a:gd name="T111" fmla="*/ 0 h 237"/>
                <a:gd name="T112" fmla="*/ 44 w 293"/>
                <a:gd name="T113" fmla="*/ 191 h 237"/>
                <a:gd name="T114" fmla="*/ 23 w 293"/>
                <a:gd name="T115" fmla="*/ 187 h 237"/>
                <a:gd name="T116" fmla="*/ 35 w 293"/>
                <a:gd name="T117" fmla="*/ 191 h 237"/>
                <a:gd name="T118" fmla="*/ 44 w 293"/>
                <a:gd name="T119" fmla="*/ 193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3" h="237">
                  <a:moveTo>
                    <a:pt x="180" y="8"/>
                  </a:moveTo>
                  <a:lnTo>
                    <a:pt x="180" y="8"/>
                  </a:lnTo>
                  <a:lnTo>
                    <a:pt x="180" y="8"/>
                  </a:lnTo>
                  <a:lnTo>
                    <a:pt x="180" y="6"/>
                  </a:lnTo>
                  <a:lnTo>
                    <a:pt x="180" y="8"/>
                  </a:lnTo>
                  <a:lnTo>
                    <a:pt x="180" y="8"/>
                  </a:lnTo>
                  <a:lnTo>
                    <a:pt x="180" y="8"/>
                  </a:lnTo>
                  <a:lnTo>
                    <a:pt x="180" y="10"/>
                  </a:lnTo>
                  <a:lnTo>
                    <a:pt x="182" y="10"/>
                  </a:lnTo>
                  <a:lnTo>
                    <a:pt x="182" y="10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82" y="8"/>
                  </a:lnTo>
                  <a:lnTo>
                    <a:pt x="180" y="6"/>
                  </a:lnTo>
                  <a:lnTo>
                    <a:pt x="180" y="6"/>
                  </a:lnTo>
                  <a:lnTo>
                    <a:pt x="182" y="4"/>
                  </a:lnTo>
                  <a:lnTo>
                    <a:pt x="180" y="6"/>
                  </a:lnTo>
                  <a:lnTo>
                    <a:pt x="178" y="6"/>
                  </a:lnTo>
                  <a:lnTo>
                    <a:pt x="178" y="8"/>
                  </a:lnTo>
                  <a:lnTo>
                    <a:pt x="180" y="8"/>
                  </a:lnTo>
                  <a:lnTo>
                    <a:pt x="180" y="8"/>
                  </a:lnTo>
                  <a:close/>
                  <a:moveTo>
                    <a:pt x="174" y="2"/>
                  </a:moveTo>
                  <a:lnTo>
                    <a:pt x="174" y="0"/>
                  </a:lnTo>
                  <a:lnTo>
                    <a:pt x="174" y="2"/>
                  </a:lnTo>
                  <a:lnTo>
                    <a:pt x="174" y="2"/>
                  </a:lnTo>
                  <a:lnTo>
                    <a:pt x="174" y="2"/>
                  </a:lnTo>
                  <a:close/>
                  <a:moveTo>
                    <a:pt x="176" y="12"/>
                  </a:moveTo>
                  <a:lnTo>
                    <a:pt x="176" y="12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80" y="12"/>
                  </a:lnTo>
                  <a:lnTo>
                    <a:pt x="180" y="10"/>
                  </a:lnTo>
                  <a:lnTo>
                    <a:pt x="180" y="10"/>
                  </a:lnTo>
                  <a:lnTo>
                    <a:pt x="176" y="10"/>
                  </a:lnTo>
                  <a:lnTo>
                    <a:pt x="176" y="10"/>
                  </a:lnTo>
                  <a:lnTo>
                    <a:pt x="176" y="10"/>
                  </a:lnTo>
                  <a:lnTo>
                    <a:pt x="176" y="12"/>
                  </a:lnTo>
                  <a:close/>
                  <a:moveTo>
                    <a:pt x="192" y="12"/>
                  </a:moveTo>
                  <a:lnTo>
                    <a:pt x="192" y="12"/>
                  </a:lnTo>
                  <a:lnTo>
                    <a:pt x="192" y="10"/>
                  </a:lnTo>
                  <a:lnTo>
                    <a:pt x="192" y="10"/>
                  </a:lnTo>
                  <a:lnTo>
                    <a:pt x="192" y="12"/>
                  </a:lnTo>
                  <a:lnTo>
                    <a:pt x="192" y="12"/>
                  </a:lnTo>
                  <a:lnTo>
                    <a:pt x="192" y="12"/>
                  </a:lnTo>
                  <a:lnTo>
                    <a:pt x="192" y="12"/>
                  </a:lnTo>
                  <a:close/>
                  <a:moveTo>
                    <a:pt x="293" y="94"/>
                  </a:moveTo>
                  <a:lnTo>
                    <a:pt x="291" y="92"/>
                  </a:lnTo>
                  <a:lnTo>
                    <a:pt x="289" y="90"/>
                  </a:lnTo>
                  <a:lnTo>
                    <a:pt x="287" y="88"/>
                  </a:lnTo>
                  <a:lnTo>
                    <a:pt x="285" y="86"/>
                  </a:lnTo>
                  <a:lnTo>
                    <a:pt x="278" y="86"/>
                  </a:lnTo>
                  <a:lnTo>
                    <a:pt x="276" y="84"/>
                  </a:lnTo>
                  <a:lnTo>
                    <a:pt x="276" y="86"/>
                  </a:lnTo>
                  <a:lnTo>
                    <a:pt x="272" y="90"/>
                  </a:lnTo>
                  <a:lnTo>
                    <a:pt x="270" y="92"/>
                  </a:lnTo>
                  <a:lnTo>
                    <a:pt x="268" y="92"/>
                  </a:lnTo>
                  <a:lnTo>
                    <a:pt x="264" y="92"/>
                  </a:lnTo>
                  <a:lnTo>
                    <a:pt x="262" y="92"/>
                  </a:lnTo>
                  <a:lnTo>
                    <a:pt x="245" y="90"/>
                  </a:lnTo>
                  <a:lnTo>
                    <a:pt x="245" y="90"/>
                  </a:lnTo>
                  <a:lnTo>
                    <a:pt x="243" y="90"/>
                  </a:lnTo>
                  <a:lnTo>
                    <a:pt x="243" y="90"/>
                  </a:lnTo>
                  <a:lnTo>
                    <a:pt x="241" y="86"/>
                  </a:lnTo>
                  <a:lnTo>
                    <a:pt x="239" y="78"/>
                  </a:lnTo>
                  <a:lnTo>
                    <a:pt x="236" y="73"/>
                  </a:lnTo>
                  <a:lnTo>
                    <a:pt x="236" y="69"/>
                  </a:lnTo>
                  <a:lnTo>
                    <a:pt x="234" y="69"/>
                  </a:lnTo>
                  <a:lnTo>
                    <a:pt x="234" y="67"/>
                  </a:lnTo>
                  <a:lnTo>
                    <a:pt x="232" y="67"/>
                  </a:lnTo>
                  <a:lnTo>
                    <a:pt x="232" y="67"/>
                  </a:lnTo>
                  <a:lnTo>
                    <a:pt x="232" y="65"/>
                  </a:lnTo>
                  <a:lnTo>
                    <a:pt x="230" y="65"/>
                  </a:lnTo>
                  <a:lnTo>
                    <a:pt x="230" y="65"/>
                  </a:lnTo>
                  <a:lnTo>
                    <a:pt x="230" y="67"/>
                  </a:lnTo>
                  <a:lnTo>
                    <a:pt x="230" y="67"/>
                  </a:lnTo>
                  <a:lnTo>
                    <a:pt x="228" y="67"/>
                  </a:lnTo>
                  <a:lnTo>
                    <a:pt x="226" y="65"/>
                  </a:lnTo>
                  <a:lnTo>
                    <a:pt x="224" y="65"/>
                  </a:lnTo>
                  <a:lnTo>
                    <a:pt x="224" y="63"/>
                  </a:lnTo>
                  <a:lnTo>
                    <a:pt x="222" y="65"/>
                  </a:lnTo>
                  <a:lnTo>
                    <a:pt x="216" y="65"/>
                  </a:lnTo>
                  <a:lnTo>
                    <a:pt x="216" y="65"/>
                  </a:lnTo>
                  <a:lnTo>
                    <a:pt x="213" y="65"/>
                  </a:lnTo>
                  <a:lnTo>
                    <a:pt x="211" y="67"/>
                  </a:lnTo>
                  <a:lnTo>
                    <a:pt x="209" y="67"/>
                  </a:lnTo>
                  <a:lnTo>
                    <a:pt x="205" y="69"/>
                  </a:lnTo>
                  <a:lnTo>
                    <a:pt x="203" y="69"/>
                  </a:lnTo>
                  <a:lnTo>
                    <a:pt x="203" y="71"/>
                  </a:lnTo>
                  <a:lnTo>
                    <a:pt x="201" y="71"/>
                  </a:lnTo>
                  <a:lnTo>
                    <a:pt x="199" y="73"/>
                  </a:lnTo>
                  <a:lnTo>
                    <a:pt x="201" y="75"/>
                  </a:lnTo>
                  <a:lnTo>
                    <a:pt x="201" y="75"/>
                  </a:lnTo>
                  <a:lnTo>
                    <a:pt x="199" y="78"/>
                  </a:lnTo>
                  <a:lnTo>
                    <a:pt x="199" y="80"/>
                  </a:lnTo>
                  <a:lnTo>
                    <a:pt x="199" y="82"/>
                  </a:lnTo>
                  <a:lnTo>
                    <a:pt x="199" y="86"/>
                  </a:lnTo>
                  <a:lnTo>
                    <a:pt x="197" y="90"/>
                  </a:lnTo>
                  <a:lnTo>
                    <a:pt x="190" y="105"/>
                  </a:lnTo>
                  <a:lnTo>
                    <a:pt x="186" y="109"/>
                  </a:lnTo>
                  <a:lnTo>
                    <a:pt x="182" y="113"/>
                  </a:lnTo>
                  <a:lnTo>
                    <a:pt x="180" y="115"/>
                  </a:lnTo>
                  <a:lnTo>
                    <a:pt x="180" y="115"/>
                  </a:lnTo>
                  <a:lnTo>
                    <a:pt x="178" y="115"/>
                  </a:lnTo>
                  <a:lnTo>
                    <a:pt x="176" y="115"/>
                  </a:lnTo>
                  <a:lnTo>
                    <a:pt x="174" y="117"/>
                  </a:lnTo>
                  <a:lnTo>
                    <a:pt x="172" y="117"/>
                  </a:lnTo>
                  <a:lnTo>
                    <a:pt x="169" y="117"/>
                  </a:lnTo>
                  <a:lnTo>
                    <a:pt x="167" y="115"/>
                  </a:lnTo>
                  <a:lnTo>
                    <a:pt x="163" y="113"/>
                  </a:lnTo>
                  <a:lnTo>
                    <a:pt x="161" y="113"/>
                  </a:lnTo>
                  <a:lnTo>
                    <a:pt x="157" y="111"/>
                  </a:lnTo>
                  <a:lnTo>
                    <a:pt x="155" y="109"/>
                  </a:lnTo>
                  <a:lnTo>
                    <a:pt x="155" y="109"/>
                  </a:lnTo>
                  <a:lnTo>
                    <a:pt x="155" y="107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1" y="109"/>
                  </a:lnTo>
                  <a:lnTo>
                    <a:pt x="151" y="109"/>
                  </a:lnTo>
                  <a:lnTo>
                    <a:pt x="148" y="111"/>
                  </a:lnTo>
                  <a:lnTo>
                    <a:pt x="146" y="111"/>
                  </a:lnTo>
                  <a:lnTo>
                    <a:pt x="134" y="113"/>
                  </a:lnTo>
                  <a:lnTo>
                    <a:pt x="130" y="113"/>
                  </a:lnTo>
                  <a:lnTo>
                    <a:pt x="125" y="111"/>
                  </a:lnTo>
                  <a:lnTo>
                    <a:pt x="111" y="107"/>
                  </a:lnTo>
                  <a:lnTo>
                    <a:pt x="92" y="105"/>
                  </a:lnTo>
                  <a:lnTo>
                    <a:pt x="88" y="101"/>
                  </a:lnTo>
                  <a:lnTo>
                    <a:pt x="84" y="107"/>
                  </a:lnTo>
                  <a:lnTo>
                    <a:pt x="75" y="109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4" y="107"/>
                  </a:lnTo>
                  <a:lnTo>
                    <a:pt x="52" y="105"/>
                  </a:lnTo>
                  <a:lnTo>
                    <a:pt x="50" y="105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4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3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35" y="105"/>
                  </a:lnTo>
                  <a:lnTo>
                    <a:pt x="33" y="105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25" y="109"/>
                  </a:lnTo>
                  <a:lnTo>
                    <a:pt x="23" y="113"/>
                  </a:lnTo>
                  <a:lnTo>
                    <a:pt x="23" y="115"/>
                  </a:lnTo>
                  <a:lnTo>
                    <a:pt x="21" y="120"/>
                  </a:lnTo>
                  <a:lnTo>
                    <a:pt x="23" y="122"/>
                  </a:lnTo>
                  <a:lnTo>
                    <a:pt x="23" y="124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1" y="128"/>
                  </a:lnTo>
                  <a:lnTo>
                    <a:pt x="19" y="130"/>
                  </a:lnTo>
                  <a:lnTo>
                    <a:pt x="17" y="130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2" y="132"/>
                  </a:lnTo>
                  <a:lnTo>
                    <a:pt x="10" y="134"/>
                  </a:lnTo>
                  <a:lnTo>
                    <a:pt x="6" y="132"/>
                  </a:lnTo>
                  <a:lnTo>
                    <a:pt x="6" y="132"/>
                  </a:lnTo>
                  <a:lnTo>
                    <a:pt x="4" y="134"/>
                  </a:lnTo>
                  <a:lnTo>
                    <a:pt x="2" y="134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8"/>
                  </a:lnTo>
                  <a:lnTo>
                    <a:pt x="0" y="147"/>
                  </a:lnTo>
                  <a:lnTo>
                    <a:pt x="0" y="149"/>
                  </a:lnTo>
                  <a:lnTo>
                    <a:pt x="2" y="149"/>
                  </a:lnTo>
                  <a:lnTo>
                    <a:pt x="4" y="151"/>
                  </a:lnTo>
                  <a:lnTo>
                    <a:pt x="4" y="151"/>
                  </a:lnTo>
                  <a:lnTo>
                    <a:pt x="6" y="153"/>
                  </a:lnTo>
                  <a:lnTo>
                    <a:pt x="6" y="153"/>
                  </a:lnTo>
                  <a:lnTo>
                    <a:pt x="8" y="153"/>
                  </a:lnTo>
                  <a:lnTo>
                    <a:pt x="10" y="153"/>
                  </a:lnTo>
                  <a:lnTo>
                    <a:pt x="10" y="153"/>
                  </a:lnTo>
                  <a:lnTo>
                    <a:pt x="10" y="153"/>
                  </a:lnTo>
                  <a:lnTo>
                    <a:pt x="10" y="155"/>
                  </a:lnTo>
                  <a:lnTo>
                    <a:pt x="12" y="155"/>
                  </a:lnTo>
                  <a:lnTo>
                    <a:pt x="12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7"/>
                  </a:lnTo>
                  <a:lnTo>
                    <a:pt x="14" y="159"/>
                  </a:lnTo>
                  <a:lnTo>
                    <a:pt x="14" y="164"/>
                  </a:lnTo>
                  <a:lnTo>
                    <a:pt x="17" y="170"/>
                  </a:lnTo>
                  <a:lnTo>
                    <a:pt x="17" y="172"/>
                  </a:lnTo>
                  <a:lnTo>
                    <a:pt x="17" y="174"/>
                  </a:lnTo>
                  <a:lnTo>
                    <a:pt x="17" y="174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7" y="178"/>
                  </a:lnTo>
                  <a:lnTo>
                    <a:pt x="17" y="178"/>
                  </a:lnTo>
                  <a:lnTo>
                    <a:pt x="23" y="183"/>
                  </a:lnTo>
                  <a:lnTo>
                    <a:pt x="23" y="183"/>
                  </a:lnTo>
                  <a:lnTo>
                    <a:pt x="25" y="180"/>
                  </a:lnTo>
                  <a:lnTo>
                    <a:pt x="25" y="180"/>
                  </a:lnTo>
                  <a:lnTo>
                    <a:pt x="27" y="178"/>
                  </a:lnTo>
                  <a:lnTo>
                    <a:pt x="29" y="178"/>
                  </a:lnTo>
                  <a:lnTo>
                    <a:pt x="29" y="178"/>
                  </a:lnTo>
                  <a:lnTo>
                    <a:pt x="31" y="180"/>
                  </a:lnTo>
                  <a:lnTo>
                    <a:pt x="31" y="185"/>
                  </a:lnTo>
                  <a:lnTo>
                    <a:pt x="33" y="185"/>
                  </a:lnTo>
                  <a:lnTo>
                    <a:pt x="33" y="187"/>
                  </a:lnTo>
                  <a:lnTo>
                    <a:pt x="35" y="187"/>
                  </a:lnTo>
                  <a:lnTo>
                    <a:pt x="37" y="187"/>
                  </a:lnTo>
                  <a:lnTo>
                    <a:pt x="40" y="187"/>
                  </a:lnTo>
                  <a:lnTo>
                    <a:pt x="40" y="187"/>
                  </a:lnTo>
                  <a:lnTo>
                    <a:pt x="44" y="189"/>
                  </a:lnTo>
                  <a:lnTo>
                    <a:pt x="44" y="189"/>
                  </a:lnTo>
                  <a:lnTo>
                    <a:pt x="44" y="189"/>
                  </a:lnTo>
                  <a:lnTo>
                    <a:pt x="46" y="187"/>
                  </a:lnTo>
                  <a:lnTo>
                    <a:pt x="50" y="185"/>
                  </a:lnTo>
                  <a:lnTo>
                    <a:pt x="60" y="187"/>
                  </a:lnTo>
                  <a:lnTo>
                    <a:pt x="77" y="187"/>
                  </a:lnTo>
                  <a:lnTo>
                    <a:pt x="79" y="189"/>
                  </a:lnTo>
                  <a:lnTo>
                    <a:pt x="79" y="189"/>
                  </a:lnTo>
                  <a:lnTo>
                    <a:pt x="79" y="189"/>
                  </a:lnTo>
                  <a:lnTo>
                    <a:pt x="79" y="191"/>
                  </a:lnTo>
                  <a:lnTo>
                    <a:pt x="79" y="191"/>
                  </a:lnTo>
                  <a:lnTo>
                    <a:pt x="79" y="191"/>
                  </a:lnTo>
                  <a:lnTo>
                    <a:pt x="79" y="191"/>
                  </a:lnTo>
                  <a:lnTo>
                    <a:pt x="81" y="191"/>
                  </a:lnTo>
                  <a:lnTo>
                    <a:pt x="81" y="193"/>
                  </a:lnTo>
                  <a:lnTo>
                    <a:pt x="81" y="193"/>
                  </a:lnTo>
                  <a:lnTo>
                    <a:pt x="84" y="193"/>
                  </a:lnTo>
                  <a:lnTo>
                    <a:pt x="88" y="193"/>
                  </a:lnTo>
                  <a:lnTo>
                    <a:pt x="104" y="193"/>
                  </a:lnTo>
                  <a:lnTo>
                    <a:pt x="113" y="197"/>
                  </a:lnTo>
                  <a:lnTo>
                    <a:pt x="117" y="197"/>
                  </a:lnTo>
                  <a:lnTo>
                    <a:pt x="121" y="199"/>
                  </a:lnTo>
                  <a:lnTo>
                    <a:pt x="125" y="199"/>
                  </a:lnTo>
                  <a:lnTo>
                    <a:pt x="128" y="199"/>
                  </a:lnTo>
                  <a:lnTo>
                    <a:pt x="130" y="201"/>
                  </a:lnTo>
                  <a:lnTo>
                    <a:pt x="140" y="204"/>
                  </a:lnTo>
                  <a:lnTo>
                    <a:pt x="140" y="204"/>
                  </a:lnTo>
                  <a:lnTo>
                    <a:pt x="140" y="204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42" y="199"/>
                  </a:lnTo>
                  <a:lnTo>
                    <a:pt x="146" y="193"/>
                  </a:lnTo>
                  <a:lnTo>
                    <a:pt x="148" y="191"/>
                  </a:lnTo>
                  <a:lnTo>
                    <a:pt x="148" y="189"/>
                  </a:lnTo>
                  <a:lnTo>
                    <a:pt x="148" y="187"/>
                  </a:lnTo>
                  <a:lnTo>
                    <a:pt x="148" y="185"/>
                  </a:lnTo>
                  <a:lnTo>
                    <a:pt x="148" y="185"/>
                  </a:lnTo>
                  <a:lnTo>
                    <a:pt x="151" y="183"/>
                  </a:lnTo>
                  <a:lnTo>
                    <a:pt x="157" y="185"/>
                  </a:lnTo>
                  <a:lnTo>
                    <a:pt x="157" y="185"/>
                  </a:lnTo>
                  <a:lnTo>
                    <a:pt x="159" y="185"/>
                  </a:lnTo>
                  <a:lnTo>
                    <a:pt x="159" y="183"/>
                  </a:lnTo>
                  <a:lnTo>
                    <a:pt x="159" y="183"/>
                  </a:lnTo>
                  <a:lnTo>
                    <a:pt x="159" y="185"/>
                  </a:lnTo>
                  <a:lnTo>
                    <a:pt x="159" y="187"/>
                  </a:lnTo>
                  <a:lnTo>
                    <a:pt x="159" y="187"/>
                  </a:lnTo>
                  <a:lnTo>
                    <a:pt x="161" y="187"/>
                  </a:lnTo>
                  <a:lnTo>
                    <a:pt x="161" y="187"/>
                  </a:lnTo>
                  <a:lnTo>
                    <a:pt x="163" y="185"/>
                  </a:lnTo>
                  <a:lnTo>
                    <a:pt x="165" y="183"/>
                  </a:lnTo>
                  <a:lnTo>
                    <a:pt x="174" y="176"/>
                  </a:lnTo>
                  <a:lnTo>
                    <a:pt x="178" y="172"/>
                  </a:lnTo>
                  <a:lnTo>
                    <a:pt x="178" y="174"/>
                  </a:lnTo>
                  <a:lnTo>
                    <a:pt x="180" y="189"/>
                  </a:lnTo>
                  <a:lnTo>
                    <a:pt x="182" y="191"/>
                  </a:lnTo>
                  <a:lnTo>
                    <a:pt x="184" y="193"/>
                  </a:lnTo>
                  <a:lnTo>
                    <a:pt x="186" y="197"/>
                  </a:lnTo>
                  <a:lnTo>
                    <a:pt x="190" y="197"/>
                  </a:lnTo>
                  <a:lnTo>
                    <a:pt x="195" y="197"/>
                  </a:lnTo>
                  <a:lnTo>
                    <a:pt x="197" y="197"/>
                  </a:lnTo>
                  <a:lnTo>
                    <a:pt x="201" y="197"/>
                  </a:lnTo>
                  <a:lnTo>
                    <a:pt x="203" y="197"/>
                  </a:lnTo>
                  <a:lnTo>
                    <a:pt x="207" y="199"/>
                  </a:lnTo>
                  <a:lnTo>
                    <a:pt x="209" y="199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9" y="204"/>
                  </a:lnTo>
                  <a:lnTo>
                    <a:pt x="209" y="208"/>
                  </a:lnTo>
                  <a:lnTo>
                    <a:pt x="211" y="210"/>
                  </a:lnTo>
                  <a:lnTo>
                    <a:pt x="211" y="227"/>
                  </a:lnTo>
                  <a:lnTo>
                    <a:pt x="211" y="227"/>
                  </a:lnTo>
                  <a:lnTo>
                    <a:pt x="211" y="229"/>
                  </a:lnTo>
                  <a:lnTo>
                    <a:pt x="213" y="227"/>
                  </a:lnTo>
                  <a:lnTo>
                    <a:pt x="213" y="227"/>
                  </a:lnTo>
                  <a:lnTo>
                    <a:pt x="213" y="227"/>
                  </a:lnTo>
                  <a:lnTo>
                    <a:pt x="216" y="227"/>
                  </a:lnTo>
                  <a:lnTo>
                    <a:pt x="216" y="233"/>
                  </a:lnTo>
                  <a:lnTo>
                    <a:pt x="216" y="233"/>
                  </a:lnTo>
                  <a:lnTo>
                    <a:pt x="216" y="233"/>
                  </a:lnTo>
                  <a:lnTo>
                    <a:pt x="224" y="235"/>
                  </a:lnTo>
                  <a:lnTo>
                    <a:pt x="224" y="237"/>
                  </a:lnTo>
                  <a:lnTo>
                    <a:pt x="224" y="235"/>
                  </a:lnTo>
                  <a:lnTo>
                    <a:pt x="226" y="235"/>
                  </a:lnTo>
                  <a:lnTo>
                    <a:pt x="226" y="231"/>
                  </a:lnTo>
                  <a:lnTo>
                    <a:pt x="226" y="231"/>
                  </a:lnTo>
                  <a:lnTo>
                    <a:pt x="226" y="229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6" y="227"/>
                  </a:lnTo>
                  <a:lnTo>
                    <a:pt x="228" y="225"/>
                  </a:lnTo>
                  <a:lnTo>
                    <a:pt x="230" y="222"/>
                  </a:lnTo>
                  <a:lnTo>
                    <a:pt x="234" y="220"/>
                  </a:lnTo>
                  <a:lnTo>
                    <a:pt x="239" y="216"/>
                  </a:lnTo>
                  <a:lnTo>
                    <a:pt x="245" y="212"/>
                  </a:lnTo>
                  <a:lnTo>
                    <a:pt x="247" y="212"/>
                  </a:lnTo>
                  <a:lnTo>
                    <a:pt x="249" y="210"/>
                  </a:lnTo>
                  <a:lnTo>
                    <a:pt x="251" y="210"/>
                  </a:lnTo>
                  <a:lnTo>
                    <a:pt x="251" y="208"/>
                  </a:lnTo>
                  <a:lnTo>
                    <a:pt x="253" y="210"/>
                  </a:lnTo>
                  <a:lnTo>
                    <a:pt x="253" y="210"/>
                  </a:lnTo>
                  <a:lnTo>
                    <a:pt x="253" y="210"/>
                  </a:lnTo>
                  <a:lnTo>
                    <a:pt x="255" y="210"/>
                  </a:lnTo>
                  <a:lnTo>
                    <a:pt x="255" y="210"/>
                  </a:lnTo>
                  <a:lnTo>
                    <a:pt x="257" y="210"/>
                  </a:lnTo>
                  <a:lnTo>
                    <a:pt x="257" y="206"/>
                  </a:lnTo>
                  <a:lnTo>
                    <a:pt x="259" y="201"/>
                  </a:lnTo>
                  <a:lnTo>
                    <a:pt x="259" y="199"/>
                  </a:lnTo>
                  <a:lnTo>
                    <a:pt x="259" y="195"/>
                  </a:lnTo>
                  <a:lnTo>
                    <a:pt x="259" y="195"/>
                  </a:lnTo>
                  <a:lnTo>
                    <a:pt x="259" y="193"/>
                  </a:lnTo>
                  <a:lnTo>
                    <a:pt x="257" y="191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3" y="189"/>
                  </a:lnTo>
                  <a:lnTo>
                    <a:pt x="249" y="187"/>
                  </a:lnTo>
                  <a:lnTo>
                    <a:pt x="249" y="187"/>
                  </a:lnTo>
                  <a:lnTo>
                    <a:pt x="247" y="185"/>
                  </a:lnTo>
                  <a:lnTo>
                    <a:pt x="247" y="183"/>
                  </a:lnTo>
                  <a:lnTo>
                    <a:pt x="247" y="183"/>
                  </a:lnTo>
                  <a:lnTo>
                    <a:pt x="247" y="183"/>
                  </a:lnTo>
                  <a:lnTo>
                    <a:pt x="247" y="183"/>
                  </a:lnTo>
                  <a:lnTo>
                    <a:pt x="247" y="180"/>
                  </a:lnTo>
                  <a:lnTo>
                    <a:pt x="251" y="178"/>
                  </a:lnTo>
                  <a:lnTo>
                    <a:pt x="251" y="178"/>
                  </a:lnTo>
                  <a:lnTo>
                    <a:pt x="249" y="176"/>
                  </a:lnTo>
                  <a:lnTo>
                    <a:pt x="249" y="174"/>
                  </a:lnTo>
                  <a:lnTo>
                    <a:pt x="247" y="170"/>
                  </a:lnTo>
                  <a:lnTo>
                    <a:pt x="249" y="157"/>
                  </a:lnTo>
                  <a:lnTo>
                    <a:pt x="249" y="157"/>
                  </a:lnTo>
                  <a:lnTo>
                    <a:pt x="249" y="153"/>
                  </a:lnTo>
                  <a:lnTo>
                    <a:pt x="249" y="149"/>
                  </a:lnTo>
                  <a:lnTo>
                    <a:pt x="249" y="145"/>
                  </a:lnTo>
                  <a:lnTo>
                    <a:pt x="251" y="143"/>
                  </a:lnTo>
                  <a:lnTo>
                    <a:pt x="253" y="145"/>
                  </a:lnTo>
                  <a:lnTo>
                    <a:pt x="255" y="145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62" y="147"/>
                  </a:lnTo>
                  <a:lnTo>
                    <a:pt x="262" y="147"/>
                  </a:lnTo>
                  <a:lnTo>
                    <a:pt x="268" y="149"/>
                  </a:lnTo>
                  <a:lnTo>
                    <a:pt x="272" y="149"/>
                  </a:lnTo>
                  <a:lnTo>
                    <a:pt x="272" y="149"/>
                  </a:lnTo>
                  <a:lnTo>
                    <a:pt x="272" y="147"/>
                  </a:lnTo>
                  <a:lnTo>
                    <a:pt x="272" y="147"/>
                  </a:lnTo>
                  <a:lnTo>
                    <a:pt x="274" y="147"/>
                  </a:lnTo>
                  <a:lnTo>
                    <a:pt x="274" y="145"/>
                  </a:lnTo>
                  <a:lnTo>
                    <a:pt x="274" y="145"/>
                  </a:lnTo>
                  <a:lnTo>
                    <a:pt x="276" y="143"/>
                  </a:lnTo>
                  <a:lnTo>
                    <a:pt x="278" y="143"/>
                  </a:lnTo>
                  <a:lnTo>
                    <a:pt x="280" y="141"/>
                  </a:lnTo>
                  <a:lnTo>
                    <a:pt x="283" y="138"/>
                  </a:lnTo>
                  <a:lnTo>
                    <a:pt x="287" y="136"/>
                  </a:lnTo>
                  <a:lnTo>
                    <a:pt x="287" y="134"/>
                  </a:lnTo>
                  <a:lnTo>
                    <a:pt x="287" y="134"/>
                  </a:lnTo>
                  <a:lnTo>
                    <a:pt x="287" y="132"/>
                  </a:lnTo>
                  <a:lnTo>
                    <a:pt x="287" y="128"/>
                  </a:lnTo>
                  <a:lnTo>
                    <a:pt x="287" y="128"/>
                  </a:lnTo>
                  <a:lnTo>
                    <a:pt x="287" y="124"/>
                  </a:lnTo>
                  <a:lnTo>
                    <a:pt x="287" y="115"/>
                  </a:lnTo>
                  <a:lnTo>
                    <a:pt x="287" y="113"/>
                  </a:lnTo>
                  <a:lnTo>
                    <a:pt x="289" y="105"/>
                  </a:lnTo>
                  <a:lnTo>
                    <a:pt x="289" y="103"/>
                  </a:lnTo>
                  <a:lnTo>
                    <a:pt x="289" y="101"/>
                  </a:lnTo>
                  <a:lnTo>
                    <a:pt x="293" y="94"/>
                  </a:lnTo>
                  <a:lnTo>
                    <a:pt x="293" y="94"/>
                  </a:lnTo>
                  <a:lnTo>
                    <a:pt x="293" y="94"/>
                  </a:lnTo>
                  <a:close/>
                  <a:moveTo>
                    <a:pt x="159" y="2"/>
                  </a:moveTo>
                  <a:lnTo>
                    <a:pt x="159" y="4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0"/>
                  </a:lnTo>
                  <a:lnTo>
                    <a:pt x="159" y="2"/>
                  </a:lnTo>
                  <a:lnTo>
                    <a:pt x="159" y="2"/>
                  </a:lnTo>
                  <a:close/>
                  <a:moveTo>
                    <a:pt x="44" y="193"/>
                  </a:moveTo>
                  <a:lnTo>
                    <a:pt x="44" y="191"/>
                  </a:lnTo>
                  <a:lnTo>
                    <a:pt x="42" y="191"/>
                  </a:lnTo>
                  <a:lnTo>
                    <a:pt x="37" y="189"/>
                  </a:lnTo>
                  <a:lnTo>
                    <a:pt x="35" y="187"/>
                  </a:lnTo>
                  <a:lnTo>
                    <a:pt x="29" y="187"/>
                  </a:lnTo>
                  <a:lnTo>
                    <a:pt x="25" y="185"/>
                  </a:lnTo>
                  <a:lnTo>
                    <a:pt x="23" y="185"/>
                  </a:lnTo>
                  <a:lnTo>
                    <a:pt x="23" y="187"/>
                  </a:lnTo>
                  <a:lnTo>
                    <a:pt x="23" y="189"/>
                  </a:lnTo>
                  <a:lnTo>
                    <a:pt x="23" y="189"/>
                  </a:lnTo>
                  <a:lnTo>
                    <a:pt x="25" y="189"/>
                  </a:lnTo>
                  <a:lnTo>
                    <a:pt x="29" y="189"/>
                  </a:lnTo>
                  <a:lnTo>
                    <a:pt x="29" y="189"/>
                  </a:lnTo>
                  <a:lnTo>
                    <a:pt x="31" y="191"/>
                  </a:lnTo>
                  <a:lnTo>
                    <a:pt x="35" y="191"/>
                  </a:lnTo>
                  <a:lnTo>
                    <a:pt x="42" y="193"/>
                  </a:lnTo>
                  <a:lnTo>
                    <a:pt x="44" y="193"/>
                  </a:lnTo>
                  <a:lnTo>
                    <a:pt x="46" y="193"/>
                  </a:lnTo>
                  <a:lnTo>
                    <a:pt x="46" y="193"/>
                  </a:lnTo>
                  <a:lnTo>
                    <a:pt x="46" y="193"/>
                  </a:lnTo>
                  <a:lnTo>
                    <a:pt x="46" y="193"/>
                  </a:lnTo>
                  <a:lnTo>
                    <a:pt x="44" y="193"/>
                  </a:lnTo>
                  <a:close/>
                  <a:moveTo>
                    <a:pt x="155" y="8"/>
                  </a:moveTo>
                  <a:lnTo>
                    <a:pt x="155" y="8"/>
                  </a:lnTo>
                  <a:lnTo>
                    <a:pt x="153" y="8"/>
                  </a:lnTo>
                  <a:lnTo>
                    <a:pt x="153" y="8"/>
                  </a:lnTo>
                  <a:lnTo>
                    <a:pt x="155" y="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33" name="Freeform 121">
              <a:extLst>
                <a:ext uri="{FF2B5EF4-FFF2-40B4-BE49-F238E27FC236}">
                  <a16:creationId xmlns:a16="http://schemas.microsoft.com/office/drawing/2014/main" id="{913ABD94-7EB3-410D-AF48-11669B4C5C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4272" y="1719674"/>
              <a:ext cx="184547" cy="138113"/>
            </a:xfrm>
            <a:custGeom>
              <a:avLst/>
              <a:gdLst>
                <a:gd name="T0" fmla="*/ 69 w 155"/>
                <a:gd name="T1" fmla="*/ 17 h 116"/>
                <a:gd name="T2" fmla="*/ 67 w 155"/>
                <a:gd name="T3" fmla="*/ 15 h 116"/>
                <a:gd name="T4" fmla="*/ 99 w 155"/>
                <a:gd name="T5" fmla="*/ 13 h 116"/>
                <a:gd name="T6" fmla="*/ 13 w 155"/>
                <a:gd name="T7" fmla="*/ 80 h 116"/>
                <a:gd name="T8" fmla="*/ 13 w 155"/>
                <a:gd name="T9" fmla="*/ 69 h 116"/>
                <a:gd name="T10" fmla="*/ 11 w 155"/>
                <a:gd name="T11" fmla="*/ 69 h 116"/>
                <a:gd name="T12" fmla="*/ 0 w 155"/>
                <a:gd name="T13" fmla="*/ 78 h 116"/>
                <a:gd name="T14" fmla="*/ 6 w 155"/>
                <a:gd name="T15" fmla="*/ 78 h 116"/>
                <a:gd name="T16" fmla="*/ 8 w 155"/>
                <a:gd name="T17" fmla="*/ 84 h 116"/>
                <a:gd name="T18" fmla="*/ 111 w 155"/>
                <a:gd name="T19" fmla="*/ 2 h 116"/>
                <a:gd name="T20" fmla="*/ 111 w 155"/>
                <a:gd name="T21" fmla="*/ 2 h 116"/>
                <a:gd name="T22" fmla="*/ 153 w 155"/>
                <a:gd name="T23" fmla="*/ 42 h 116"/>
                <a:gd name="T24" fmla="*/ 153 w 155"/>
                <a:gd name="T25" fmla="*/ 25 h 116"/>
                <a:gd name="T26" fmla="*/ 147 w 155"/>
                <a:gd name="T27" fmla="*/ 21 h 116"/>
                <a:gd name="T28" fmla="*/ 128 w 155"/>
                <a:gd name="T29" fmla="*/ 23 h 116"/>
                <a:gd name="T30" fmla="*/ 107 w 155"/>
                <a:gd name="T31" fmla="*/ 15 h 116"/>
                <a:gd name="T32" fmla="*/ 96 w 155"/>
                <a:gd name="T33" fmla="*/ 19 h 116"/>
                <a:gd name="T34" fmla="*/ 88 w 155"/>
                <a:gd name="T35" fmla="*/ 8 h 116"/>
                <a:gd name="T36" fmla="*/ 80 w 155"/>
                <a:gd name="T37" fmla="*/ 19 h 116"/>
                <a:gd name="T38" fmla="*/ 67 w 155"/>
                <a:gd name="T39" fmla="*/ 57 h 116"/>
                <a:gd name="T40" fmla="*/ 57 w 155"/>
                <a:gd name="T41" fmla="*/ 69 h 116"/>
                <a:gd name="T42" fmla="*/ 50 w 155"/>
                <a:gd name="T43" fmla="*/ 65 h 116"/>
                <a:gd name="T44" fmla="*/ 40 w 155"/>
                <a:gd name="T45" fmla="*/ 88 h 116"/>
                <a:gd name="T46" fmla="*/ 31 w 155"/>
                <a:gd name="T47" fmla="*/ 97 h 116"/>
                <a:gd name="T48" fmla="*/ 27 w 155"/>
                <a:gd name="T49" fmla="*/ 86 h 116"/>
                <a:gd name="T50" fmla="*/ 23 w 155"/>
                <a:gd name="T51" fmla="*/ 82 h 116"/>
                <a:gd name="T52" fmla="*/ 17 w 155"/>
                <a:gd name="T53" fmla="*/ 90 h 116"/>
                <a:gd name="T54" fmla="*/ 11 w 155"/>
                <a:gd name="T55" fmla="*/ 93 h 116"/>
                <a:gd name="T56" fmla="*/ 15 w 155"/>
                <a:gd name="T57" fmla="*/ 99 h 116"/>
                <a:gd name="T58" fmla="*/ 19 w 155"/>
                <a:gd name="T59" fmla="*/ 97 h 116"/>
                <a:gd name="T60" fmla="*/ 27 w 155"/>
                <a:gd name="T61" fmla="*/ 99 h 116"/>
                <a:gd name="T62" fmla="*/ 31 w 155"/>
                <a:gd name="T63" fmla="*/ 99 h 116"/>
                <a:gd name="T64" fmla="*/ 40 w 155"/>
                <a:gd name="T65" fmla="*/ 101 h 116"/>
                <a:gd name="T66" fmla="*/ 61 w 155"/>
                <a:gd name="T67" fmla="*/ 99 h 116"/>
                <a:gd name="T68" fmla="*/ 71 w 155"/>
                <a:gd name="T69" fmla="*/ 99 h 116"/>
                <a:gd name="T70" fmla="*/ 78 w 155"/>
                <a:gd name="T71" fmla="*/ 97 h 116"/>
                <a:gd name="T72" fmla="*/ 94 w 155"/>
                <a:gd name="T73" fmla="*/ 103 h 116"/>
                <a:gd name="T74" fmla="*/ 107 w 155"/>
                <a:gd name="T75" fmla="*/ 109 h 116"/>
                <a:gd name="T76" fmla="*/ 111 w 155"/>
                <a:gd name="T77" fmla="*/ 111 h 116"/>
                <a:gd name="T78" fmla="*/ 115 w 155"/>
                <a:gd name="T79" fmla="*/ 114 h 116"/>
                <a:gd name="T80" fmla="*/ 122 w 155"/>
                <a:gd name="T81" fmla="*/ 111 h 116"/>
                <a:gd name="T82" fmla="*/ 126 w 155"/>
                <a:gd name="T83" fmla="*/ 99 h 116"/>
                <a:gd name="T84" fmla="*/ 126 w 155"/>
                <a:gd name="T85" fmla="*/ 88 h 116"/>
                <a:gd name="T86" fmla="*/ 124 w 155"/>
                <a:gd name="T87" fmla="*/ 63 h 116"/>
                <a:gd name="T88" fmla="*/ 124 w 155"/>
                <a:gd name="T89" fmla="*/ 53 h 116"/>
                <a:gd name="T90" fmla="*/ 128 w 155"/>
                <a:gd name="T91" fmla="*/ 53 h 116"/>
                <a:gd name="T92" fmla="*/ 134 w 155"/>
                <a:gd name="T93" fmla="*/ 53 h 116"/>
                <a:gd name="T94" fmla="*/ 153 w 155"/>
                <a:gd name="T95" fmla="*/ 57 h 116"/>
                <a:gd name="T96" fmla="*/ 63 w 155"/>
                <a:gd name="T97" fmla="*/ 109 h 116"/>
                <a:gd name="T98" fmla="*/ 65 w 155"/>
                <a:gd name="T99" fmla="*/ 111 h 116"/>
                <a:gd name="T100" fmla="*/ 40 w 155"/>
                <a:gd name="T101" fmla="*/ 114 h 116"/>
                <a:gd name="T102" fmla="*/ 40 w 155"/>
                <a:gd name="T10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5" h="116">
                  <a:moveTo>
                    <a:pt x="67" y="15"/>
                  </a:moveTo>
                  <a:lnTo>
                    <a:pt x="69" y="15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1" y="15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7" y="15"/>
                  </a:lnTo>
                  <a:close/>
                  <a:moveTo>
                    <a:pt x="99" y="13"/>
                  </a:move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6" y="13"/>
                  </a:lnTo>
                  <a:lnTo>
                    <a:pt x="99" y="15"/>
                  </a:lnTo>
                  <a:lnTo>
                    <a:pt x="99" y="13"/>
                  </a:lnTo>
                  <a:close/>
                  <a:moveTo>
                    <a:pt x="13" y="80"/>
                  </a:moveTo>
                  <a:lnTo>
                    <a:pt x="13" y="78"/>
                  </a:lnTo>
                  <a:lnTo>
                    <a:pt x="15" y="76"/>
                  </a:lnTo>
                  <a:lnTo>
                    <a:pt x="15" y="72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6" y="72"/>
                  </a:lnTo>
                  <a:lnTo>
                    <a:pt x="2" y="76"/>
                  </a:lnTo>
                  <a:lnTo>
                    <a:pt x="0" y="78"/>
                  </a:lnTo>
                  <a:lnTo>
                    <a:pt x="0" y="80"/>
                  </a:lnTo>
                  <a:lnTo>
                    <a:pt x="2" y="78"/>
                  </a:lnTo>
                  <a:lnTo>
                    <a:pt x="6" y="74"/>
                  </a:lnTo>
                  <a:lnTo>
                    <a:pt x="6" y="76"/>
                  </a:lnTo>
                  <a:lnTo>
                    <a:pt x="6" y="78"/>
                  </a:lnTo>
                  <a:lnTo>
                    <a:pt x="8" y="78"/>
                  </a:lnTo>
                  <a:lnTo>
                    <a:pt x="8" y="80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8" y="84"/>
                  </a:lnTo>
                  <a:lnTo>
                    <a:pt x="8" y="82"/>
                  </a:lnTo>
                  <a:lnTo>
                    <a:pt x="11" y="80"/>
                  </a:lnTo>
                  <a:lnTo>
                    <a:pt x="13" y="80"/>
                  </a:lnTo>
                  <a:close/>
                  <a:moveTo>
                    <a:pt x="111" y="2"/>
                  </a:moveTo>
                  <a:lnTo>
                    <a:pt x="111" y="2"/>
                  </a:lnTo>
                  <a:lnTo>
                    <a:pt x="111" y="2"/>
                  </a:lnTo>
                  <a:lnTo>
                    <a:pt x="111" y="0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11" y="2"/>
                  </a:lnTo>
                  <a:close/>
                  <a:moveTo>
                    <a:pt x="155" y="53"/>
                  </a:moveTo>
                  <a:lnTo>
                    <a:pt x="155" y="48"/>
                  </a:lnTo>
                  <a:lnTo>
                    <a:pt x="155" y="48"/>
                  </a:lnTo>
                  <a:lnTo>
                    <a:pt x="153" y="46"/>
                  </a:lnTo>
                  <a:lnTo>
                    <a:pt x="153" y="42"/>
                  </a:lnTo>
                  <a:lnTo>
                    <a:pt x="149" y="40"/>
                  </a:lnTo>
                  <a:lnTo>
                    <a:pt x="149" y="29"/>
                  </a:lnTo>
                  <a:lnTo>
                    <a:pt x="149" y="27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3" y="23"/>
                  </a:lnTo>
                  <a:lnTo>
                    <a:pt x="151" y="23"/>
                  </a:lnTo>
                  <a:lnTo>
                    <a:pt x="151" y="21"/>
                  </a:lnTo>
                  <a:lnTo>
                    <a:pt x="149" y="21"/>
                  </a:lnTo>
                  <a:lnTo>
                    <a:pt x="147" y="21"/>
                  </a:lnTo>
                  <a:lnTo>
                    <a:pt x="136" y="19"/>
                  </a:lnTo>
                  <a:lnTo>
                    <a:pt x="134" y="21"/>
                  </a:lnTo>
                  <a:lnTo>
                    <a:pt x="132" y="21"/>
                  </a:lnTo>
                  <a:lnTo>
                    <a:pt x="130" y="23"/>
                  </a:lnTo>
                  <a:lnTo>
                    <a:pt x="128" y="23"/>
                  </a:lnTo>
                  <a:lnTo>
                    <a:pt x="122" y="19"/>
                  </a:lnTo>
                  <a:lnTo>
                    <a:pt x="119" y="19"/>
                  </a:lnTo>
                  <a:lnTo>
                    <a:pt x="117" y="19"/>
                  </a:lnTo>
                  <a:lnTo>
                    <a:pt x="111" y="15"/>
                  </a:lnTo>
                  <a:lnTo>
                    <a:pt x="107" y="15"/>
                  </a:lnTo>
                  <a:lnTo>
                    <a:pt x="105" y="17"/>
                  </a:lnTo>
                  <a:lnTo>
                    <a:pt x="103" y="19"/>
                  </a:lnTo>
                  <a:lnTo>
                    <a:pt x="101" y="21"/>
                  </a:lnTo>
                  <a:lnTo>
                    <a:pt x="99" y="21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17"/>
                  </a:lnTo>
                  <a:lnTo>
                    <a:pt x="94" y="11"/>
                  </a:lnTo>
                  <a:lnTo>
                    <a:pt x="92" y="8"/>
                  </a:lnTo>
                  <a:lnTo>
                    <a:pt x="88" y="8"/>
                  </a:lnTo>
                  <a:lnTo>
                    <a:pt x="86" y="8"/>
                  </a:lnTo>
                  <a:lnTo>
                    <a:pt x="84" y="11"/>
                  </a:lnTo>
                  <a:lnTo>
                    <a:pt x="82" y="17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73" y="25"/>
                  </a:lnTo>
                  <a:lnTo>
                    <a:pt x="71" y="29"/>
                  </a:lnTo>
                  <a:lnTo>
                    <a:pt x="69" y="38"/>
                  </a:lnTo>
                  <a:lnTo>
                    <a:pt x="67" y="40"/>
                  </a:lnTo>
                  <a:lnTo>
                    <a:pt x="67" y="57"/>
                  </a:lnTo>
                  <a:lnTo>
                    <a:pt x="67" y="61"/>
                  </a:lnTo>
                  <a:lnTo>
                    <a:pt x="65" y="65"/>
                  </a:lnTo>
                  <a:lnTo>
                    <a:pt x="63" y="67"/>
                  </a:lnTo>
                  <a:lnTo>
                    <a:pt x="59" y="69"/>
                  </a:lnTo>
                  <a:lnTo>
                    <a:pt x="57" y="69"/>
                  </a:lnTo>
                  <a:lnTo>
                    <a:pt x="55" y="69"/>
                  </a:lnTo>
                  <a:lnTo>
                    <a:pt x="55" y="67"/>
                  </a:lnTo>
                  <a:lnTo>
                    <a:pt x="52" y="65"/>
                  </a:lnTo>
                  <a:lnTo>
                    <a:pt x="50" y="63"/>
                  </a:lnTo>
                  <a:lnTo>
                    <a:pt x="50" y="65"/>
                  </a:lnTo>
                  <a:lnTo>
                    <a:pt x="48" y="69"/>
                  </a:lnTo>
                  <a:lnTo>
                    <a:pt x="48" y="78"/>
                  </a:lnTo>
                  <a:lnTo>
                    <a:pt x="48" y="80"/>
                  </a:lnTo>
                  <a:lnTo>
                    <a:pt x="46" y="80"/>
                  </a:lnTo>
                  <a:lnTo>
                    <a:pt x="40" y="88"/>
                  </a:lnTo>
                  <a:lnTo>
                    <a:pt x="38" y="90"/>
                  </a:lnTo>
                  <a:lnTo>
                    <a:pt x="36" y="95"/>
                  </a:lnTo>
                  <a:lnTo>
                    <a:pt x="36" y="97"/>
                  </a:lnTo>
                  <a:lnTo>
                    <a:pt x="34" y="97"/>
                  </a:lnTo>
                  <a:lnTo>
                    <a:pt x="31" y="97"/>
                  </a:lnTo>
                  <a:lnTo>
                    <a:pt x="31" y="95"/>
                  </a:lnTo>
                  <a:lnTo>
                    <a:pt x="29" y="93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7" y="84"/>
                  </a:lnTo>
                  <a:lnTo>
                    <a:pt x="25" y="84"/>
                  </a:lnTo>
                  <a:lnTo>
                    <a:pt x="25" y="82"/>
                  </a:lnTo>
                  <a:lnTo>
                    <a:pt x="23" y="82"/>
                  </a:lnTo>
                  <a:lnTo>
                    <a:pt x="21" y="82"/>
                  </a:lnTo>
                  <a:lnTo>
                    <a:pt x="21" y="84"/>
                  </a:lnTo>
                  <a:lnTo>
                    <a:pt x="21" y="86"/>
                  </a:lnTo>
                  <a:lnTo>
                    <a:pt x="19" y="88"/>
                  </a:lnTo>
                  <a:lnTo>
                    <a:pt x="17" y="90"/>
                  </a:lnTo>
                  <a:lnTo>
                    <a:pt x="15" y="90"/>
                  </a:lnTo>
                  <a:lnTo>
                    <a:pt x="15" y="93"/>
                  </a:lnTo>
                  <a:lnTo>
                    <a:pt x="11" y="90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5"/>
                  </a:lnTo>
                  <a:lnTo>
                    <a:pt x="13" y="97"/>
                  </a:lnTo>
                  <a:lnTo>
                    <a:pt x="13" y="99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23" y="97"/>
                  </a:lnTo>
                  <a:lnTo>
                    <a:pt x="27" y="97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4" y="99"/>
                  </a:lnTo>
                  <a:lnTo>
                    <a:pt x="34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40" y="101"/>
                  </a:lnTo>
                  <a:lnTo>
                    <a:pt x="42" y="101"/>
                  </a:lnTo>
                  <a:lnTo>
                    <a:pt x="46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61" y="99"/>
                  </a:lnTo>
                  <a:lnTo>
                    <a:pt x="63" y="99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9" y="99"/>
                  </a:lnTo>
                  <a:lnTo>
                    <a:pt x="71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7"/>
                  </a:lnTo>
                  <a:lnTo>
                    <a:pt x="75" y="97"/>
                  </a:lnTo>
                  <a:lnTo>
                    <a:pt x="78" y="97"/>
                  </a:lnTo>
                  <a:lnTo>
                    <a:pt x="80" y="97"/>
                  </a:lnTo>
                  <a:lnTo>
                    <a:pt x="82" y="97"/>
                  </a:lnTo>
                  <a:lnTo>
                    <a:pt x="84" y="97"/>
                  </a:lnTo>
                  <a:lnTo>
                    <a:pt x="88" y="99"/>
                  </a:lnTo>
                  <a:lnTo>
                    <a:pt x="94" y="103"/>
                  </a:lnTo>
                  <a:lnTo>
                    <a:pt x="99" y="105"/>
                  </a:lnTo>
                  <a:lnTo>
                    <a:pt x="103" y="105"/>
                  </a:lnTo>
                  <a:lnTo>
                    <a:pt x="107" y="107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7" y="111"/>
                  </a:lnTo>
                  <a:lnTo>
                    <a:pt x="109" y="111"/>
                  </a:lnTo>
                  <a:lnTo>
                    <a:pt x="109" y="111"/>
                  </a:lnTo>
                  <a:lnTo>
                    <a:pt x="111" y="111"/>
                  </a:lnTo>
                  <a:lnTo>
                    <a:pt x="111" y="114"/>
                  </a:lnTo>
                  <a:lnTo>
                    <a:pt x="111" y="114"/>
                  </a:lnTo>
                  <a:lnTo>
                    <a:pt x="113" y="114"/>
                  </a:lnTo>
                  <a:lnTo>
                    <a:pt x="113" y="114"/>
                  </a:lnTo>
                  <a:lnTo>
                    <a:pt x="115" y="114"/>
                  </a:lnTo>
                  <a:lnTo>
                    <a:pt x="117" y="114"/>
                  </a:lnTo>
                  <a:lnTo>
                    <a:pt x="119" y="114"/>
                  </a:lnTo>
                  <a:lnTo>
                    <a:pt x="122" y="114"/>
                  </a:lnTo>
                  <a:lnTo>
                    <a:pt x="122" y="114"/>
                  </a:lnTo>
                  <a:lnTo>
                    <a:pt x="122" y="111"/>
                  </a:lnTo>
                  <a:lnTo>
                    <a:pt x="122" y="111"/>
                  </a:lnTo>
                  <a:lnTo>
                    <a:pt x="122" y="109"/>
                  </a:lnTo>
                  <a:lnTo>
                    <a:pt x="122" y="107"/>
                  </a:lnTo>
                  <a:lnTo>
                    <a:pt x="122" y="105"/>
                  </a:lnTo>
                  <a:lnTo>
                    <a:pt x="126" y="99"/>
                  </a:lnTo>
                  <a:lnTo>
                    <a:pt x="132" y="93"/>
                  </a:lnTo>
                  <a:lnTo>
                    <a:pt x="132" y="93"/>
                  </a:lnTo>
                  <a:lnTo>
                    <a:pt x="130" y="90"/>
                  </a:lnTo>
                  <a:lnTo>
                    <a:pt x="128" y="90"/>
                  </a:lnTo>
                  <a:lnTo>
                    <a:pt x="126" y="88"/>
                  </a:lnTo>
                  <a:lnTo>
                    <a:pt x="124" y="88"/>
                  </a:lnTo>
                  <a:lnTo>
                    <a:pt x="124" y="86"/>
                  </a:lnTo>
                  <a:lnTo>
                    <a:pt x="122" y="69"/>
                  </a:lnTo>
                  <a:lnTo>
                    <a:pt x="122" y="65"/>
                  </a:lnTo>
                  <a:lnTo>
                    <a:pt x="124" y="63"/>
                  </a:lnTo>
                  <a:lnTo>
                    <a:pt x="124" y="61"/>
                  </a:lnTo>
                  <a:lnTo>
                    <a:pt x="124" y="59"/>
                  </a:lnTo>
                  <a:lnTo>
                    <a:pt x="124" y="57"/>
                  </a:lnTo>
                  <a:lnTo>
                    <a:pt x="124" y="55"/>
                  </a:lnTo>
                  <a:lnTo>
                    <a:pt x="124" y="53"/>
                  </a:lnTo>
                  <a:lnTo>
                    <a:pt x="126" y="53"/>
                  </a:lnTo>
                  <a:lnTo>
                    <a:pt x="126" y="50"/>
                  </a:lnTo>
                  <a:lnTo>
                    <a:pt x="128" y="50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8" y="55"/>
                  </a:lnTo>
                  <a:lnTo>
                    <a:pt x="130" y="55"/>
                  </a:lnTo>
                  <a:lnTo>
                    <a:pt x="130" y="55"/>
                  </a:lnTo>
                  <a:lnTo>
                    <a:pt x="132" y="53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8" y="55"/>
                  </a:lnTo>
                  <a:lnTo>
                    <a:pt x="140" y="55"/>
                  </a:lnTo>
                  <a:lnTo>
                    <a:pt x="143" y="55"/>
                  </a:lnTo>
                  <a:lnTo>
                    <a:pt x="153" y="57"/>
                  </a:lnTo>
                  <a:lnTo>
                    <a:pt x="155" y="55"/>
                  </a:lnTo>
                  <a:lnTo>
                    <a:pt x="155" y="53"/>
                  </a:lnTo>
                  <a:close/>
                  <a:moveTo>
                    <a:pt x="65" y="109"/>
                  </a:moveTo>
                  <a:lnTo>
                    <a:pt x="63" y="109"/>
                  </a:lnTo>
                  <a:lnTo>
                    <a:pt x="63" y="109"/>
                  </a:lnTo>
                  <a:lnTo>
                    <a:pt x="61" y="111"/>
                  </a:lnTo>
                  <a:lnTo>
                    <a:pt x="61" y="111"/>
                  </a:lnTo>
                  <a:lnTo>
                    <a:pt x="63" y="111"/>
                  </a:lnTo>
                  <a:lnTo>
                    <a:pt x="63" y="111"/>
                  </a:lnTo>
                  <a:lnTo>
                    <a:pt x="65" y="111"/>
                  </a:lnTo>
                  <a:lnTo>
                    <a:pt x="65" y="109"/>
                  </a:lnTo>
                  <a:lnTo>
                    <a:pt x="67" y="109"/>
                  </a:lnTo>
                  <a:lnTo>
                    <a:pt x="65" y="109"/>
                  </a:lnTo>
                  <a:lnTo>
                    <a:pt x="65" y="109"/>
                  </a:lnTo>
                  <a:close/>
                  <a:moveTo>
                    <a:pt x="40" y="114"/>
                  </a:moveTo>
                  <a:lnTo>
                    <a:pt x="40" y="114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40" y="116"/>
                  </a:lnTo>
                  <a:lnTo>
                    <a:pt x="42" y="116"/>
                  </a:lnTo>
                  <a:lnTo>
                    <a:pt x="42" y="114"/>
                  </a:lnTo>
                  <a:lnTo>
                    <a:pt x="40" y="114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873447E4-DBC9-4118-8FD2-5AB038530F9B}"/>
              </a:ext>
            </a:extLst>
          </p:cNvPr>
          <p:cNvGrpSpPr/>
          <p:nvPr/>
        </p:nvGrpSpPr>
        <p:grpSpPr>
          <a:xfrm>
            <a:off x="7855589" y="3663485"/>
            <a:ext cx="691754" cy="191394"/>
            <a:chOff x="5982022" y="1974468"/>
            <a:chExt cx="1204913" cy="333375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135" name="Freeform 95">
              <a:extLst>
                <a:ext uri="{FF2B5EF4-FFF2-40B4-BE49-F238E27FC236}">
                  <a16:creationId xmlns:a16="http://schemas.microsoft.com/office/drawing/2014/main" id="{D26B1EAF-3F22-4A64-BEBA-E44E1A3062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36803" y="1976849"/>
              <a:ext cx="383381" cy="115490"/>
            </a:xfrm>
            <a:custGeom>
              <a:avLst/>
              <a:gdLst>
                <a:gd name="T0" fmla="*/ 157 w 322"/>
                <a:gd name="T1" fmla="*/ 24 h 97"/>
                <a:gd name="T2" fmla="*/ 176 w 322"/>
                <a:gd name="T3" fmla="*/ 11 h 97"/>
                <a:gd name="T4" fmla="*/ 157 w 322"/>
                <a:gd name="T5" fmla="*/ 17 h 97"/>
                <a:gd name="T6" fmla="*/ 301 w 322"/>
                <a:gd name="T7" fmla="*/ 11 h 97"/>
                <a:gd name="T8" fmla="*/ 151 w 322"/>
                <a:gd name="T9" fmla="*/ 7 h 97"/>
                <a:gd name="T10" fmla="*/ 144 w 322"/>
                <a:gd name="T11" fmla="*/ 7 h 97"/>
                <a:gd name="T12" fmla="*/ 107 w 322"/>
                <a:gd name="T13" fmla="*/ 34 h 97"/>
                <a:gd name="T14" fmla="*/ 316 w 322"/>
                <a:gd name="T15" fmla="*/ 47 h 97"/>
                <a:gd name="T16" fmla="*/ 308 w 322"/>
                <a:gd name="T17" fmla="*/ 55 h 97"/>
                <a:gd name="T18" fmla="*/ 299 w 322"/>
                <a:gd name="T19" fmla="*/ 21 h 97"/>
                <a:gd name="T20" fmla="*/ 274 w 322"/>
                <a:gd name="T21" fmla="*/ 34 h 97"/>
                <a:gd name="T22" fmla="*/ 270 w 322"/>
                <a:gd name="T23" fmla="*/ 30 h 97"/>
                <a:gd name="T24" fmla="*/ 253 w 322"/>
                <a:gd name="T25" fmla="*/ 17 h 97"/>
                <a:gd name="T26" fmla="*/ 239 w 322"/>
                <a:gd name="T27" fmla="*/ 26 h 97"/>
                <a:gd name="T28" fmla="*/ 222 w 322"/>
                <a:gd name="T29" fmla="*/ 15 h 97"/>
                <a:gd name="T30" fmla="*/ 203 w 322"/>
                <a:gd name="T31" fmla="*/ 3 h 97"/>
                <a:gd name="T32" fmla="*/ 180 w 322"/>
                <a:gd name="T33" fmla="*/ 7 h 97"/>
                <a:gd name="T34" fmla="*/ 195 w 322"/>
                <a:gd name="T35" fmla="*/ 30 h 97"/>
                <a:gd name="T36" fmla="*/ 218 w 322"/>
                <a:gd name="T37" fmla="*/ 38 h 97"/>
                <a:gd name="T38" fmla="*/ 232 w 322"/>
                <a:gd name="T39" fmla="*/ 49 h 97"/>
                <a:gd name="T40" fmla="*/ 213 w 322"/>
                <a:gd name="T41" fmla="*/ 55 h 97"/>
                <a:gd name="T42" fmla="*/ 197 w 322"/>
                <a:gd name="T43" fmla="*/ 61 h 97"/>
                <a:gd name="T44" fmla="*/ 182 w 322"/>
                <a:gd name="T45" fmla="*/ 53 h 97"/>
                <a:gd name="T46" fmla="*/ 184 w 322"/>
                <a:gd name="T47" fmla="*/ 51 h 97"/>
                <a:gd name="T48" fmla="*/ 171 w 322"/>
                <a:gd name="T49" fmla="*/ 45 h 97"/>
                <a:gd name="T50" fmla="*/ 161 w 322"/>
                <a:gd name="T51" fmla="*/ 32 h 97"/>
                <a:gd name="T52" fmla="*/ 138 w 322"/>
                <a:gd name="T53" fmla="*/ 32 h 97"/>
                <a:gd name="T54" fmla="*/ 109 w 322"/>
                <a:gd name="T55" fmla="*/ 40 h 97"/>
                <a:gd name="T56" fmla="*/ 90 w 322"/>
                <a:gd name="T57" fmla="*/ 63 h 97"/>
                <a:gd name="T58" fmla="*/ 88 w 322"/>
                <a:gd name="T59" fmla="*/ 74 h 97"/>
                <a:gd name="T60" fmla="*/ 94 w 322"/>
                <a:gd name="T61" fmla="*/ 91 h 97"/>
                <a:gd name="T62" fmla="*/ 128 w 322"/>
                <a:gd name="T63" fmla="*/ 91 h 97"/>
                <a:gd name="T64" fmla="*/ 178 w 322"/>
                <a:gd name="T65" fmla="*/ 80 h 97"/>
                <a:gd name="T66" fmla="*/ 188 w 322"/>
                <a:gd name="T67" fmla="*/ 78 h 97"/>
                <a:gd name="T68" fmla="*/ 207 w 322"/>
                <a:gd name="T69" fmla="*/ 74 h 97"/>
                <a:gd name="T70" fmla="*/ 232 w 322"/>
                <a:gd name="T71" fmla="*/ 66 h 97"/>
                <a:gd name="T72" fmla="*/ 245 w 322"/>
                <a:gd name="T73" fmla="*/ 49 h 97"/>
                <a:gd name="T74" fmla="*/ 245 w 322"/>
                <a:gd name="T75" fmla="*/ 74 h 97"/>
                <a:gd name="T76" fmla="*/ 285 w 322"/>
                <a:gd name="T77" fmla="*/ 72 h 97"/>
                <a:gd name="T78" fmla="*/ 291 w 322"/>
                <a:gd name="T79" fmla="*/ 68 h 97"/>
                <a:gd name="T80" fmla="*/ 287 w 322"/>
                <a:gd name="T81" fmla="*/ 61 h 97"/>
                <a:gd name="T82" fmla="*/ 308 w 322"/>
                <a:gd name="T83" fmla="*/ 63 h 97"/>
                <a:gd name="T84" fmla="*/ 316 w 322"/>
                <a:gd name="T85" fmla="*/ 59 h 97"/>
                <a:gd name="T86" fmla="*/ 318 w 322"/>
                <a:gd name="T87" fmla="*/ 51 h 97"/>
                <a:gd name="T88" fmla="*/ 63 w 322"/>
                <a:gd name="T89" fmla="*/ 15 h 97"/>
                <a:gd name="T90" fmla="*/ 27 w 322"/>
                <a:gd name="T91" fmla="*/ 32 h 97"/>
                <a:gd name="T92" fmla="*/ 25 w 322"/>
                <a:gd name="T93" fmla="*/ 63 h 97"/>
                <a:gd name="T94" fmla="*/ 16 w 322"/>
                <a:gd name="T95" fmla="*/ 63 h 97"/>
                <a:gd name="T96" fmla="*/ 2 w 322"/>
                <a:gd name="T97" fmla="*/ 63 h 97"/>
                <a:gd name="T98" fmla="*/ 16 w 322"/>
                <a:gd name="T99" fmla="*/ 78 h 97"/>
                <a:gd name="T100" fmla="*/ 25 w 322"/>
                <a:gd name="T101" fmla="*/ 74 h 97"/>
                <a:gd name="T102" fmla="*/ 35 w 322"/>
                <a:gd name="T103" fmla="*/ 80 h 97"/>
                <a:gd name="T104" fmla="*/ 50 w 322"/>
                <a:gd name="T105" fmla="*/ 80 h 97"/>
                <a:gd name="T106" fmla="*/ 54 w 322"/>
                <a:gd name="T107" fmla="*/ 74 h 97"/>
                <a:gd name="T108" fmla="*/ 73 w 322"/>
                <a:gd name="T109" fmla="*/ 74 h 97"/>
                <a:gd name="T110" fmla="*/ 69 w 322"/>
                <a:gd name="T111" fmla="*/ 63 h 97"/>
                <a:gd name="T112" fmla="*/ 322 w 322"/>
                <a:gd name="T113" fmla="*/ 55 h 97"/>
                <a:gd name="T114" fmla="*/ 320 w 322"/>
                <a:gd name="T115" fmla="*/ 57 h 97"/>
                <a:gd name="T116" fmla="*/ 111 w 322"/>
                <a:gd name="T117" fmla="*/ 3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2" h="97">
                  <a:moveTo>
                    <a:pt x="182" y="5"/>
                  </a:moveTo>
                  <a:lnTo>
                    <a:pt x="184" y="3"/>
                  </a:lnTo>
                  <a:lnTo>
                    <a:pt x="182" y="3"/>
                  </a:lnTo>
                  <a:lnTo>
                    <a:pt x="180" y="3"/>
                  </a:lnTo>
                  <a:lnTo>
                    <a:pt x="182" y="3"/>
                  </a:lnTo>
                  <a:lnTo>
                    <a:pt x="182" y="5"/>
                  </a:lnTo>
                  <a:close/>
                  <a:moveTo>
                    <a:pt x="157" y="17"/>
                  </a:moveTo>
                  <a:lnTo>
                    <a:pt x="157" y="17"/>
                  </a:lnTo>
                  <a:lnTo>
                    <a:pt x="159" y="17"/>
                  </a:lnTo>
                  <a:lnTo>
                    <a:pt x="159" y="19"/>
                  </a:lnTo>
                  <a:lnTo>
                    <a:pt x="159" y="21"/>
                  </a:lnTo>
                  <a:lnTo>
                    <a:pt x="157" y="24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8"/>
                  </a:lnTo>
                  <a:lnTo>
                    <a:pt x="161" y="30"/>
                  </a:lnTo>
                  <a:lnTo>
                    <a:pt x="161" y="30"/>
                  </a:lnTo>
                  <a:lnTo>
                    <a:pt x="163" y="28"/>
                  </a:lnTo>
                  <a:lnTo>
                    <a:pt x="165" y="28"/>
                  </a:lnTo>
                  <a:lnTo>
                    <a:pt x="169" y="17"/>
                  </a:lnTo>
                  <a:lnTo>
                    <a:pt x="171" y="13"/>
                  </a:lnTo>
                  <a:lnTo>
                    <a:pt x="174" y="11"/>
                  </a:lnTo>
                  <a:lnTo>
                    <a:pt x="176" y="11"/>
                  </a:lnTo>
                  <a:lnTo>
                    <a:pt x="176" y="11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76" y="7"/>
                  </a:lnTo>
                  <a:lnTo>
                    <a:pt x="174" y="7"/>
                  </a:lnTo>
                  <a:lnTo>
                    <a:pt x="174" y="7"/>
                  </a:lnTo>
                  <a:lnTo>
                    <a:pt x="163" y="7"/>
                  </a:lnTo>
                  <a:lnTo>
                    <a:pt x="163" y="7"/>
                  </a:lnTo>
                  <a:lnTo>
                    <a:pt x="157" y="9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7" y="17"/>
                  </a:lnTo>
                  <a:lnTo>
                    <a:pt x="157" y="17"/>
                  </a:lnTo>
                  <a:close/>
                  <a:moveTo>
                    <a:pt x="303" y="17"/>
                  </a:moveTo>
                  <a:lnTo>
                    <a:pt x="308" y="17"/>
                  </a:lnTo>
                  <a:lnTo>
                    <a:pt x="310" y="17"/>
                  </a:lnTo>
                  <a:lnTo>
                    <a:pt x="310" y="15"/>
                  </a:lnTo>
                  <a:lnTo>
                    <a:pt x="312" y="13"/>
                  </a:lnTo>
                  <a:lnTo>
                    <a:pt x="312" y="11"/>
                  </a:lnTo>
                  <a:lnTo>
                    <a:pt x="312" y="9"/>
                  </a:lnTo>
                  <a:lnTo>
                    <a:pt x="310" y="7"/>
                  </a:lnTo>
                  <a:lnTo>
                    <a:pt x="308" y="5"/>
                  </a:lnTo>
                  <a:lnTo>
                    <a:pt x="303" y="7"/>
                  </a:lnTo>
                  <a:lnTo>
                    <a:pt x="301" y="11"/>
                  </a:lnTo>
                  <a:lnTo>
                    <a:pt x="301" y="15"/>
                  </a:lnTo>
                  <a:lnTo>
                    <a:pt x="303" y="17"/>
                  </a:lnTo>
                  <a:close/>
                  <a:moveTo>
                    <a:pt x="144" y="9"/>
                  </a:moveTo>
                  <a:lnTo>
                    <a:pt x="146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6" y="7"/>
                  </a:lnTo>
                  <a:lnTo>
                    <a:pt x="146" y="9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5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4" y="9"/>
                  </a:lnTo>
                  <a:lnTo>
                    <a:pt x="144" y="7"/>
                  </a:lnTo>
                  <a:lnTo>
                    <a:pt x="144" y="9"/>
                  </a:lnTo>
                  <a:close/>
                  <a:moveTo>
                    <a:pt x="98" y="36"/>
                  </a:moveTo>
                  <a:lnTo>
                    <a:pt x="98" y="36"/>
                  </a:lnTo>
                  <a:lnTo>
                    <a:pt x="100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2" y="34"/>
                  </a:lnTo>
                  <a:lnTo>
                    <a:pt x="104" y="34"/>
                  </a:lnTo>
                  <a:lnTo>
                    <a:pt x="104" y="34"/>
                  </a:lnTo>
                  <a:lnTo>
                    <a:pt x="104" y="34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07" y="32"/>
                  </a:lnTo>
                  <a:lnTo>
                    <a:pt x="104" y="32"/>
                  </a:lnTo>
                  <a:lnTo>
                    <a:pt x="104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0" y="34"/>
                  </a:lnTo>
                  <a:lnTo>
                    <a:pt x="98" y="34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8" y="36"/>
                  </a:lnTo>
                  <a:close/>
                  <a:moveTo>
                    <a:pt x="316" y="47"/>
                  </a:moveTo>
                  <a:lnTo>
                    <a:pt x="316" y="47"/>
                  </a:lnTo>
                  <a:lnTo>
                    <a:pt x="314" y="47"/>
                  </a:lnTo>
                  <a:lnTo>
                    <a:pt x="314" y="47"/>
                  </a:lnTo>
                  <a:lnTo>
                    <a:pt x="314" y="49"/>
                  </a:lnTo>
                  <a:lnTo>
                    <a:pt x="314" y="49"/>
                  </a:lnTo>
                  <a:lnTo>
                    <a:pt x="312" y="49"/>
                  </a:lnTo>
                  <a:lnTo>
                    <a:pt x="312" y="51"/>
                  </a:lnTo>
                  <a:lnTo>
                    <a:pt x="312" y="51"/>
                  </a:lnTo>
                  <a:lnTo>
                    <a:pt x="314" y="53"/>
                  </a:lnTo>
                  <a:lnTo>
                    <a:pt x="312" y="53"/>
                  </a:lnTo>
                  <a:lnTo>
                    <a:pt x="310" y="53"/>
                  </a:lnTo>
                  <a:lnTo>
                    <a:pt x="308" y="55"/>
                  </a:lnTo>
                  <a:lnTo>
                    <a:pt x="308" y="55"/>
                  </a:lnTo>
                  <a:lnTo>
                    <a:pt x="306" y="53"/>
                  </a:lnTo>
                  <a:lnTo>
                    <a:pt x="303" y="53"/>
                  </a:lnTo>
                  <a:lnTo>
                    <a:pt x="303" y="51"/>
                  </a:lnTo>
                  <a:lnTo>
                    <a:pt x="303" y="49"/>
                  </a:lnTo>
                  <a:lnTo>
                    <a:pt x="303" y="45"/>
                  </a:lnTo>
                  <a:lnTo>
                    <a:pt x="303" y="40"/>
                  </a:lnTo>
                  <a:lnTo>
                    <a:pt x="303" y="38"/>
                  </a:lnTo>
                  <a:lnTo>
                    <a:pt x="301" y="32"/>
                  </a:lnTo>
                  <a:lnTo>
                    <a:pt x="301" y="28"/>
                  </a:lnTo>
                  <a:lnTo>
                    <a:pt x="299" y="26"/>
                  </a:lnTo>
                  <a:lnTo>
                    <a:pt x="299" y="24"/>
                  </a:lnTo>
                  <a:lnTo>
                    <a:pt x="299" y="21"/>
                  </a:lnTo>
                  <a:lnTo>
                    <a:pt x="297" y="21"/>
                  </a:lnTo>
                  <a:lnTo>
                    <a:pt x="295" y="21"/>
                  </a:lnTo>
                  <a:lnTo>
                    <a:pt x="291" y="19"/>
                  </a:lnTo>
                  <a:lnTo>
                    <a:pt x="287" y="19"/>
                  </a:lnTo>
                  <a:lnTo>
                    <a:pt x="283" y="21"/>
                  </a:lnTo>
                  <a:lnTo>
                    <a:pt x="278" y="21"/>
                  </a:lnTo>
                  <a:lnTo>
                    <a:pt x="276" y="24"/>
                  </a:lnTo>
                  <a:lnTo>
                    <a:pt x="274" y="26"/>
                  </a:lnTo>
                  <a:lnTo>
                    <a:pt x="272" y="28"/>
                  </a:lnTo>
                  <a:lnTo>
                    <a:pt x="272" y="32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4" y="36"/>
                  </a:lnTo>
                  <a:lnTo>
                    <a:pt x="272" y="38"/>
                  </a:lnTo>
                  <a:lnTo>
                    <a:pt x="272" y="40"/>
                  </a:lnTo>
                  <a:lnTo>
                    <a:pt x="272" y="40"/>
                  </a:lnTo>
                  <a:lnTo>
                    <a:pt x="272" y="42"/>
                  </a:lnTo>
                  <a:lnTo>
                    <a:pt x="270" y="42"/>
                  </a:lnTo>
                  <a:lnTo>
                    <a:pt x="268" y="45"/>
                  </a:lnTo>
                  <a:lnTo>
                    <a:pt x="268" y="45"/>
                  </a:lnTo>
                  <a:lnTo>
                    <a:pt x="268" y="42"/>
                  </a:lnTo>
                  <a:lnTo>
                    <a:pt x="270" y="36"/>
                  </a:lnTo>
                  <a:lnTo>
                    <a:pt x="270" y="32"/>
                  </a:lnTo>
                  <a:lnTo>
                    <a:pt x="270" y="30"/>
                  </a:lnTo>
                  <a:lnTo>
                    <a:pt x="270" y="28"/>
                  </a:lnTo>
                  <a:lnTo>
                    <a:pt x="268" y="21"/>
                  </a:lnTo>
                  <a:lnTo>
                    <a:pt x="266" y="19"/>
                  </a:lnTo>
                  <a:lnTo>
                    <a:pt x="266" y="19"/>
                  </a:lnTo>
                  <a:lnTo>
                    <a:pt x="262" y="19"/>
                  </a:lnTo>
                  <a:lnTo>
                    <a:pt x="262" y="19"/>
                  </a:lnTo>
                  <a:lnTo>
                    <a:pt x="262" y="19"/>
                  </a:lnTo>
                  <a:lnTo>
                    <a:pt x="262" y="19"/>
                  </a:lnTo>
                  <a:lnTo>
                    <a:pt x="259" y="17"/>
                  </a:lnTo>
                  <a:lnTo>
                    <a:pt x="257" y="17"/>
                  </a:lnTo>
                  <a:lnTo>
                    <a:pt x="255" y="17"/>
                  </a:lnTo>
                  <a:lnTo>
                    <a:pt x="253" y="17"/>
                  </a:lnTo>
                  <a:lnTo>
                    <a:pt x="253" y="15"/>
                  </a:lnTo>
                  <a:lnTo>
                    <a:pt x="251" y="15"/>
                  </a:lnTo>
                  <a:lnTo>
                    <a:pt x="249" y="17"/>
                  </a:lnTo>
                  <a:lnTo>
                    <a:pt x="247" y="17"/>
                  </a:lnTo>
                  <a:lnTo>
                    <a:pt x="247" y="19"/>
                  </a:lnTo>
                  <a:lnTo>
                    <a:pt x="245" y="19"/>
                  </a:lnTo>
                  <a:lnTo>
                    <a:pt x="243" y="21"/>
                  </a:lnTo>
                  <a:lnTo>
                    <a:pt x="243" y="21"/>
                  </a:lnTo>
                  <a:lnTo>
                    <a:pt x="243" y="21"/>
                  </a:lnTo>
                  <a:lnTo>
                    <a:pt x="243" y="24"/>
                  </a:lnTo>
                  <a:lnTo>
                    <a:pt x="241" y="26"/>
                  </a:lnTo>
                  <a:lnTo>
                    <a:pt x="239" y="26"/>
                  </a:lnTo>
                  <a:lnTo>
                    <a:pt x="236" y="28"/>
                  </a:lnTo>
                  <a:lnTo>
                    <a:pt x="234" y="28"/>
                  </a:lnTo>
                  <a:lnTo>
                    <a:pt x="234" y="28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30" y="26"/>
                  </a:lnTo>
                  <a:lnTo>
                    <a:pt x="228" y="24"/>
                  </a:lnTo>
                  <a:lnTo>
                    <a:pt x="226" y="19"/>
                  </a:lnTo>
                  <a:lnTo>
                    <a:pt x="224" y="15"/>
                  </a:lnTo>
                  <a:lnTo>
                    <a:pt x="222" y="15"/>
                  </a:lnTo>
                  <a:lnTo>
                    <a:pt x="222" y="15"/>
                  </a:lnTo>
                  <a:lnTo>
                    <a:pt x="222" y="13"/>
                  </a:lnTo>
                  <a:lnTo>
                    <a:pt x="222" y="9"/>
                  </a:lnTo>
                  <a:lnTo>
                    <a:pt x="220" y="5"/>
                  </a:lnTo>
                  <a:lnTo>
                    <a:pt x="215" y="3"/>
                  </a:lnTo>
                  <a:lnTo>
                    <a:pt x="211" y="3"/>
                  </a:lnTo>
                  <a:lnTo>
                    <a:pt x="207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5" y="3"/>
                  </a:lnTo>
                  <a:lnTo>
                    <a:pt x="203" y="3"/>
                  </a:lnTo>
                  <a:lnTo>
                    <a:pt x="203" y="3"/>
                  </a:lnTo>
                  <a:lnTo>
                    <a:pt x="203" y="0"/>
                  </a:lnTo>
                  <a:lnTo>
                    <a:pt x="201" y="0"/>
                  </a:lnTo>
                  <a:lnTo>
                    <a:pt x="197" y="0"/>
                  </a:lnTo>
                  <a:lnTo>
                    <a:pt x="195" y="0"/>
                  </a:lnTo>
                  <a:lnTo>
                    <a:pt x="188" y="5"/>
                  </a:lnTo>
                  <a:lnTo>
                    <a:pt x="186" y="5"/>
                  </a:lnTo>
                  <a:lnTo>
                    <a:pt x="186" y="5"/>
                  </a:lnTo>
                  <a:lnTo>
                    <a:pt x="184" y="7"/>
                  </a:lnTo>
                  <a:lnTo>
                    <a:pt x="182" y="7"/>
                  </a:lnTo>
                  <a:lnTo>
                    <a:pt x="182" y="7"/>
                  </a:lnTo>
                  <a:lnTo>
                    <a:pt x="180" y="7"/>
                  </a:lnTo>
                  <a:lnTo>
                    <a:pt x="180" y="7"/>
                  </a:lnTo>
                  <a:lnTo>
                    <a:pt x="180" y="9"/>
                  </a:lnTo>
                  <a:lnTo>
                    <a:pt x="178" y="11"/>
                  </a:lnTo>
                  <a:lnTo>
                    <a:pt x="178" y="15"/>
                  </a:lnTo>
                  <a:lnTo>
                    <a:pt x="178" y="15"/>
                  </a:lnTo>
                  <a:lnTo>
                    <a:pt x="180" y="15"/>
                  </a:lnTo>
                  <a:lnTo>
                    <a:pt x="180" y="17"/>
                  </a:lnTo>
                  <a:lnTo>
                    <a:pt x="182" y="17"/>
                  </a:lnTo>
                  <a:lnTo>
                    <a:pt x="184" y="19"/>
                  </a:lnTo>
                  <a:lnTo>
                    <a:pt x="186" y="21"/>
                  </a:lnTo>
                  <a:lnTo>
                    <a:pt x="188" y="26"/>
                  </a:lnTo>
                  <a:lnTo>
                    <a:pt x="188" y="26"/>
                  </a:lnTo>
                  <a:lnTo>
                    <a:pt x="195" y="30"/>
                  </a:lnTo>
                  <a:lnTo>
                    <a:pt x="199" y="34"/>
                  </a:lnTo>
                  <a:lnTo>
                    <a:pt x="201" y="36"/>
                  </a:lnTo>
                  <a:lnTo>
                    <a:pt x="203" y="36"/>
                  </a:lnTo>
                  <a:lnTo>
                    <a:pt x="205" y="38"/>
                  </a:lnTo>
                  <a:lnTo>
                    <a:pt x="205" y="38"/>
                  </a:lnTo>
                  <a:lnTo>
                    <a:pt x="209" y="36"/>
                  </a:lnTo>
                  <a:lnTo>
                    <a:pt x="211" y="36"/>
                  </a:lnTo>
                  <a:lnTo>
                    <a:pt x="213" y="36"/>
                  </a:lnTo>
                  <a:lnTo>
                    <a:pt x="215" y="38"/>
                  </a:lnTo>
                  <a:lnTo>
                    <a:pt x="215" y="40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20" y="40"/>
                  </a:lnTo>
                  <a:lnTo>
                    <a:pt x="224" y="45"/>
                  </a:lnTo>
                  <a:lnTo>
                    <a:pt x="226" y="47"/>
                  </a:lnTo>
                  <a:lnTo>
                    <a:pt x="226" y="47"/>
                  </a:lnTo>
                  <a:lnTo>
                    <a:pt x="226" y="47"/>
                  </a:lnTo>
                  <a:lnTo>
                    <a:pt x="226" y="45"/>
                  </a:lnTo>
                  <a:lnTo>
                    <a:pt x="228" y="45"/>
                  </a:lnTo>
                  <a:lnTo>
                    <a:pt x="228" y="45"/>
                  </a:lnTo>
                  <a:lnTo>
                    <a:pt x="228" y="47"/>
                  </a:lnTo>
                  <a:lnTo>
                    <a:pt x="230" y="47"/>
                  </a:lnTo>
                  <a:lnTo>
                    <a:pt x="230" y="47"/>
                  </a:lnTo>
                  <a:lnTo>
                    <a:pt x="232" y="49"/>
                  </a:lnTo>
                  <a:lnTo>
                    <a:pt x="232" y="51"/>
                  </a:lnTo>
                  <a:lnTo>
                    <a:pt x="232" y="53"/>
                  </a:lnTo>
                  <a:lnTo>
                    <a:pt x="232" y="53"/>
                  </a:lnTo>
                  <a:lnTo>
                    <a:pt x="230" y="55"/>
                  </a:lnTo>
                  <a:lnTo>
                    <a:pt x="228" y="55"/>
                  </a:lnTo>
                  <a:lnTo>
                    <a:pt x="224" y="55"/>
                  </a:lnTo>
                  <a:lnTo>
                    <a:pt x="222" y="55"/>
                  </a:lnTo>
                  <a:lnTo>
                    <a:pt x="222" y="55"/>
                  </a:lnTo>
                  <a:lnTo>
                    <a:pt x="220" y="53"/>
                  </a:lnTo>
                  <a:lnTo>
                    <a:pt x="218" y="53"/>
                  </a:lnTo>
                  <a:lnTo>
                    <a:pt x="213" y="55"/>
                  </a:lnTo>
                  <a:lnTo>
                    <a:pt x="213" y="55"/>
                  </a:lnTo>
                  <a:lnTo>
                    <a:pt x="211" y="55"/>
                  </a:lnTo>
                  <a:lnTo>
                    <a:pt x="211" y="55"/>
                  </a:lnTo>
                  <a:lnTo>
                    <a:pt x="211" y="55"/>
                  </a:lnTo>
                  <a:lnTo>
                    <a:pt x="211" y="57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05" y="61"/>
                  </a:lnTo>
                  <a:lnTo>
                    <a:pt x="203" y="63"/>
                  </a:lnTo>
                  <a:lnTo>
                    <a:pt x="201" y="63"/>
                  </a:lnTo>
                  <a:lnTo>
                    <a:pt x="199" y="61"/>
                  </a:lnTo>
                  <a:lnTo>
                    <a:pt x="197" y="61"/>
                  </a:lnTo>
                  <a:lnTo>
                    <a:pt x="197" y="61"/>
                  </a:lnTo>
                  <a:lnTo>
                    <a:pt x="197" y="61"/>
                  </a:lnTo>
                  <a:lnTo>
                    <a:pt x="197" y="61"/>
                  </a:lnTo>
                  <a:lnTo>
                    <a:pt x="197" y="59"/>
                  </a:lnTo>
                  <a:lnTo>
                    <a:pt x="195" y="59"/>
                  </a:lnTo>
                  <a:lnTo>
                    <a:pt x="195" y="59"/>
                  </a:lnTo>
                  <a:lnTo>
                    <a:pt x="188" y="61"/>
                  </a:lnTo>
                  <a:lnTo>
                    <a:pt x="186" y="61"/>
                  </a:lnTo>
                  <a:lnTo>
                    <a:pt x="186" y="59"/>
                  </a:lnTo>
                  <a:lnTo>
                    <a:pt x="184" y="59"/>
                  </a:lnTo>
                  <a:lnTo>
                    <a:pt x="184" y="55"/>
                  </a:lnTo>
                  <a:lnTo>
                    <a:pt x="182" y="53"/>
                  </a:lnTo>
                  <a:lnTo>
                    <a:pt x="184" y="53"/>
                  </a:lnTo>
                  <a:lnTo>
                    <a:pt x="184" y="53"/>
                  </a:lnTo>
                  <a:lnTo>
                    <a:pt x="184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6" y="53"/>
                  </a:lnTo>
                  <a:lnTo>
                    <a:pt x="184" y="53"/>
                  </a:lnTo>
                  <a:lnTo>
                    <a:pt x="184" y="53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4" y="49"/>
                  </a:lnTo>
                  <a:lnTo>
                    <a:pt x="182" y="49"/>
                  </a:lnTo>
                  <a:lnTo>
                    <a:pt x="182" y="49"/>
                  </a:lnTo>
                  <a:lnTo>
                    <a:pt x="180" y="49"/>
                  </a:lnTo>
                  <a:lnTo>
                    <a:pt x="180" y="47"/>
                  </a:lnTo>
                  <a:lnTo>
                    <a:pt x="182" y="47"/>
                  </a:lnTo>
                  <a:lnTo>
                    <a:pt x="180" y="47"/>
                  </a:lnTo>
                  <a:lnTo>
                    <a:pt x="180" y="47"/>
                  </a:lnTo>
                  <a:lnTo>
                    <a:pt x="178" y="47"/>
                  </a:lnTo>
                  <a:lnTo>
                    <a:pt x="178" y="47"/>
                  </a:lnTo>
                  <a:lnTo>
                    <a:pt x="171" y="45"/>
                  </a:lnTo>
                  <a:lnTo>
                    <a:pt x="171" y="45"/>
                  </a:lnTo>
                  <a:lnTo>
                    <a:pt x="171" y="42"/>
                  </a:lnTo>
                  <a:lnTo>
                    <a:pt x="169" y="36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7" y="34"/>
                  </a:lnTo>
                  <a:lnTo>
                    <a:pt x="167" y="40"/>
                  </a:lnTo>
                  <a:lnTo>
                    <a:pt x="167" y="42"/>
                  </a:lnTo>
                  <a:lnTo>
                    <a:pt x="165" y="38"/>
                  </a:lnTo>
                  <a:lnTo>
                    <a:pt x="165" y="32"/>
                  </a:lnTo>
                  <a:lnTo>
                    <a:pt x="163" y="32"/>
                  </a:lnTo>
                  <a:lnTo>
                    <a:pt x="163" y="32"/>
                  </a:lnTo>
                  <a:lnTo>
                    <a:pt x="161" y="32"/>
                  </a:lnTo>
                  <a:lnTo>
                    <a:pt x="155" y="32"/>
                  </a:lnTo>
                  <a:lnTo>
                    <a:pt x="155" y="32"/>
                  </a:lnTo>
                  <a:lnTo>
                    <a:pt x="153" y="32"/>
                  </a:lnTo>
                  <a:lnTo>
                    <a:pt x="153" y="32"/>
                  </a:lnTo>
                  <a:lnTo>
                    <a:pt x="153" y="34"/>
                  </a:lnTo>
                  <a:lnTo>
                    <a:pt x="153" y="34"/>
                  </a:lnTo>
                  <a:lnTo>
                    <a:pt x="153" y="36"/>
                  </a:lnTo>
                  <a:lnTo>
                    <a:pt x="151" y="36"/>
                  </a:lnTo>
                  <a:lnTo>
                    <a:pt x="153" y="38"/>
                  </a:lnTo>
                  <a:lnTo>
                    <a:pt x="144" y="34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0" y="26"/>
                  </a:lnTo>
                  <a:lnTo>
                    <a:pt x="128" y="28"/>
                  </a:lnTo>
                  <a:lnTo>
                    <a:pt x="123" y="28"/>
                  </a:lnTo>
                  <a:lnTo>
                    <a:pt x="121" y="30"/>
                  </a:lnTo>
                  <a:lnTo>
                    <a:pt x="123" y="32"/>
                  </a:lnTo>
                  <a:lnTo>
                    <a:pt x="119" y="32"/>
                  </a:lnTo>
                  <a:lnTo>
                    <a:pt x="115" y="36"/>
                  </a:lnTo>
                  <a:lnTo>
                    <a:pt x="109" y="40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6" y="40"/>
                  </a:lnTo>
                  <a:lnTo>
                    <a:pt x="96" y="45"/>
                  </a:lnTo>
                  <a:lnTo>
                    <a:pt x="96" y="47"/>
                  </a:lnTo>
                  <a:lnTo>
                    <a:pt x="92" y="49"/>
                  </a:lnTo>
                  <a:lnTo>
                    <a:pt x="88" y="55"/>
                  </a:lnTo>
                  <a:lnTo>
                    <a:pt x="90" y="57"/>
                  </a:lnTo>
                  <a:lnTo>
                    <a:pt x="90" y="59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2" y="63"/>
                  </a:lnTo>
                  <a:lnTo>
                    <a:pt x="92" y="63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0" y="72"/>
                  </a:lnTo>
                  <a:lnTo>
                    <a:pt x="88" y="74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8"/>
                  </a:lnTo>
                  <a:lnTo>
                    <a:pt x="88" y="80"/>
                  </a:lnTo>
                  <a:lnTo>
                    <a:pt x="86" y="82"/>
                  </a:lnTo>
                  <a:lnTo>
                    <a:pt x="86" y="85"/>
                  </a:lnTo>
                  <a:lnTo>
                    <a:pt x="88" y="87"/>
                  </a:lnTo>
                  <a:lnTo>
                    <a:pt x="88" y="89"/>
                  </a:lnTo>
                  <a:lnTo>
                    <a:pt x="88" y="89"/>
                  </a:lnTo>
                  <a:lnTo>
                    <a:pt x="90" y="89"/>
                  </a:lnTo>
                  <a:lnTo>
                    <a:pt x="92" y="91"/>
                  </a:lnTo>
                  <a:lnTo>
                    <a:pt x="94" y="91"/>
                  </a:lnTo>
                  <a:lnTo>
                    <a:pt x="96" y="93"/>
                  </a:lnTo>
                  <a:lnTo>
                    <a:pt x="102" y="93"/>
                  </a:lnTo>
                  <a:lnTo>
                    <a:pt x="104" y="93"/>
                  </a:lnTo>
                  <a:lnTo>
                    <a:pt x="107" y="93"/>
                  </a:lnTo>
                  <a:lnTo>
                    <a:pt x="109" y="95"/>
                  </a:lnTo>
                  <a:lnTo>
                    <a:pt x="111" y="95"/>
                  </a:lnTo>
                  <a:lnTo>
                    <a:pt x="113" y="97"/>
                  </a:lnTo>
                  <a:lnTo>
                    <a:pt x="117" y="97"/>
                  </a:lnTo>
                  <a:lnTo>
                    <a:pt x="123" y="97"/>
                  </a:lnTo>
                  <a:lnTo>
                    <a:pt x="123" y="95"/>
                  </a:lnTo>
                  <a:lnTo>
                    <a:pt x="125" y="93"/>
                  </a:lnTo>
                  <a:lnTo>
                    <a:pt x="128" y="91"/>
                  </a:lnTo>
                  <a:lnTo>
                    <a:pt x="130" y="91"/>
                  </a:lnTo>
                  <a:lnTo>
                    <a:pt x="132" y="91"/>
                  </a:lnTo>
                  <a:lnTo>
                    <a:pt x="136" y="91"/>
                  </a:lnTo>
                  <a:lnTo>
                    <a:pt x="140" y="93"/>
                  </a:lnTo>
                  <a:lnTo>
                    <a:pt x="142" y="93"/>
                  </a:lnTo>
                  <a:lnTo>
                    <a:pt x="148" y="93"/>
                  </a:lnTo>
                  <a:lnTo>
                    <a:pt x="155" y="91"/>
                  </a:lnTo>
                  <a:lnTo>
                    <a:pt x="159" y="89"/>
                  </a:lnTo>
                  <a:lnTo>
                    <a:pt x="163" y="89"/>
                  </a:lnTo>
                  <a:lnTo>
                    <a:pt x="174" y="82"/>
                  </a:lnTo>
                  <a:lnTo>
                    <a:pt x="178" y="80"/>
                  </a:lnTo>
                  <a:lnTo>
                    <a:pt x="178" y="80"/>
                  </a:lnTo>
                  <a:lnTo>
                    <a:pt x="180" y="80"/>
                  </a:lnTo>
                  <a:lnTo>
                    <a:pt x="180" y="78"/>
                  </a:lnTo>
                  <a:lnTo>
                    <a:pt x="182" y="80"/>
                  </a:lnTo>
                  <a:lnTo>
                    <a:pt x="182" y="80"/>
                  </a:lnTo>
                  <a:lnTo>
                    <a:pt x="184" y="80"/>
                  </a:lnTo>
                  <a:lnTo>
                    <a:pt x="184" y="80"/>
                  </a:lnTo>
                  <a:lnTo>
                    <a:pt x="186" y="80"/>
                  </a:lnTo>
                  <a:lnTo>
                    <a:pt x="186" y="80"/>
                  </a:lnTo>
                  <a:lnTo>
                    <a:pt x="186" y="80"/>
                  </a:lnTo>
                  <a:lnTo>
                    <a:pt x="188" y="80"/>
                  </a:lnTo>
                  <a:lnTo>
                    <a:pt x="188" y="78"/>
                  </a:lnTo>
                  <a:lnTo>
                    <a:pt x="188" y="78"/>
                  </a:lnTo>
                  <a:lnTo>
                    <a:pt x="190" y="78"/>
                  </a:lnTo>
                  <a:lnTo>
                    <a:pt x="190" y="78"/>
                  </a:lnTo>
                  <a:lnTo>
                    <a:pt x="192" y="80"/>
                  </a:lnTo>
                  <a:lnTo>
                    <a:pt x="192" y="80"/>
                  </a:lnTo>
                  <a:lnTo>
                    <a:pt x="192" y="80"/>
                  </a:lnTo>
                  <a:lnTo>
                    <a:pt x="192" y="80"/>
                  </a:lnTo>
                  <a:lnTo>
                    <a:pt x="195" y="80"/>
                  </a:lnTo>
                  <a:lnTo>
                    <a:pt x="195" y="82"/>
                  </a:lnTo>
                  <a:lnTo>
                    <a:pt x="205" y="76"/>
                  </a:lnTo>
                  <a:lnTo>
                    <a:pt x="207" y="76"/>
                  </a:lnTo>
                  <a:lnTo>
                    <a:pt x="207" y="74"/>
                  </a:lnTo>
                  <a:lnTo>
                    <a:pt x="207" y="74"/>
                  </a:lnTo>
                  <a:lnTo>
                    <a:pt x="207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209" y="74"/>
                  </a:lnTo>
                  <a:lnTo>
                    <a:pt x="211" y="74"/>
                  </a:lnTo>
                  <a:lnTo>
                    <a:pt x="213" y="72"/>
                  </a:lnTo>
                  <a:lnTo>
                    <a:pt x="215" y="74"/>
                  </a:lnTo>
                  <a:lnTo>
                    <a:pt x="218" y="74"/>
                  </a:lnTo>
                  <a:lnTo>
                    <a:pt x="218" y="76"/>
                  </a:lnTo>
                  <a:lnTo>
                    <a:pt x="220" y="76"/>
                  </a:lnTo>
                  <a:lnTo>
                    <a:pt x="232" y="66"/>
                  </a:lnTo>
                  <a:lnTo>
                    <a:pt x="232" y="66"/>
                  </a:lnTo>
                  <a:lnTo>
                    <a:pt x="232" y="66"/>
                  </a:lnTo>
                  <a:lnTo>
                    <a:pt x="234" y="66"/>
                  </a:lnTo>
                  <a:lnTo>
                    <a:pt x="234" y="61"/>
                  </a:lnTo>
                  <a:lnTo>
                    <a:pt x="236" y="59"/>
                  </a:lnTo>
                  <a:lnTo>
                    <a:pt x="239" y="57"/>
                  </a:lnTo>
                  <a:lnTo>
                    <a:pt x="241" y="57"/>
                  </a:lnTo>
                  <a:lnTo>
                    <a:pt x="243" y="57"/>
                  </a:lnTo>
                  <a:lnTo>
                    <a:pt x="243" y="55"/>
                  </a:lnTo>
                  <a:lnTo>
                    <a:pt x="243" y="51"/>
                  </a:lnTo>
                  <a:lnTo>
                    <a:pt x="243" y="49"/>
                  </a:lnTo>
                  <a:lnTo>
                    <a:pt x="245" y="49"/>
                  </a:lnTo>
                  <a:lnTo>
                    <a:pt x="245" y="49"/>
                  </a:lnTo>
                  <a:lnTo>
                    <a:pt x="245" y="51"/>
                  </a:lnTo>
                  <a:lnTo>
                    <a:pt x="245" y="53"/>
                  </a:lnTo>
                  <a:lnTo>
                    <a:pt x="247" y="53"/>
                  </a:lnTo>
                  <a:lnTo>
                    <a:pt x="247" y="55"/>
                  </a:lnTo>
                  <a:lnTo>
                    <a:pt x="247" y="57"/>
                  </a:lnTo>
                  <a:lnTo>
                    <a:pt x="247" y="57"/>
                  </a:lnTo>
                  <a:lnTo>
                    <a:pt x="247" y="59"/>
                  </a:lnTo>
                  <a:lnTo>
                    <a:pt x="245" y="61"/>
                  </a:lnTo>
                  <a:lnTo>
                    <a:pt x="243" y="63"/>
                  </a:lnTo>
                  <a:lnTo>
                    <a:pt x="243" y="66"/>
                  </a:lnTo>
                  <a:lnTo>
                    <a:pt x="243" y="68"/>
                  </a:lnTo>
                  <a:lnTo>
                    <a:pt x="245" y="74"/>
                  </a:lnTo>
                  <a:lnTo>
                    <a:pt x="249" y="74"/>
                  </a:lnTo>
                  <a:lnTo>
                    <a:pt x="268" y="70"/>
                  </a:lnTo>
                  <a:lnTo>
                    <a:pt x="272" y="68"/>
                  </a:lnTo>
                  <a:lnTo>
                    <a:pt x="276" y="70"/>
                  </a:lnTo>
                  <a:lnTo>
                    <a:pt x="278" y="70"/>
                  </a:lnTo>
                  <a:lnTo>
                    <a:pt x="283" y="72"/>
                  </a:lnTo>
                  <a:lnTo>
                    <a:pt x="283" y="74"/>
                  </a:lnTo>
                  <a:lnTo>
                    <a:pt x="285" y="74"/>
                  </a:lnTo>
                  <a:lnTo>
                    <a:pt x="285" y="72"/>
                  </a:lnTo>
                  <a:lnTo>
                    <a:pt x="285" y="72"/>
                  </a:lnTo>
                  <a:lnTo>
                    <a:pt x="285" y="72"/>
                  </a:lnTo>
                  <a:lnTo>
                    <a:pt x="285" y="72"/>
                  </a:lnTo>
                  <a:lnTo>
                    <a:pt x="287" y="72"/>
                  </a:lnTo>
                  <a:lnTo>
                    <a:pt x="289" y="74"/>
                  </a:lnTo>
                  <a:lnTo>
                    <a:pt x="291" y="74"/>
                  </a:lnTo>
                  <a:lnTo>
                    <a:pt x="291" y="74"/>
                  </a:lnTo>
                  <a:lnTo>
                    <a:pt x="293" y="74"/>
                  </a:lnTo>
                  <a:lnTo>
                    <a:pt x="295" y="72"/>
                  </a:lnTo>
                  <a:lnTo>
                    <a:pt x="295" y="72"/>
                  </a:lnTo>
                  <a:lnTo>
                    <a:pt x="295" y="72"/>
                  </a:lnTo>
                  <a:lnTo>
                    <a:pt x="293" y="70"/>
                  </a:lnTo>
                  <a:lnTo>
                    <a:pt x="293" y="70"/>
                  </a:lnTo>
                  <a:lnTo>
                    <a:pt x="293" y="68"/>
                  </a:lnTo>
                  <a:lnTo>
                    <a:pt x="291" y="68"/>
                  </a:lnTo>
                  <a:lnTo>
                    <a:pt x="283" y="66"/>
                  </a:lnTo>
                  <a:lnTo>
                    <a:pt x="276" y="66"/>
                  </a:lnTo>
                  <a:lnTo>
                    <a:pt x="274" y="66"/>
                  </a:lnTo>
                  <a:lnTo>
                    <a:pt x="274" y="66"/>
                  </a:lnTo>
                  <a:lnTo>
                    <a:pt x="272" y="63"/>
                  </a:lnTo>
                  <a:lnTo>
                    <a:pt x="272" y="63"/>
                  </a:lnTo>
                  <a:lnTo>
                    <a:pt x="274" y="61"/>
                  </a:lnTo>
                  <a:lnTo>
                    <a:pt x="276" y="61"/>
                  </a:lnTo>
                  <a:lnTo>
                    <a:pt x="278" y="59"/>
                  </a:lnTo>
                  <a:lnTo>
                    <a:pt x="280" y="61"/>
                  </a:lnTo>
                  <a:lnTo>
                    <a:pt x="283" y="59"/>
                  </a:lnTo>
                  <a:lnTo>
                    <a:pt x="287" y="61"/>
                  </a:lnTo>
                  <a:lnTo>
                    <a:pt x="289" y="61"/>
                  </a:lnTo>
                  <a:lnTo>
                    <a:pt x="289" y="59"/>
                  </a:lnTo>
                  <a:lnTo>
                    <a:pt x="289" y="59"/>
                  </a:lnTo>
                  <a:lnTo>
                    <a:pt x="291" y="57"/>
                  </a:lnTo>
                  <a:lnTo>
                    <a:pt x="291" y="59"/>
                  </a:lnTo>
                  <a:lnTo>
                    <a:pt x="293" y="59"/>
                  </a:lnTo>
                  <a:lnTo>
                    <a:pt x="295" y="61"/>
                  </a:lnTo>
                  <a:lnTo>
                    <a:pt x="297" y="63"/>
                  </a:lnTo>
                  <a:lnTo>
                    <a:pt x="299" y="63"/>
                  </a:lnTo>
                  <a:lnTo>
                    <a:pt x="306" y="63"/>
                  </a:lnTo>
                  <a:lnTo>
                    <a:pt x="306" y="63"/>
                  </a:lnTo>
                  <a:lnTo>
                    <a:pt x="308" y="63"/>
                  </a:lnTo>
                  <a:lnTo>
                    <a:pt x="308" y="63"/>
                  </a:lnTo>
                  <a:lnTo>
                    <a:pt x="310" y="63"/>
                  </a:lnTo>
                  <a:lnTo>
                    <a:pt x="310" y="63"/>
                  </a:lnTo>
                  <a:lnTo>
                    <a:pt x="310" y="63"/>
                  </a:lnTo>
                  <a:lnTo>
                    <a:pt x="312" y="61"/>
                  </a:lnTo>
                  <a:lnTo>
                    <a:pt x="312" y="63"/>
                  </a:lnTo>
                  <a:lnTo>
                    <a:pt x="314" y="63"/>
                  </a:lnTo>
                  <a:lnTo>
                    <a:pt x="316" y="61"/>
                  </a:lnTo>
                  <a:lnTo>
                    <a:pt x="316" y="61"/>
                  </a:lnTo>
                  <a:lnTo>
                    <a:pt x="316" y="59"/>
                  </a:lnTo>
                  <a:lnTo>
                    <a:pt x="316" y="59"/>
                  </a:lnTo>
                  <a:lnTo>
                    <a:pt x="316" y="59"/>
                  </a:lnTo>
                  <a:lnTo>
                    <a:pt x="318" y="59"/>
                  </a:lnTo>
                  <a:lnTo>
                    <a:pt x="316" y="57"/>
                  </a:lnTo>
                  <a:lnTo>
                    <a:pt x="316" y="57"/>
                  </a:lnTo>
                  <a:lnTo>
                    <a:pt x="316" y="55"/>
                  </a:lnTo>
                  <a:lnTo>
                    <a:pt x="316" y="53"/>
                  </a:lnTo>
                  <a:lnTo>
                    <a:pt x="316" y="53"/>
                  </a:lnTo>
                  <a:lnTo>
                    <a:pt x="318" y="53"/>
                  </a:lnTo>
                  <a:lnTo>
                    <a:pt x="318" y="53"/>
                  </a:lnTo>
                  <a:lnTo>
                    <a:pt x="318" y="51"/>
                  </a:lnTo>
                  <a:lnTo>
                    <a:pt x="318" y="51"/>
                  </a:lnTo>
                  <a:lnTo>
                    <a:pt x="318" y="51"/>
                  </a:lnTo>
                  <a:lnTo>
                    <a:pt x="318" y="51"/>
                  </a:lnTo>
                  <a:lnTo>
                    <a:pt x="318" y="49"/>
                  </a:lnTo>
                  <a:lnTo>
                    <a:pt x="316" y="47"/>
                  </a:lnTo>
                  <a:close/>
                  <a:moveTo>
                    <a:pt x="88" y="30"/>
                  </a:moveTo>
                  <a:lnTo>
                    <a:pt x="86" y="26"/>
                  </a:lnTo>
                  <a:lnTo>
                    <a:pt x="84" y="24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69" y="17"/>
                  </a:lnTo>
                  <a:lnTo>
                    <a:pt x="67" y="15"/>
                  </a:lnTo>
                  <a:lnTo>
                    <a:pt x="63" y="15"/>
                  </a:lnTo>
                  <a:lnTo>
                    <a:pt x="56" y="13"/>
                  </a:lnTo>
                  <a:lnTo>
                    <a:pt x="54" y="11"/>
                  </a:lnTo>
                  <a:lnTo>
                    <a:pt x="52" y="11"/>
                  </a:lnTo>
                  <a:lnTo>
                    <a:pt x="44" y="15"/>
                  </a:lnTo>
                  <a:lnTo>
                    <a:pt x="42" y="15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3" y="32"/>
                  </a:lnTo>
                  <a:lnTo>
                    <a:pt x="21" y="32"/>
                  </a:lnTo>
                  <a:lnTo>
                    <a:pt x="19" y="34"/>
                  </a:lnTo>
                  <a:lnTo>
                    <a:pt x="21" y="40"/>
                  </a:lnTo>
                  <a:lnTo>
                    <a:pt x="23" y="42"/>
                  </a:lnTo>
                  <a:lnTo>
                    <a:pt x="23" y="47"/>
                  </a:lnTo>
                  <a:lnTo>
                    <a:pt x="23" y="53"/>
                  </a:lnTo>
                  <a:lnTo>
                    <a:pt x="23" y="57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3" y="66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3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2" y="70"/>
                  </a:lnTo>
                  <a:lnTo>
                    <a:pt x="4" y="70"/>
                  </a:lnTo>
                  <a:lnTo>
                    <a:pt x="10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6" y="74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21" y="78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3" y="76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31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7" y="80"/>
                  </a:lnTo>
                  <a:lnTo>
                    <a:pt x="37" y="78"/>
                  </a:lnTo>
                  <a:lnTo>
                    <a:pt x="40" y="78"/>
                  </a:lnTo>
                  <a:lnTo>
                    <a:pt x="40" y="78"/>
                  </a:lnTo>
                  <a:lnTo>
                    <a:pt x="40" y="80"/>
                  </a:lnTo>
                  <a:lnTo>
                    <a:pt x="42" y="80"/>
                  </a:lnTo>
                  <a:lnTo>
                    <a:pt x="42" y="80"/>
                  </a:lnTo>
                  <a:lnTo>
                    <a:pt x="46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2" y="78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4" y="80"/>
                  </a:lnTo>
                  <a:lnTo>
                    <a:pt x="54" y="76"/>
                  </a:lnTo>
                  <a:lnTo>
                    <a:pt x="54" y="74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58" y="76"/>
                  </a:lnTo>
                  <a:lnTo>
                    <a:pt x="58" y="78"/>
                  </a:lnTo>
                  <a:lnTo>
                    <a:pt x="58" y="80"/>
                  </a:lnTo>
                  <a:lnTo>
                    <a:pt x="63" y="80"/>
                  </a:lnTo>
                  <a:lnTo>
                    <a:pt x="65" y="78"/>
                  </a:lnTo>
                  <a:lnTo>
                    <a:pt x="67" y="78"/>
                  </a:lnTo>
                  <a:lnTo>
                    <a:pt x="71" y="78"/>
                  </a:lnTo>
                  <a:lnTo>
                    <a:pt x="73" y="74"/>
                  </a:lnTo>
                  <a:lnTo>
                    <a:pt x="71" y="74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4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2"/>
                  </a:lnTo>
                  <a:lnTo>
                    <a:pt x="65" y="70"/>
                  </a:lnTo>
                  <a:lnTo>
                    <a:pt x="65" y="66"/>
                  </a:lnTo>
                  <a:lnTo>
                    <a:pt x="69" y="63"/>
                  </a:lnTo>
                  <a:lnTo>
                    <a:pt x="71" y="59"/>
                  </a:lnTo>
                  <a:lnTo>
                    <a:pt x="73" y="55"/>
                  </a:lnTo>
                  <a:lnTo>
                    <a:pt x="75" y="53"/>
                  </a:lnTo>
                  <a:lnTo>
                    <a:pt x="75" y="51"/>
                  </a:lnTo>
                  <a:lnTo>
                    <a:pt x="79" y="47"/>
                  </a:lnTo>
                  <a:lnTo>
                    <a:pt x="81" y="45"/>
                  </a:lnTo>
                  <a:lnTo>
                    <a:pt x="81" y="38"/>
                  </a:lnTo>
                  <a:lnTo>
                    <a:pt x="81" y="36"/>
                  </a:lnTo>
                  <a:lnTo>
                    <a:pt x="84" y="36"/>
                  </a:lnTo>
                  <a:lnTo>
                    <a:pt x="86" y="32"/>
                  </a:lnTo>
                  <a:lnTo>
                    <a:pt x="88" y="30"/>
                  </a:lnTo>
                  <a:close/>
                  <a:moveTo>
                    <a:pt x="322" y="55"/>
                  </a:moveTo>
                  <a:lnTo>
                    <a:pt x="322" y="55"/>
                  </a:lnTo>
                  <a:lnTo>
                    <a:pt x="322" y="55"/>
                  </a:lnTo>
                  <a:lnTo>
                    <a:pt x="320" y="55"/>
                  </a:lnTo>
                  <a:lnTo>
                    <a:pt x="320" y="55"/>
                  </a:lnTo>
                  <a:lnTo>
                    <a:pt x="320" y="55"/>
                  </a:lnTo>
                  <a:lnTo>
                    <a:pt x="320" y="55"/>
                  </a:lnTo>
                  <a:lnTo>
                    <a:pt x="320" y="55"/>
                  </a:lnTo>
                  <a:lnTo>
                    <a:pt x="320" y="57"/>
                  </a:lnTo>
                  <a:lnTo>
                    <a:pt x="320" y="57"/>
                  </a:lnTo>
                  <a:lnTo>
                    <a:pt x="320" y="57"/>
                  </a:lnTo>
                  <a:lnTo>
                    <a:pt x="320" y="57"/>
                  </a:lnTo>
                  <a:lnTo>
                    <a:pt x="320" y="57"/>
                  </a:lnTo>
                  <a:lnTo>
                    <a:pt x="320" y="57"/>
                  </a:lnTo>
                  <a:lnTo>
                    <a:pt x="320" y="57"/>
                  </a:lnTo>
                  <a:lnTo>
                    <a:pt x="320" y="57"/>
                  </a:lnTo>
                  <a:lnTo>
                    <a:pt x="322" y="57"/>
                  </a:lnTo>
                  <a:lnTo>
                    <a:pt x="322" y="57"/>
                  </a:lnTo>
                  <a:lnTo>
                    <a:pt x="322" y="57"/>
                  </a:lnTo>
                  <a:lnTo>
                    <a:pt x="322" y="55"/>
                  </a:lnTo>
                  <a:close/>
                  <a:moveTo>
                    <a:pt x="111" y="32"/>
                  </a:move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3" y="32"/>
                  </a:lnTo>
                  <a:lnTo>
                    <a:pt x="113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0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4"/>
                  </a:lnTo>
                  <a:lnTo>
                    <a:pt x="111" y="32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36" name="Freeform 114">
              <a:extLst>
                <a:ext uri="{FF2B5EF4-FFF2-40B4-BE49-F238E27FC236}">
                  <a16:creationId xmlns:a16="http://schemas.microsoft.com/office/drawing/2014/main" id="{0538BDA0-4DFB-4B40-A62A-6F6BC1559E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85656" y="1974468"/>
              <a:ext cx="701279" cy="333375"/>
            </a:xfrm>
            <a:custGeom>
              <a:avLst/>
              <a:gdLst>
                <a:gd name="T0" fmla="*/ 59 w 589"/>
                <a:gd name="T1" fmla="*/ 59 h 280"/>
                <a:gd name="T2" fmla="*/ 82 w 589"/>
                <a:gd name="T3" fmla="*/ 72 h 280"/>
                <a:gd name="T4" fmla="*/ 266 w 589"/>
                <a:gd name="T5" fmla="*/ 23 h 280"/>
                <a:gd name="T6" fmla="*/ 526 w 589"/>
                <a:gd name="T7" fmla="*/ 36 h 280"/>
                <a:gd name="T8" fmla="*/ 584 w 589"/>
                <a:gd name="T9" fmla="*/ 15 h 280"/>
                <a:gd name="T10" fmla="*/ 530 w 589"/>
                <a:gd name="T11" fmla="*/ 7 h 280"/>
                <a:gd name="T12" fmla="*/ 517 w 589"/>
                <a:gd name="T13" fmla="*/ 26 h 280"/>
                <a:gd name="T14" fmla="*/ 388 w 589"/>
                <a:gd name="T15" fmla="*/ 42 h 280"/>
                <a:gd name="T16" fmla="*/ 490 w 589"/>
                <a:gd name="T17" fmla="*/ 47 h 280"/>
                <a:gd name="T18" fmla="*/ 492 w 589"/>
                <a:gd name="T19" fmla="*/ 26 h 280"/>
                <a:gd name="T20" fmla="*/ 415 w 589"/>
                <a:gd name="T21" fmla="*/ 30 h 280"/>
                <a:gd name="T22" fmla="*/ 413 w 589"/>
                <a:gd name="T23" fmla="*/ 38 h 280"/>
                <a:gd name="T24" fmla="*/ 434 w 589"/>
                <a:gd name="T25" fmla="*/ 49 h 280"/>
                <a:gd name="T26" fmla="*/ 461 w 589"/>
                <a:gd name="T27" fmla="*/ 21 h 280"/>
                <a:gd name="T28" fmla="*/ 450 w 589"/>
                <a:gd name="T29" fmla="*/ 17 h 280"/>
                <a:gd name="T30" fmla="*/ 440 w 589"/>
                <a:gd name="T31" fmla="*/ 30 h 280"/>
                <a:gd name="T32" fmla="*/ 419 w 589"/>
                <a:gd name="T33" fmla="*/ 26 h 280"/>
                <a:gd name="T34" fmla="*/ 75 w 589"/>
                <a:gd name="T35" fmla="*/ 59 h 280"/>
                <a:gd name="T36" fmla="*/ 67 w 589"/>
                <a:gd name="T37" fmla="*/ 63 h 280"/>
                <a:gd name="T38" fmla="*/ 364 w 589"/>
                <a:gd name="T39" fmla="*/ 38 h 280"/>
                <a:gd name="T40" fmla="*/ 381 w 589"/>
                <a:gd name="T41" fmla="*/ 7 h 280"/>
                <a:gd name="T42" fmla="*/ 379 w 589"/>
                <a:gd name="T43" fmla="*/ 13 h 280"/>
                <a:gd name="T44" fmla="*/ 337 w 589"/>
                <a:gd name="T45" fmla="*/ 44 h 280"/>
                <a:gd name="T46" fmla="*/ 289 w 589"/>
                <a:gd name="T47" fmla="*/ 36 h 280"/>
                <a:gd name="T48" fmla="*/ 253 w 589"/>
                <a:gd name="T49" fmla="*/ 47 h 280"/>
                <a:gd name="T50" fmla="*/ 218 w 589"/>
                <a:gd name="T51" fmla="*/ 38 h 280"/>
                <a:gd name="T52" fmla="*/ 163 w 589"/>
                <a:gd name="T53" fmla="*/ 21 h 280"/>
                <a:gd name="T54" fmla="*/ 119 w 589"/>
                <a:gd name="T55" fmla="*/ 26 h 280"/>
                <a:gd name="T56" fmla="*/ 103 w 589"/>
                <a:gd name="T57" fmla="*/ 34 h 280"/>
                <a:gd name="T58" fmla="*/ 90 w 589"/>
                <a:gd name="T59" fmla="*/ 72 h 280"/>
                <a:gd name="T60" fmla="*/ 138 w 589"/>
                <a:gd name="T61" fmla="*/ 70 h 280"/>
                <a:gd name="T62" fmla="*/ 176 w 589"/>
                <a:gd name="T63" fmla="*/ 72 h 280"/>
                <a:gd name="T64" fmla="*/ 235 w 589"/>
                <a:gd name="T65" fmla="*/ 70 h 280"/>
                <a:gd name="T66" fmla="*/ 300 w 589"/>
                <a:gd name="T67" fmla="*/ 63 h 280"/>
                <a:gd name="T68" fmla="*/ 369 w 589"/>
                <a:gd name="T69" fmla="*/ 47 h 280"/>
                <a:gd name="T70" fmla="*/ 404 w 589"/>
                <a:gd name="T71" fmla="*/ 240 h 280"/>
                <a:gd name="T72" fmla="*/ 367 w 589"/>
                <a:gd name="T73" fmla="*/ 269 h 280"/>
                <a:gd name="T74" fmla="*/ 423 w 589"/>
                <a:gd name="T75" fmla="*/ 244 h 280"/>
                <a:gd name="T76" fmla="*/ 580 w 589"/>
                <a:gd name="T77" fmla="*/ 89 h 280"/>
                <a:gd name="T78" fmla="*/ 543 w 589"/>
                <a:gd name="T79" fmla="*/ 97 h 280"/>
                <a:gd name="T80" fmla="*/ 509 w 589"/>
                <a:gd name="T81" fmla="*/ 131 h 280"/>
                <a:gd name="T82" fmla="*/ 486 w 589"/>
                <a:gd name="T83" fmla="*/ 131 h 280"/>
                <a:gd name="T84" fmla="*/ 448 w 589"/>
                <a:gd name="T85" fmla="*/ 150 h 280"/>
                <a:gd name="T86" fmla="*/ 452 w 589"/>
                <a:gd name="T87" fmla="*/ 189 h 280"/>
                <a:gd name="T88" fmla="*/ 438 w 589"/>
                <a:gd name="T89" fmla="*/ 217 h 280"/>
                <a:gd name="T90" fmla="*/ 494 w 589"/>
                <a:gd name="T91" fmla="*/ 202 h 280"/>
                <a:gd name="T92" fmla="*/ 578 w 589"/>
                <a:gd name="T93" fmla="*/ 137 h 280"/>
                <a:gd name="T94" fmla="*/ 582 w 589"/>
                <a:gd name="T95" fmla="*/ 108 h 280"/>
                <a:gd name="T96" fmla="*/ 413 w 589"/>
                <a:gd name="T97" fmla="*/ 215 h 280"/>
                <a:gd name="T98" fmla="*/ 44 w 589"/>
                <a:gd name="T99" fmla="*/ 63 h 280"/>
                <a:gd name="T100" fmla="*/ 61 w 589"/>
                <a:gd name="T101" fmla="*/ 51 h 280"/>
                <a:gd name="T102" fmla="*/ 46 w 589"/>
                <a:gd name="T103" fmla="*/ 40 h 280"/>
                <a:gd name="T104" fmla="*/ 31 w 589"/>
                <a:gd name="T105" fmla="*/ 34 h 280"/>
                <a:gd name="T106" fmla="*/ 31 w 589"/>
                <a:gd name="T107" fmla="*/ 32 h 280"/>
                <a:gd name="T108" fmla="*/ 126 w 589"/>
                <a:gd name="T109" fmla="*/ 145 h 280"/>
                <a:gd name="T110" fmla="*/ 59 w 589"/>
                <a:gd name="T111" fmla="*/ 124 h 280"/>
                <a:gd name="T112" fmla="*/ 2 w 589"/>
                <a:gd name="T113" fmla="*/ 143 h 280"/>
                <a:gd name="T114" fmla="*/ 52 w 589"/>
                <a:gd name="T115" fmla="*/ 160 h 280"/>
                <a:gd name="T116" fmla="*/ 92 w 589"/>
                <a:gd name="T117" fmla="*/ 179 h 280"/>
                <a:gd name="T118" fmla="*/ 142 w 589"/>
                <a:gd name="T119" fmla="*/ 213 h 280"/>
                <a:gd name="T120" fmla="*/ 130 w 589"/>
                <a:gd name="T121" fmla="*/ 78 h 280"/>
                <a:gd name="T122" fmla="*/ 264 w 589"/>
                <a:gd name="T123" fmla="*/ 242 h 280"/>
                <a:gd name="T124" fmla="*/ 247 w 589"/>
                <a:gd name="T125" fmla="*/ 24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89" h="280">
                  <a:moveTo>
                    <a:pt x="86" y="32"/>
                  </a:move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2"/>
                  </a:lnTo>
                  <a:lnTo>
                    <a:pt x="86" y="32"/>
                  </a:lnTo>
                  <a:close/>
                  <a:moveTo>
                    <a:pt x="61" y="55"/>
                  </a:moveTo>
                  <a:lnTo>
                    <a:pt x="61" y="55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61" y="59"/>
                  </a:lnTo>
                  <a:lnTo>
                    <a:pt x="59" y="59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5" y="55"/>
                  </a:lnTo>
                  <a:lnTo>
                    <a:pt x="63" y="55"/>
                  </a:lnTo>
                  <a:lnTo>
                    <a:pt x="61" y="55"/>
                  </a:lnTo>
                  <a:lnTo>
                    <a:pt x="61" y="55"/>
                  </a:lnTo>
                  <a:close/>
                  <a:moveTo>
                    <a:pt x="82" y="70"/>
                  </a:moveTo>
                  <a:lnTo>
                    <a:pt x="82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2" y="72"/>
                  </a:lnTo>
                  <a:lnTo>
                    <a:pt x="82" y="74"/>
                  </a:lnTo>
                  <a:lnTo>
                    <a:pt x="82" y="72"/>
                  </a:lnTo>
                  <a:lnTo>
                    <a:pt x="82" y="72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2" y="70"/>
                  </a:lnTo>
                  <a:close/>
                  <a:moveTo>
                    <a:pt x="75" y="42"/>
                  </a:move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5" y="42"/>
                  </a:lnTo>
                  <a:close/>
                  <a:moveTo>
                    <a:pt x="325" y="42"/>
                  </a:moveTo>
                  <a:lnTo>
                    <a:pt x="329" y="40"/>
                  </a:lnTo>
                  <a:lnTo>
                    <a:pt x="329" y="38"/>
                  </a:lnTo>
                  <a:lnTo>
                    <a:pt x="329" y="36"/>
                  </a:lnTo>
                  <a:lnTo>
                    <a:pt x="327" y="36"/>
                  </a:lnTo>
                  <a:lnTo>
                    <a:pt x="323" y="36"/>
                  </a:lnTo>
                  <a:lnTo>
                    <a:pt x="323" y="38"/>
                  </a:lnTo>
                  <a:lnTo>
                    <a:pt x="323" y="40"/>
                  </a:lnTo>
                  <a:lnTo>
                    <a:pt x="325" y="42"/>
                  </a:lnTo>
                  <a:close/>
                  <a:moveTo>
                    <a:pt x="262" y="28"/>
                  </a:moveTo>
                  <a:lnTo>
                    <a:pt x="264" y="28"/>
                  </a:lnTo>
                  <a:lnTo>
                    <a:pt x="266" y="26"/>
                  </a:lnTo>
                  <a:lnTo>
                    <a:pt x="266" y="23"/>
                  </a:lnTo>
                  <a:lnTo>
                    <a:pt x="264" y="23"/>
                  </a:lnTo>
                  <a:lnTo>
                    <a:pt x="262" y="21"/>
                  </a:lnTo>
                  <a:lnTo>
                    <a:pt x="262" y="21"/>
                  </a:lnTo>
                  <a:lnTo>
                    <a:pt x="260" y="23"/>
                  </a:lnTo>
                  <a:lnTo>
                    <a:pt x="260" y="23"/>
                  </a:lnTo>
                  <a:lnTo>
                    <a:pt x="260" y="23"/>
                  </a:lnTo>
                  <a:lnTo>
                    <a:pt x="260" y="28"/>
                  </a:lnTo>
                  <a:lnTo>
                    <a:pt x="262" y="28"/>
                  </a:lnTo>
                  <a:close/>
                  <a:moveTo>
                    <a:pt x="511" y="36"/>
                  </a:moveTo>
                  <a:lnTo>
                    <a:pt x="511" y="38"/>
                  </a:lnTo>
                  <a:lnTo>
                    <a:pt x="511" y="38"/>
                  </a:lnTo>
                  <a:lnTo>
                    <a:pt x="513" y="38"/>
                  </a:lnTo>
                  <a:lnTo>
                    <a:pt x="513" y="38"/>
                  </a:lnTo>
                  <a:lnTo>
                    <a:pt x="515" y="38"/>
                  </a:lnTo>
                  <a:lnTo>
                    <a:pt x="515" y="36"/>
                  </a:lnTo>
                  <a:lnTo>
                    <a:pt x="517" y="38"/>
                  </a:lnTo>
                  <a:lnTo>
                    <a:pt x="517" y="38"/>
                  </a:lnTo>
                  <a:lnTo>
                    <a:pt x="519" y="38"/>
                  </a:lnTo>
                  <a:lnTo>
                    <a:pt x="519" y="38"/>
                  </a:lnTo>
                  <a:lnTo>
                    <a:pt x="519" y="38"/>
                  </a:lnTo>
                  <a:lnTo>
                    <a:pt x="522" y="38"/>
                  </a:lnTo>
                  <a:lnTo>
                    <a:pt x="522" y="36"/>
                  </a:lnTo>
                  <a:lnTo>
                    <a:pt x="522" y="36"/>
                  </a:lnTo>
                  <a:lnTo>
                    <a:pt x="524" y="36"/>
                  </a:lnTo>
                  <a:lnTo>
                    <a:pt x="526" y="36"/>
                  </a:lnTo>
                  <a:lnTo>
                    <a:pt x="526" y="36"/>
                  </a:lnTo>
                  <a:lnTo>
                    <a:pt x="528" y="36"/>
                  </a:lnTo>
                  <a:lnTo>
                    <a:pt x="528" y="36"/>
                  </a:lnTo>
                  <a:lnTo>
                    <a:pt x="530" y="36"/>
                  </a:lnTo>
                  <a:lnTo>
                    <a:pt x="530" y="36"/>
                  </a:lnTo>
                  <a:lnTo>
                    <a:pt x="530" y="36"/>
                  </a:lnTo>
                  <a:lnTo>
                    <a:pt x="530" y="36"/>
                  </a:lnTo>
                  <a:lnTo>
                    <a:pt x="532" y="36"/>
                  </a:lnTo>
                  <a:lnTo>
                    <a:pt x="534" y="36"/>
                  </a:lnTo>
                  <a:lnTo>
                    <a:pt x="536" y="34"/>
                  </a:lnTo>
                  <a:lnTo>
                    <a:pt x="538" y="34"/>
                  </a:lnTo>
                  <a:lnTo>
                    <a:pt x="540" y="34"/>
                  </a:lnTo>
                  <a:lnTo>
                    <a:pt x="540" y="34"/>
                  </a:lnTo>
                  <a:lnTo>
                    <a:pt x="540" y="32"/>
                  </a:lnTo>
                  <a:lnTo>
                    <a:pt x="547" y="34"/>
                  </a:lnTo>
                  <a:lnTo>
                    <a:pt x="551" y="34"/>
                  </a:lnTo>
                  <a:lnTo>
                    <a:pt x="566" y="30"/>
                  </a:lnTo>
                  <a:lnTo>
                    <a:pt x="574" y="30"/>
                  </a:lnTo>
                  <a:lnTo>
                    <a:pt x="580" y="30"/>
                  </a:lnTo>
                  <a:lnTo>
                    <a:pt x="582" y="28"/>
                  </a:lnTo>
                  <a:lnTo>
                    <a:pt x="584" y="28"/>
                  </a:lnTo>
                  <a:lnTo>
                    <a:pt x="584" y="28"/>
                  </a:lnTo>
                  <a:lnTo>
                    <a:pt x="584" y="26"/>
                  </a:lnTo>
                  <a:lnTo>
                    <a:pt x="587" y="17"/>
                  </a:lnTo>
                  <a:lnTo>
                    <a:pt x="584" y="15"/>
                  </a:lnTo>
                  <a:lnTo>
                    <a:pt x="584" y="15"/>
                  </a:lnTo>
                  <a:lnTo>
                    <a:pt x="582" y="11"/>
                  </a:lnTo>
                  <a:lnTo>
                    <a:pt x="580" y="11"/>
                  </a:lnTo>
                  <a:lnTo>
                    <a:pt x="580" y="9"/>
                  </a:lnTo>
                  <a:lnTo>
                    <a:pt x="580" y="9"/>
                  </a:lnTo>
                  <a:lnTo>
                    <a:pt x="576" y="9"/>
                  </a:lnTo>
                  <a:lnTo>
                    <a:pt x="572" y="11"/>
                  </a:lnTo>
                  <a:lnTo>
                    <a:pt x="572" y="11"/>
                  </a:lnTo>
                  <a:lnTo>
                    <a:pt x="570" y="9"/>
                  </a:lnTo>
                  <a:lnTo>
                    <a:pt x="570" y="9"/>
                  </a:lnTo>
                  <a:lnTo>
                    <a:pt x="570" y="9"/>
                  </a:lnTo>
                  <a:lnTo>
                    <a:pt x="568" y="9"/>
                  </a:lnTo>
                  <a:lnTo>
                    <a:pt x="568" y="9"/>
                  </a:lnTo>
                  <a:lnTo>
                    <a:pt x="568" y="9"/>
                  </a:lnTo>
                  <a:lnTo>
                    <a:pt x="568" y="9"/>
                  </a:lnTo>
                  <a:lnTo>
                    <a:pt x="563" y="11"/>
                  </a:lnTo>
                  <a:lnTo>
                    <a:pt x="551" y="9"/>
                  </a:lnTo>
                  <a:lnTo>
                    <a:pt x="543" y="11"/>
                  </a:lnTo>
                  <a:lnTo>
                    <a:pt x="540" y="11"/>
                  </a:lnTo>
                  <a:lnTo>
                    <a:pt x="538" y="11"/>
                  </a:lnTo>
                  <a:lnTo>
                    <a:pt x="534" y="15"/>
                  </a:lnTo>
                  <a:lnTo>
                    <a:pt x="534" y="13"/>
                  </a:lnTo>
                  <a:lnTo>
                    <a:pt x="534" y="9"/>
                  </a:lnTo>
                  <a:lnTo>
                    <a:pt x="532" y="7"/>
                  </a:lnTo>
                  <a:lnTo>
                    <a:pt x="530" y="7"/>
                  </a:lnTo>
                  <a:lnTo>
                    <a:pt x="526" y="9"/>
                  </a:lnTo>
                  <a:lnTo>
                    <a:pt x="524" y="7"/>
                  </a:lnTo>
                  <a:lnTo>
                    <a:pt x="522" y="9"/>
                  </a:lnTo>
                  <a:lnTo>
                    <a:pt x="522" y="9"/>
                  </a:lnTo>
                  <a:lnTo>
                    <a:pt x="519" y="11"/>
                  </a:lnTo>
                  <a:lnTo>
                    <a:pt x="519" y="11"/>
                  </a:lnTo>
                  <a:lnTo>
                    <a:pt x="519" y="13"/>
                  </a:lnTo>
                  <a:lnTo>
                    <a:pt x="517" y="13"/>
                  </a:lnTo>
                  <a:lnTo>
                    <a:pt x="517" y="15"/>
                  </a:lnTo>
                  <a:lnTo>
                    <a:pt x="515" y="15"/>
                  </a:lnTo>
                  <a:lnTo>
                    <a:pt x="515" y="19"/>
                  </a:lnTo>
                  <a:lnTo>
                    <a:pt x="517" y="19"/>
                  </a:lnTo>
                  <a:lnTo>
                    <a:pt x="524" y="17"/>
                  </a:lnTo>
                  <a:lnTo>
                    <a:pt x="526" y="15"/>
                  </a:lnTo>
                  <a:lnTo>
                    <a:pt x="528" y="15"/>
                  </a:lnTo>
                  <a:lnTo>
                    <a:pt x="530" y="15"/>
                  </a:lnTo>
                  <a:lnTo>
                    <a:pt x="530" y="17"/>
                  </a:lnTo>
                  <a:lnTo>
                    <a:pt x="530" y="17"/>
                  </a:lnTo>
                  <a:lnTo>
                    <a:pt x="528" y="17"/>
                  </a:lnTo>
                  <a:lnTo>
                    <a:pt x="528" y="19"/>
                  </a:lnTo>
                  <a:lnTo>
                    <a:pt x="526" y="19"/>
                  </a:lnTo>
                  <a:lnTo>
                    <a:pt x="526" y="19"/>
                  </a:lnTo>
                  <a:lnTo>
                    <a:pt x="524" y="19"/>
                  </a:lnTo>
                  <a:lnTo>
                    <a:pt x="517" y="23"/>
                  </a:lnTo>
                  <a:lnTo>
                    <a:pt x="517" y="26"/>
                  </a:lnTo>
                  <a:lnTo>
                    <a:pt x="515" y="28"/>
                  </a:lnTo>
                  <a:lnTo>
                    <a:pt x="513" y="30"/>
                  </a:lnTo>
                  <a:lnTo>
                    <a:pt x="511" y="32"/>
                  </a:lnTo>
                  <a:lnTo>
                    <a:pt x="509" y="34"/>
                  </a:lnTo>
                  <a:lnTo>
                    <a:pt x="511" y="36"/>
                  </a:lnTo>
                  <a:lnTo>
                    <a:pt x="511" y="36"/>
                  </a:lnTo>
                  <a:close/>
                  <a:moveTo>
                    <a:pt x="398" y="36"/>
                  </a:moveTo>
                  <a:lnTo>
                    <a:pt x="396" y="36"/>
                  </a:lnTo>
                  <a:lnTo>
                    <a:pt x="394" y="36"/>
                  </a:lnTo>
                  <a:lnTo>
                    <a:pt x="394" y="36"/>
                  </a:lnTo>
                  <a:lnTo>
                    <a:pt x="392" y="36"/>
                  </a:lnTo>
                  <a:lnTo>
                    <a:pt x="392" y="36"/>
                  </a:lnTo>
                  <a:lnTo>
                    <a:pt x="388" y="38"/>
                  </a:lnTo>
                  <a:lnTo>
                    <a:pt x="388" y="38"/>
                  </a:lnTo>
                  <a:lnTo>
                    <a:pt x="385" y="38"/>
                  </a:lnTo>
                  <a:lnTo>
                    <a:pt x="385" y="38"/>
                  </a:lnTo>
                  <a:lnTo>
                    <a:pt x="383" y="38"/>
                  </a:lnTo>
                  <a:lnTo>
                    <a:pt x="375" y="44"/>
                  </a:lnTo>
                  <a:lnTo>
                    <a:pt x="373" y="51"/>
                  </a:lnTo>
                  <a:lnTo>
                    <a:pt x="375" y="53"/>
                  </a:lnTo>
                  <a:lnTo>
                    <a:pt x="375" y="53"/>
                  </a:lnTo>
                  <a:lnTo>
                    <a:pt x="377" y="53"/>
                  </a:lnTo>
                  <a:lnTo>
                    <a:pt x="379" y="51"/>
                  </a:lnTo>
                  <a:lnTo>
                    <a:pt x="385" y="42"/>
                  </a:lnTo>
                  <a:lnTo>
                    <a:pt x="388" y="42"/>
                  </a:lnTo>
                  <a:lnTo>
                    <a:pt x="396" y="40"/>
                  </a:lnTo>
                  <a:lnTo>
                    <a:pt x="400" y="40"/>
                  </a:lnTo>
                  <a:lnTo>
                    <a:pt x="400" y="38"/>
                  </a:lnTo>
                  <a:lnTo>
                    <a:pt x="400" y="36"/>
                  </a:lnTo>
                  <a:lnTo>
                    <a:pt x="400" y="36"/>
                  </a:lnTo>
                  <a:lnTo>
                    <a:pt x="398" y="36"/>
                  </a:lnTo>
                  <a:lnTo>
                    <a:pt x="398" y="36"/>
                  </a:lnTo>
                  <a:close/>
                  <a:moveTo>
                    <a:pt x="471" y="36"/>
                  </a:moveTo>
                  <a:lnTo>
                    <a:pt x="469" y="36"/>
                  </a:lnTo>
                  <a:lnTo>
                    <a:pt x="469" y="38"/>
                  </a:lnTo>
                  <a:lnTo>
                    <a:pt x="471" y="38"/>
                  </a:lnTo>
                  <a:lnTo>
                    <a:pt x="471" y="38"/>
                  </a:lnTo>
                  <a:lnTo>
                    <a:pt x="473" y="38"/>
                  </a:lnTo>
                  <a:lnTo>
                    <a:pt x="475" y="36"/>
                  </a:lnTo>
                  <a:lnTo>
                    <a:pt x="478" y="36"/>
                  </a:lnTo>
                  <a:lnTo>
                    <a:pt x="480" y="36"/>
                  </a:lnTo>
                  <a:lnTo>
                    <a:pt x="482" y="36"/>
                  </a:lnTo>
                  <a:lnTo>
                    <a:pt x="482" y="38"/>
                  </a:lnTo>
                  <a:lnTo>
                    <a:pt x="484" y="40"/>
                  </a:lnTo>
                  <a:lnTo>
                    <a:pt x="484" y="42"/>
                  </a:lnTo>
                  <a:lnTo>
                    <a:pt x="484" y="47"/>
                  </a:lnTo>
                  <a:lnTo>
                    <a:pt x="484" y="47"/>
                  </a:lnTo>
                  <a:lnTo>
                    <a:pt x="486" y="47"/>
                  </a:lnTo>
                  <a:lnTo>
                    <a:pt x="488" y="47"/>
                  </a:lnTo>
                  <a:lnTo>
                    <a:pt x="490" y="47"/>
                  </a:lnTo>
                  <a:lnTo>
                    <a:pt x="492" y="47"/>
                  </a:lnTo>
                  <a:lnTo>
                    <a:pt x="494" y="44"/>
                  </a:lnTo>
                  <a:lnTo>
                    <a:pt x="494" y="42"/>
                  </a:lnTo>
                  <a:lnTo>
                    <a:pt x="496" y="40"/>
                  </a:lnTo>
                  <a:lnTo>
                    <a:pt x="496" y="38"/>
                  </a:lnTo>
                  <a:lnTo>
                    <a:pt x="499" y="34"/>
                  </a:lnTo>
                  <a:lnTo>
                    <a:pt x="499" y="32"/>
                  </a:lnTo>
                  <a:lnTo>
                    <a:pt x="501" y="32"/>
                  </a:lnTo>
                  <a:lnTo>
                    <a:pt x="501" y="30"/>
                  </a:lnTo>
                  <a:lnTo>
                    <a:pt x="505" y="28"/>
                  </a:lnTo>
                  <a:lnTo>
                    <a:pt x="507" y="26"/>
                  </a:lnTo>
                  <a:lnTo>
                    <a:pt x="507" y="23"/>
                  </a:lnTo>
                  <a:lnTo>
                    <a:pt x="505" y="21"/>
                  </a:lnTo>
                  <a:lnTo>
                    <a:pt x="507" y="19"/>
                  </a:lnTo>
                  <a:lnTo>
                    <a:pt x="507" y="15"/>
                  </a:lnTo>
                  <a:lnTo>
                    <a:pt x="507" y="13"/>
                  </a:lnTo>
                  <a:lnTo>
                    <a:pt x="505" y="13"/>
                  </a:lnTo>
                  <a:lnTo>
                    <a:pt x="503" y="11"/>
                  </a:lnTo>
                  <a:lnTo>
                    <a:pt x="503" y="13"/>
                  </a:lnTo>
                  <a:lnTo>
                    <a:pt x="503" y="13"/>
                  </a:lnTo>
                  <a:lnTo>
                    <a:pt x="501" y="13"/>
                  </a:lnTo>
                  <a:lnTo>
                    <a:pt x="501" y="15"/>
                  </a:lnTo>
                  <a:lnTo>
                    <a:pt x="496" y="19"/>
                  </a:lnTo>
                  <a:lnTo>
                    <a:pt x="496" y="21"/>
                  </a:lnTo>
                  <a:lnTo>
                    <a:pt x="492" y="26"/>
                  </a:lnTo>
                  <a:lnTo>
                    <a:pt x="490" y="28"/>
                  </a:lnTo>
                  <a:lnTo>
                    <a:pt x="488" y="30"/>
                  </a:lnTo>
                  <a:lnTo>
                    <a:pt x="488" y="32"/>
                  </a:lnTo>
                  <a:lnTo>
                    <a:pt x="488" y="32"/>
                  </a:lnTo>
                  <a:lnTo>
                    <a:pt x="488" y="30"/>
                  </a:lnTo>
                  <a:lnTo>
                    <a:pt x="486" y="28"/>
                  </a:lnTo>
                  <a:lnTo>
                    <a:pt x="486" y="28"/>
                  </a:lnTo>
                  <a:lnTo>
                    <a:pt x="486" y="28"/>
                  </a:lnTo>
                  <a:lnTo>
                    <a:pt x="486" y="26"/>
                  </a:lnTo>
                  <a:lnTo>
                    <a:pt x="484" y="26"/>
                  </a:lnTo>
                  <a:lnTo>
                    <a:pt x="484" y="23"/>
                  </a:lnTo>
                  <a:lnTo>
                    <a:pt x="482" y="23"/>
                  </a:lnTo>
                  <a:lnTo>
                    <a:pt x="480" y="23"/>
                  </a:lnTo>
                  <a:lnTo>
                    <a:pt x="478" y="28"/>
                  </a:lnTo>
                  <a:lnTo>
                    <a:pt x="475" y="30"/>
                  </a:lnTo>
                  <a:lnTo>
                    <a:pt x="471" y="36"/>
                  </a:lnTo>
                  <a:lnTo>
                    <a:pt x="471" y="36"/>
                  </a:lnTo>
                  <a:close/>
                  <a:moveTo>
                    <a:pt x="385" y="32"/>
                  </a:moveTo>
                  <a:lnTo>
                    <a:pt x="388" y="34"/>
                  </a:lnTo>
                  <a:lnTo>
                    <a:pt x="392" y="34"/>
                  </a:lnTo>
                  <a:lnTo>
                    <a:pt x="400" y="32"/>
                  </a:lnTo>
                  <a:lnTo>
                    <a:pt x="406" y="34"/>
                  </a:lnTo>
                  <a:lnTo>
                    <a:pt x="411" y="34"/>
                  </a:lnTo>
                  <a:lnTo>
                    <a:pt x="415" y="32"/>
                  </a:lnTo>
                  <a:lnTo>
                    <a:pt x="415" y="30"/>
                  </a:lnTo>
                  <a:lnTo>
                    <a:pt x="415" y="23"/>
                  </a:lnTo>
                  <a:lnTo>
                    <a:pt x="417" y="23"/>
                  </a:lnTo>
                  <a:lnTo>
                    <a:pt x="417" y="21"/>
                  </a:lnTo>
                  <a:lnTo>
                    <a:pt x="417" y="21"/>
                  </a:lnTo>
                  <a:lnTo>
                    <a:pt x="417" y="19"/>
                  </a:lnTo>
                  <a:lnTo>
                    <a:pt x="417" y="19"/>
                  </a:lnTo>
                  <a:lnTo>
                    <a:pt x="415" y="19"/>
                  </a:lnTo>
                  <a:lnTo>
                    <a:pt x="415" y="19"/>
                  </a:lnTo>
                  <a:lnTo>
                    <a:pt x="413" y="19"/>
                  </a:lnTo>
                  <a:lnTo>
                    <a:pt x="411" y="17"/>
                  </a:lnTo>
                  <a:lnTo>
                    <a:pt x="408" y="17"/>
                  </a:lnTo>
                  <a:lnTo>
                    <a:pt x="406" y="17"/>
                  </a:lnTo>
                  <a:lnTo>
                    <a:pt x="402" y="17"/>
                  </a:lnTo>
                  <a:lnTo>
                    <a:pt x="402" y="17"/>
                  </a:lnTo>
                  <a:lnTo>
                    <a:pt x="398" y="17"/>
                  </a:lnTo>
                  <a:lnTo>
                    <a:pt x="398" y="19"/>
                  </a:lnTo>
                  <a:lnTo>
                    <a:pt x="396" y="19"/>
                  </a:lnTo>
                  <a:lnTo>
                    <a:pt x="388" y="26"/>
                  </a:lnTo>
                  <a:lnTo>
                    <a:pt x="385" y="28"/>
                  </a:lnTo>
                  <a:lnTo>
                    <a:pt x="385" y="32"/>
                  </a:lnTo>
                  <a:close/>
                  <a:moveTo>
                    <a:pt x="427" y="30"/>
                  </a:moveTo>
                  <a:lnTo>
                    <a:pt x="421" y="32"/>
                  </a:lnTo>
                  <a:lnTo>
                    <a:pt x="419" y="34"/>
                  </a:lnTo>
                  <a:lnTo>
                    <a:pt x="417" y="34"/>
                  </a:lnTo>
                  <a:lnTo>
                    <a:pt x="413" y="38"/>
                  </a:lnTo>
                  <a:lnTo>
                    <a:pt x="408" y="42"/>
                  </a:lnTo>
                  <a:lnTo>
                    <a:pt x="404" y="44"/>
                  </a:lnTo>
                  <a:lnTo>
                    <a:pt x="406" y="47"/>
                  </a:lnTo>
                  <a:lnTo>
                    <a:pt x="406" y="47"/>
                  </a:lnTo>
                  <a:lnTo>
                    <a:pt x="408" y="47"/>
                  </a:lnTo>
                  <a:lnTo>
                    <a:pt x="408" y="47"/>
                  </a:lnTo>
                  <a:lnTo>
                    <a:pt x="408" y="47"/>
                  </a:lnTo>
                  <a:lnTo>
                    <a:pt x="408" y="47"/>
                  </a:lnTo>
                  <a:lnTo>
                    <a:pt x="411" y="47"/>
                  </a:lnTo>
                  <a:lnTo>
                    <a:pt x="411" y="47"/>
                  </a:lnTo>
                  <a:lnTo>
                    <a:pt x="411" y="47"/>
                  </a:lnTo>
                  <a:lnTo>
                    <a:pt x="413" y="47"/>
                  </a:lnTo>
                  <a:lnTo>
                    <a:pt x="413" y="47"/>
                  </a:lnTo>
                  <a:lnTo>
                    <a:pt x="415" y="44"/>
                  </a:lnTo>
                  <a:lnTo>
                    <a:pt x="417" y="47"/>
                  </a:lnTo>
                  <a:lnTo>
                    <a:pt x="421" y="49"/>
                  </a:lnTo>
                  <a:lnTo>
                    <a:pt x="421" y="51"/>
                  </a:lnTo>
                  <a:lnTo>
                    <a:pt x="423" y="51"/>
                  </a:lnTo>
                  <a:lnTo>
                    <a:pt x="423" y="51"/>
                  </a:lnTo>
                  <a:lnTo>
                    <a:pt x="425" y="51"/>
                  </a:lnTo>
                  <a:lnTo>
                    <a:pt x="425" y="49"/>
                  </a:lnTo>
                  <a:lnTo>
                    <a:pt x="427" y="49"/>
                  </a:lnTo>
                  <a:lnTo>
                    <a:pt x="432" y="44"/>
                  </a:lnTo>
                  <a:lnTo>
                    <a:pt x="432" y="44"/>
                  </a:lnTo>
                  <a:lnTo>
                    <a:pt x="434" y="49"/>
                  </a:lnTo>
                  <a:lnTo>
                    <a:pt x="436" y="49"/>
                  </a:lnTo>
                  <a:lnTo>
                    <a:pt x="438" y="49"/>
                  </a:lnTo>
                  <a:lnTo>
                    <a:pt x="440" y="49"/>
                  </a:lnTo>
                  <a:lnTo>
                    <a:pt x="440" y="47"/>
                  </a:lnTo>
                  <a:lnTo>
                    <a:pt x="442" y="44"/>
                  </a:lnTo>
                  <a:lnTo>
                    <a:pt x="438" y="42"/>
                  </a:lnTo>
                  <a:lnTo>
                    <a:pt x="438" y="40"/>
                  </a:lnTo>
                  <a:lnTo>
                    <a:pt x="438" y="40"/>
                  </a:lnTo>
                  <a:lnTo>
                    <a:pt x="440" y="38"/>
                  </a:lnTo>
                  <a:lnTo>
                    <a:pt x="440" y="38"/>
                  </a:lnTo>
                  <a:lnTo>
                    <a:pt x="440" y="38"/>
                  </a:lnTo>
                  <a:lnTo>
                    <a:pt x="442" y="36"/>
                  </a:lnTo>
                  <a:lnTo>
                    <a:pt x="442" y="36"/>
                  </a:lnTo>
                  <a:lnTo>
                    <a:pt x="444" y="34"/>
                  </a:lnTo>
                  <a:lnTo>
                    <a:pt x="446" y="34"/>
                  </a:lnTo>
                  <a:lnTo>
                    <a:pt x="446" y="34"/>
                  </a:lnTo>
                  <a:lnTo>
                    <a:pt x="446" y="36"/>
                  </a:lnTo>
                  <a:lnTo>
                    <a:pt x="448" y="36"/>
                  </a:lnTo>
                  <a:lnTo>
                    <a:pt x="448" y="36"/>
                  </a:lnTo>
                  <a:lnTo>
                    <a:pt x="452" y="32"/>
                  </a:lnTo>
                  <a:lnTo>
                    <a:pt x="455" y="28"/>
                  </a:lnTo>
                  <a:lnTo>
                    <a:pt x="457" y="26"/>
                  </a:lnTo>
                  <a:lnTo>
                    <a:pt x="457" y="23"/>
                  </a:lnTo>
                  <a:lnTo>
                    <a:pt x="459" y="23"/>
                  </a:lnTo>
                  <a:lnTo>
                    <a:pt x="461" y="21"/>
                  </a:lnTo>
                  <a:lnTo>
                    <a:pt x="467" y="21"/>
                  </a:lnTo>
                  <a:lnTo>
                    <a:pt x="471" y="21"/>
                  </a:lnTo>
                  <a:lnTo>
                    <a:pt x="471" y="21"/>
                  </a:lnTo>
                  <a:lnTo>
                    <a:pt x="471" y="19"/>
                  </a:lnTo>
                  <a:lnTo>
                    <a:pt x="473" y="17"/>
                  </a:lnTo>
                  <a:lnTo>
                    <a:pt x="473" y="17"/>
                  </a:lnTo>
                  <a:lnTo>
                    <a:pt x="471" y="17"/>
                  </a:lnTo>
                  <a:lnTo>
                    <a:pt x="467" y="15"/>
                  </a:lnTo>
                  <a:lnTo>
                    <a:pt x="465" y="15"/>
                  </a:lnTo>
                  <a:lnTo>
                    <a:pt x="463" y="15"/>
                  </a:lnTo>
                  <a:lnTo>
                    <a:pt x="463" y="15"/>
                  </a:lnTo>
                  <a:lnTo>
                    <a:pt x="461" y="13"/>
                  </a:lnTo>
                  <a:lnTo>
                    <a:pt x="461" y="13"/>
                  </a:lnTo>
                  <a:lnTo>
                    <a:pt x="461" y="13"/>
                  </a:lnTo>
                  <a:lnTo>
                    <a:pt x="461" y="13"/>
                  </a:lnTo>
                  <a:lnTo>
                    <a:pt x="461" y="11"/>
                  </a:lnTo>
                  <a:lnTo>
                    <a:pt x="459" y="11"/>
                  </a:lnTo>
                  <a:lnTo>
                    <a:pt x="459" y="11"/>
                  </a:lnTo>
                  <a:lnTo>
                    <a:pt x="459" y="13"/>
                  </a:lnTo>
                  <a:lnTo>
                    <a:pt x="459" y="13"/>
                  </a:lnTo>
                  <a:lnTo>
                    <a:pt x="457" y="13"/>
                  </a:lnTo>
                  <a:lnTo>
                    <a:pt x="455" y="15"/>
                  </a:lnTo>
                  <a:lnTo>
                    <a:pt x="452" y="15"/>
                  </a:lnTo>
                  <a:lnTo>
                    <a:pt x="450" y="17"/>
                  </a:lnTo>
                  <a:lnTo>
                    <a:pt x="450" y="17"/>
                  </a:lnTo>
                  <a:lnTo>
                    <a:pt x="450" y="17"/>
                  </a:lnTo>
                  <a:lnTo>
                    <a:pt x="450" y="19"/>
                  </a:lnTo>
                  <a:lnTo>
                    <a:pt x="448" y="19"/>
                  </a:lnTo>
                  <a:lnTo>
                    <a:pt x="446" y="17"/>
                  </a:lnTo>
                  <a:lnTo>
                    <a:pt x="446" y="17"/>
                  </a:lnTo>
                  <a:lnTo>
                    <a:pt x="446" y="17"/>
                  </a:lnTo>
                  <a:lnTo>
                    <a:pt x="446" y="17"/>
                  </a:lnTo>
                  <a:lnTo>
                    <a:pt x="446" y="15"/>
                  </a:lnTo>
                  <a:lnTo>
                    <a:pt x="446" y="15"/>
                  </a:lnTo>
                  <a:lnTo>
                    <a:pt x="444" y="15"/>
                  </a:lnTo>
                  <a:lnTo>
                    <a:pt x="444" y="17"/>
                  </a:lnTo>
                  <a:lnTo>
                    <a:pt x="444" y="17"/>
                  </a:lnTo>
                  <a:lnTo>
                    <a:pt x="442" y="17"/>
                  </a:lnTo>
                  <a:lnTo>
                    <a:pt x="444" y="19"/>
                  </a:lnTo>
                  <a:lnTo>
                    <a:pt x="444" y="19"/>
                  </a:lnTo>
                  <a:lnTo>
                    <a:pt x="444" y="21"/>
                  </a:lnTo>
                  <a:lnTo>
                    <a:pt x="444" y="23"/>
                  </a:lnTo>
                  <a:lnTo>
                    <a:pt x="444" y="23"/>
                  </a:lnTo>
                  <a:lnTo>
                    <a:pt x="442" y="23"/>
                  </a:lnTo>
                  <a:lnTo>
                    <a:pt x="440" y="23"/>
                  </a:lnTo>
                  <a:lnTo>
                    <a:pt x="438" y="23"/>
                  </a:lnTo>
                  <a:lnTo>
                    <a:pt x="440" y="26"/>
                  </a:lnTo>
                  <a:lnTo>
                    <a:pt x="440" y="26"/>
                  </a:lnTo>
                  <a:lnTo>
                    <a:pt x="442" y="28"/>
                  </a:lnTo>
                  <a:lnTo>
                    <a:pt x="440" y="30"/>
                  </a:lnTo>
                  <a:lnTo>
                    <a:pt x="440" y="30"/>
                  </a:lnTo>
                  <a:lnTo>
                    <a:pt x="438" y="30"/>
                  </a:lnTo>
                  <a:lnTo>
                    <a:pt x="436" y="30"/>
                  </a:lnTo>
                  <a:lnTo>
                    <a:pt x="434" y="30"/>
                  </a:lnTo>
                  <a:lnTo>
                    <a:pt x="434" y="28"/>
                  </a:lnTo>
                  <a:lnTo>
                    <a:pt x="434" y="28"/>
                  </a:lnTo>
                  <a:lnTo>
                    <a:pt x="434" y="26"/>
                  </a:lnTo>
                  <a:lnTo>
                    <a:pt x="436" y="21"/>
                  </a:lnTo>
                  <a:lnTo>
                    <a:pt x="438" y="21"/>
                  </a:lnTo>
                  <a:lnTo>
                    <a:pt x="438" y="21"/>
                  </a:lnTo>
                  <a:lnTo>
                    <a:pt x="438" y="19"/>
                  </a:lnTo>
                  <a:lnTo>
                    <a:pt x="438" y="17"/>
                  </a:lnTo>
                  <a:lnTo>
                    <a:pt x="436" y="17"/>
                  </a:lnTo>
                  <a:lnTo>
                    <a:pt x="432" y="17"/>
                  </a:lnTo>
                  <a:lnTo>
                    <a:pt x="432" y="17"/>
                  </a:lnTo>
                  <a:lnTo>
                    <a:pt x="429" y="19"/>
                  </a:lnTo>
                  <a:lnTo>
                    <a:pt x="427" y="19"/>
                  </a:lnTo>
                  <a:lnTo>
                    <a:pt x="427" y="21"/>
                  </a:lnTo>
                  <a:lnTo>
                    <a:pt x="425" y="21"/>
                  </a:lnTo>
                  <a:lnTo>
                    <a:pt x="425" y="19"/>
                  </a:lnTo>
                  <a:lnTo>
                    <a:pt x="423" y="19"/>
                  </a:lnTo>
                  <a:lnTo>
                    <a:pt x="421" y="21"/>
                  </a:lnTo>
                  <a:lnTo>
                    <a:pt x="419" y="21"/>
                  </a:lnTo>
                  <a:lnTo>
                    <a:pt x="419" y="23"/>
                  </a:lnTo>
                  <a:lnTo>
                    <a:pt x="419" y="26"/>
                  </a:lnTo>
                  <a:lnTo>
                    <a:pt x="425" y="26"/>
                  </a:lnTo>
                  <a:lnTo>
                    <a:pt x="429" y="26"/>
                  </a:lnTo>
                  <a:lnTo>
                    <a:pt x="429" y="26"/>
                  </a:lnTo>
                  <a:lnTo>
                    <a:pt x="429" y="28"/>
                  </a:lnTo>
                  <a:lnTo>
                    <a:pt x="429" y="28"/>
                  </a:lnTo>
                  <a:lnTo>
                    <a:pt x="427" y="30"/>
                  </a:lnTo>
                  <a:close/>
                  <a:moveTo>
                    <a:pt x="65" y="68"/>
                  </a:moveTo>
                  <a:lnTo>
                    <a:pt x="65" y="70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70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3" y="72"/>
                  </a:lnTo>
                  <a:lnTo>
                    <a:pt x="73" y="70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5"/>
                  </a:lnTo>
                  <a:lnTo>
                    <a:pt x="73" y="63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7"/>
                  </a:lnTo>
                  <a:lnTo>
                    <a:pt x="82" y="55"/>
                  </a:lnTo>
                  <a:lnTo>
                    <a:pt x="82" y="53"/>
                  </a:lnTo>
                  <a:lnTo>
                    <a:pt x="80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5" y="55"/>
                  </a:lnTo>
                  <a:lnTo>
                    <a:pt x="73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69" y="57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7" y="51"/>
                  </a:lnTo>
                  <a:lnTo>
                    <a:pt x="65" y="53"/>
                  </a:lnTo>
                  <a:lnTo>
                    <a:pt x="67" y="57"/>
                  </a:lnTo>
                  <a:lnTo>
                    <a:pt x="67" y="59"/>
                  </a:lnTo>
                  <a:lnTo>
                    <a:pt x="69" y="59"/>
                  </a:lnTo>
                  <a:lnTo>
                    <a:pt x="69" y="61"/>
                  </a:lnTo>
                  <a:lnTo>
                    <a:pt x="67" y="61"/>
                  </a:lnTo>
                  <a:lnTo>
                    <a:pt x="65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5" y="63"/>
                  </a:lnTo>
                  <a:lnTo>
                    <a:pt x="65" y="65"/>
                  </a:lnTo>
                  <a:lnTo>
                    <a:pt x="63" y="68"/>
                  </a:lnTo>
                  <a:lnTo>
                    <a:pt x="65" y="68"/>
                  </a:lnTo>
                  <a:close/>
                  <a:moveTo>
                    <a:pt x="373" y="278"/>
                  </a:moveTo>
                  <a:lnTo>
                    <a:pt x="373" y="278"/>
                  </a:lnTo>
                  <a:lnTo>
                    <a:pt x="371" y="278"/>
                  </a:lnTo>
                  <a:lnTo>
                    <a:pt x="371" y="276"/>
                  </a:lnTo>
                  <a:lnTo>
                    <a:pt x="369" y="278"/>
                  </a:lnTo>
                  <a:lnTo>
                    <a:pt x="369" y="278"/>
                  </a:lnTo>
                  <a:lnTo>
                    <a:pt x="369" y="278"/>
                  </a:lnTo>
                  <a:lnTo>
                    <a:pt x="369" y="278"/>
                  </a:lnTo>
                  <a:lnTo>
                    <a:pt x="369" y="278"/>
                  </a:lnTo>
                  <a:lnTo>
                    <a:pt x="371" y="280"/>
                  </a:lnTo>
                  <a:lnTo>
                    <a:pt x="371" y="280"/>
                  </a:lnTo>
                  <a:lnTo>
                    <a:pt x="373" y="280"/>
                  </a:lnTo>
                  <a:lnTo>
                    <a:pt x="373" y="280"/>
                  </a:lnTo>
                  <a:lnTo>
                    <a:pt x="373" y="280"/>
                  </a:lnTo>
                  <a:lnTo>
                    <a:pt x="373" y="278"/>
                  </a:lnTo>
                  <a:close/>
                  <a:moveTo>
                    <a:pt x="369" y="47"/>
                  </a:moveTo>
                  <a:lnTo>
                    <a:pt x="367" y="40"/>
                  </a:lnTo>
                  <a:lnTo>
                    <a:pt x="364" y="40"/>
                  </a:lnTo>
                  <a:lnTo>
                    <a:pt x="364" y="38"/>
                  </a:lnTo>
                  <a:lnTo>
                    <a:pt x="364" y="38"/>
                  </a:lnTo>
                  <a:lnTo>
                    <a:pt x="364" y="36"/>
                  </a:lnTo>
                  <a:lnTo>
                    <a:pt x="367" y="36"/>
                  </a:lnTo>
                  <a:lnTo>
                    <a:pt x="367" y="36"/>
                  </a:lnTo>
                  <a:lnTo>
                    <a:pt x="367" y="36"/>
                  </a:lnTo>
                  <a:lnTo>
                    <a:pt x="369" y="36"/>
                  </a:lnTo>
                  <a:lnTo>
                    <a:pt x="371" y="38"/>
                  </a:lnTo>
                  <a:lnTo>
                    <a:pt x="373" y="38"/>
                  </a:lnTo>
                  <a:lnTo>
                    <a:pt x="375" y="38"/>
                  </a:lnTo>
                  <a:lnTo>
                    <a:pt x="375" y="36"/>
                  </a:lnTo>
                  <a:lnTo>
                    <a:pt x="375" y="36"/>
                  </a:lnTo>
                  <a:lnTo>
                    <a:pt x="375" y="32"/>
                  </a:lnTo>
                  <a:lnTo>
                    <a:pt x="375" y="30"/>
                  </a:lnTo>
                  <a:lnTo>
                    <a:pt x="377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5" y="26"/>
                  </a:lnTo>
                  <a:lnTo>
                    <a:pt x="385" y="26"/>
                  </a:lnTo>
                  <a:lnTo>
                    <a:pt x="388" y="23"/>
                  </a:lnTo>
                  <a:lnTo>
                    <a:pt x="385" y="21"/>
                  </a:lnTo>
                  <a:lnTo>
                    <a:pt x="385" y="21"/>
                  </a:lnTo>
                  <a:lnTo>
                    <a:pt x="385" y="19"/>
                  </a:lnTo>
                  <a:lnTo>
                    <a:pt x="381" y="13"/>
                  </a:lnTo>
                  <a:lnTo>
                    <a:pt x="381" y="11"/>
                  </a:lnTo>
                  <a:lnTo>
                    <a:pt x="381" y="9"/>
                  </a:lnTo>
                  <a:lnTo>
                    <a:pt x="381" y="7"/>
                  </a:lnTo>
                  <a:lnTo>
                    <a:pt x="377" y="5"/>
                  </a:lnTo>
                  <a:lnTo>
                    <a:pt x="377" y="5"/>
                  </a:lnTo>
                  <a:lnTo>
                    <a:pt x="375" y="5"/>
                  </a:lnTo>
                  <a:lnTo>
                    <a:pt x="375" y="2"/>
                  </a:lnTo>
                  <a:lnTo>
                    <a:pt x="373" y="2"/>
                  </a:lnTo>
                  <a:lnTo>
                    <a:pt x="373" y="0"/>
                  </a:lnTo>
                  <a:lnTo>
                    <a:pt x="371" y="0"/>
                  </a:lnTo>
                  <a:lnTo>
                    <a:pt x="371" y="2"/>
                  </a:lnTo>
                  <a:lnTo>
                    <a:pt x="369" y="2"/>
                  </a:lnTo>
                  <a:lnTo>
                    <a:pt x="364" y="5"/>
                  </a:lnTo>
                  <a:lnTo>
                    <a:pt x="364" y="7"/>
                  </a:lnTo>
                  <a:lnTo>
                    <a:pt x="362" y="9"/>
                  </a:lnTo>
                  <a:lnTo>
                    <a:pt x="362" y="11"/>
                  </a:lnTo>
                  <a:lnTo>
                    <a:pt x="360" y="15"/>
                  </a:lnTo>
                  <a:lnTo>
                    <a:pt x="360" y="15"/>
                  </a:lnTo>
                  <a:lnTo>
                    <a:pt x="360" y="17"/>
                  </a:lnTo>
                  <a:lnTo>
                    <a:pt x="360" y="17"/>
                  </a:lnTo>
                  <a:lnTo>
                    <a:pt x="364" y="17"/>
                  </a:lnTo>
                  <a:lnTo>
                    <a:pt x="364" y="17"/>
                  </a:lnTo>
                  <a:lnTo>
                    <a:pt x="367" y="15"/>
                  </a:lnTo>
                  <a:lnTo>
                    <a:pt x="369" y="13"/>
                  </a:lnTo>
                  <a:lnTo>
                    <a:pt x="371" y="13"/>
                  </a:lnTo>
                  <a:lnTo>
                    <a:pt x="373" y="13"/>
                  </a:lnTo>
                  <a:lnTo>
                    <a:pt x="377" y="13"/>
                  </a:lnTo>
                  <a:lnTo>
                    <a:pt x="379" y="13"/>
                  </a:lnTo>
                  <a:lnTo>
                    <a:pt x="379" y="13"/>
                  </a:lnTo>
                  <a:lnTo>
                    <a:pt x="379" y="15"/>
                  </a:lnTo>
                  <a:lnTo>
                    <a:pt x="373" y="21"/>
                  </a:lnTo>
                  <a:lnTo>
                    <a:pt x="367" y="23"/>
                  </a:lnTo>
                  <a:lnTo>
                    <a:pt x="364" y="26"/>
                  </a:lnTo>
                  <a:lnTo>
                    <a:pt x="362" y="28"/>
                  </a:lnTo>
                  <a:lnTo>
                    <a:pt x="360" y="30"/>
                  </a:lnTo>
                  <a:lnTo>
                    <a:pt x="358" y="30"/>
                  </a:lnTo>
                  <a:lnTo>
                    <a:pt x="358" y="30"/>
                  </a:lnTo>
                  <a:lnTo>
                    <a:pt x="356" y="30"/>
                  </a:lnTo>
                  <a:lnTo>
                    <a:pt x="354" y="32"/>
                  </a:lnTo>
                  <a:lnTo>
                    <a:pt x="352" y="30"/>
                  </a:lnTo>
                  <a:lnTo>
                    <a:pt x="352" y="32"/>
                  </a:lnTo>
                  <a:lnTo>
                    <a:pt x="348" y="32"/>
                  </a:lnTo>
                  <a:lnTo>
                    <a:pt x="346" y="32"/>
                  </a:lnTo>
                  <a:lnTo>
                    <a:pt x="344" y="36"/>
                  </a:lnTo>
                  <a:lnTo>
                    <a:pt x="341" y="38"/>
                  </a:lnTo>
                  <a:lnTo>
                    <a:pt x="335" y="40"/>
                  </a:lnTo>
                  <a:lnTo>
                    <a:pt x="335" y="40"/>
                  </a:lnTo>
                  <a:lnTo>
                    <a:pt x="335" y="42"/>
                  </a:lnTo>
                  <a:lnTo>
                    <a:pt x="335" y="42"/>
                  </a:lnTo>
                  <a:lnTo>
                    <a:pt x="335" y="42"/>
                  </a:lnTo>
                  <a:lnTo>
                    <a:pt x="335" y="44"/>
                  </a:lnTo>
                  <a:lnTo>
                    <a:pt x="335" y="44"/>
                  </a:lnTo>
                  <a:lnTo>
                    <a:pt x="337" y="44"/>
                  </a:lnTo>
                  <a:lnTo>
                    <a:pt x="337" y="44"/>
                  </a:lnTo>
                  <a:lnTo>
                    <a:pt x="337" y="47"/>
                  </a:lnTo>
                  <a:lnTo>
                    <a:pt x="337" y="49"/>
                  </a:lnTo>
                  <a:lnTo>
                    <a:pt x="335" y="51"/>
                  </a:lnTo>
                  <a:lnTo>
                    <a:pt x="333" y="53"/>
                  </a:lnTo>
                  <a:lnTo>
                    <a:pt x="316" y="55"/>
                  </a:lnTo>
                  <a:lnTo>
                    <a:pt x="314" y="55"/>
                  </a:lnTo>
                  <a:lnTo>
                    <a:pt x="312" y="53"/>
                  </a:lnTo>
                  <a:lnTo>
                    <a:pt x="304" y="47"/>
                  </a:lnTo>
                  <a:lnTo>
                    <a:pt x="302" y="44"/>
                  </a:lnTo>
                  <a:lnTo>
                    <a:pt x="300" y="44"/>
                  </a:lnTo>
                  <a:lnTo>
                    <a:pt x="297" y="44"/>
                  </a:lnTo>
                  <a:lnTo>
                    <a:pt x="297" y="44"/>
                  </a:lnTo>
                  <a:lnTo>
                    <a:pt x="295" y="44"/>
                  </a:lnTo>
                  <a:lnTo>
                    <a:pt x="293" y="44"/>
                  </a:lnTo>
                  <a:lnTo>
                    <a:pt x="293" y="44"/>
                  </a:lnTo>
                  <a:lnTo>
                    <a:pt x="291" y="42"/>
                  </a:lnTo>
                  <a:lnTo>
                    <a:pt x="291" y="40"/>
                  </a:lnTo>
                  <a:lnTo>
                    <a:pt x="291" y="38"/>
                  </a:lnTo>
                  <a:lnTo>
                    <a:pt x="293" y="38"/>
                  </a:lnTo>
                  <a:lnTo>
                    <a:pt x="293" y="36"/>
                  </a:lnTo>
                  <a:lnTo>
                    <a:pt x="293" y="36"/>
                  </a:lnTo>
                  <a:lnTo>
                    <a:pt x="291" y="36"/>
                  </a:lnTo>
                  <a:lnTo>
                    <a:pt x="291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89" y="36"/>
                  </a:lnTo>
                  <a:lnTo>
                    <a:pt x="285" y="38"/>
                  </a:lnTo>
                  <a:lnTo>
                    <a:pt x="285" y="38"/>
                  </a:lnTo>
                  <a:lnTo>
                    <a:pt x="285" y="38"/>
                  </a:lnTo>
                  <a:lnTo>
                    <a:pt x="283" y="40"/>
                  </a:lnTo>
                  <a:lnTo>
                    <a:pt x="279" y="42"/>
                  </a:lnTo>
                  <a:lnTo>
                    <a:pt x="276" y="42"/>
                  </a:lnTo>
                  <a:lnTo>
                    <a:pt x="276" y="40"/>
                  </a:lnTo>
                  <a:lnTo>
                    <a:pt x="274" y="40"/>
                  </a:lnTo>
                  <a:lnTo>
                    <a:pt x="272" y="42"/>
                  </a:lnTo>
                  <a:lnTo>
                    <a:pt x="272" y="42"/>
                  </a:lnTo>
                  <a:lnTo>
                    <a:pt x="270" y="42"/>
                  </a:lnTo>
                  <a:lnTo>
                    <a:pt x="270" y="42"/>
                  </a:lnTo>
                  <a:lnTo>
                    <a:pt x="270" y="40"/>
                  </a:lnTo>
                  <a:lnTo>
                    <a:pt x="268" y="40"/>
                  </a:lnTo>
                  <a:lnTo>
                    <a:pt x="266" y="40"/>
                  </a:lnTo>
                  <a:lnTo>
                    <a:pt x="262" y="42"/>
                  </a:lnTo>
                  <a:lnTo>
                    <a:pt x="260" y="42"/>
                  </a:lnTo>
                  <a:lnTo>
                    <a:pt x="256" y="40"/>
                  </a:lnTo>
                  <a:lnTo>
                    <a:pt x="253" y="38"/>
                  </a:lnTo>
                  <a:lnTo>
                    <a:pt x="253" y="40"/>
                  </a:lnTo>
                  <a:lnTo>
                    <a:pt x="251" y="42"/>
                  </a:lnTo>
                  <a:lnTo>
                    <a:pt x="251" y="44"/>
                  </a:lnTo>
                  <a:lnTo>
                    <a:pt x="253" y="47"/>
                  </a:lnTo>
                  <a:lnTo>
                    <a:pt x="249" y="47"/>
                  </a:lnTo>
                  <a:lnTo>
                    <a:pt x="249" y="47"/>
                  </a:lnTo>
                  <a:lnTo>
                    <a:pt x="249" y="47"/>
                  </a:lnTo>
                  <a:lnTo>
                    <a:pt x="249" y="49"/>
                  </a:lnTo>
                  <a:lnTo>
                    <a:pt x="249" y="49"/>
                  </a:lnTo>
                  <a:lnTo>
                    <a:pt x="245" y="51"/>
                  </a:lnTo>
                  <a:lnTo>
                    <a:pt x="245" y="51"/>
                  </a:lnTo>
                  <a:lnTo>
                    <a:pt x="243" y="51"/>
                  </a:lnTo>
                  <a:lnTo>
                    <a:pt x="243" y="51"/>
                  </a:lnTo>
                  <a:lnTo>
                    <a:pt x="243" y="51"/>
                  </a:lnTo>
                  <a:lnTo>
                    <a:pt x="243" y="51"/>
                  </a:lnTo>
                  <a:lnTo>
                    <a:pt x="241" y="49"/>
                  </a:lnTo>
                  <a:lnTo>
                    <a:pt x="239" y="49"/>
                  </a:lnTo>
                  <a:lnTo>
                    <a:pt x="239" y="49"/>
                  </a:lnTo>
                  <a:lnTo>
                    <a:pt x="237" y="49"/>
                  </a:lnTo>
                  <a:lnTo>
                    <a:pt x="235" y="49"/>
                  </a:lnTo>
                  <a:lnTo>
                    <a:pt x="235" y="51"/>
                  </a:lnTo>
                  <a:lnTo>
                    <a:pt x="230" y="49"/>
                  </a:lnTo>
                  <a:lnTo>
                    <a:pt x="226" y="44"/>
                  </a:lnTo>
                  <a:lnTo>
                    <a:pt x="224" y="44"/>
                  </a:lnTo>
                  <a:lnTo>
                    <a:pt x="222" y="40"/>
                  </a:lnTo>
                  <a:lnTo>
                    <a:pt x="222" y="38"/>
                  </a:lnTo>
                  <a:lnTo>
                    <a:pt x="220" y="38"/>
                  </a:lnTo>
                  <a:lnTo>
                    <a:pt x="220" y="38"/>
                  </a:lnTo>
                  <a:lnTo>
                    <a:pt x="218" y="38"/>
                  </a:lnTo>
                  <a:lnTo>
                    <a:pt x="218" y="38"/>
                  </a:lnTo>
                  <a:lnTo>
                    <a:pt x="216" y="38"/>
                  </a:lnTo>
                  <a:lnTo>
                    <a:pt x="216" y="36"/>
                  </a:lnTo>
                  <a:lnTo>
                    <a:pt x="216" y="36"/>
                  </a:lnTo>
                  <a:lnTo>
                    <a:pt x="214" y="36"/>
                  </a:lnTo>
                  <a:lnTo>
                    <a:pt x="212" y="36"/>
                  </a:lnTo>
                  <a:lnTo>
                    <a:pt x="212" y="36"/>
                  </a:lnTo>
                  <a:lnTo>
                    <a:pt x="209" y="36"/>
                  </a:lnTo>
                  <a:lnTo>
                    <a:pt x="209" y="36"/>
                  </a:lnTo>
                  <a:lnTo>
                    <a:pt x="207" y="36"/>
                  </a:lnTo>
                  <a:lnTo>
                    <a:pt x="205" y="34"/>
                  </a:lnTo>
                  <a:lnTo>
                    <a:pt x="201" y="34"/>
                  </a:lnTo>
                  <a:lnTo>
                    <a:pt x="199" y="32"/>
                  </a:lnTo>
                  <a:lnTo>
                    <a:pt x="197" y="30"/>
                  </a:lnTo>
                  <a:lnTo>
                    <a:pt x="195" y="28"/>
                  </a:lnTo>
                  <a:lnTo>
                    <a:pt x="193" y="28"/>
                  </a:lnTo>
                  <a:lnTo>
                    <a:pt x="191" y="28"/>
                  </a:lnTo>
                  <a:lnTo>
                    <a:pt x="186" y="28"/>
                  </a:lnTo>
                  <a:lnTo>
                    <a:pt x="182" y="28"/>
                  </a:lnTo>
                  <a:lnTo>
                    <a:pt x="180" y="26"/>
                  </a:lnTo>
                  <a:lnTo>
                    <a:pt x="180" y="26"/>
                  </a:lnTo>
                  <a:lnTo>
                    <a:pt x="178" y="26"/>
                  </a:lnTo>
                  <a:lnTo>
                    <a:pt x="172" y="26"/>
                  </a:lnTo>
                  <a:lnTo>
                    <a:pt x="170" y="26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3" y="19"/>
                  </a:lnTo>
                  <a:lnTo>
                    <a:pt x="161" y="19"/>
                  </a:lnTo>
                  <a:lnTo>
                    <a:pt x="157" y="17"/>
                  </a:lnTo>
                  <a:lnTo>
                    <a:pt x="157" y="19"/>
                  </a:lnTo>
                  <a:lnTo>
                    <a:pt x="157" y="19"/>
                  </a:lnTo>
                  <a:lnTo>
                    <a:pt x="157" y="21"/>
                  </a:lnTo>
                  <a:lnTo>
                    <a:pt x="155" y="21"/>
                  </a:lnTo>
                  <a:lnTo>
                    <a:pt x="155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1" y="19"/>
                  </a:lnTo>
                  <a:lnTo>
                    <a:pt x="147" y="21"/>
                  </a:lnTo>
                  <a:lnTo>
                    <a:pt x="145" y="21"/>
                  </a:lnTo>
                  <a:lnTo>
                    <a:pt x="142" y="19"/>
                  </a:lnTo>
                  <a:lnTo>
                    <a:pt x="142" y="17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40" y="17"/>
                  </a:lnTo>
                  <a:lnTo>
                    <a:pt x="138" y="19"/>
                  </a:lnTo>
                  <a:lnTo>
                    <a:pt x="136" y="21"/>
                  </a:lnTo>
                  <a:lnTo>
                    <a:pt x="128" y="19"/>
                  </a:lnTo>
                  <a:lnTo>
                    <a:pt x="121" y="23"/>
                  </a:lnTo>
                  <a:lnTo>
                    <a:pt x="119" y="23"/>
                  </a:lnTo>
                  <a:lnTo>
                    <a:pt x="119" y="26"/>
                  </a:lnTo>
                  <a:lnTo>
                    <a:pt x="115" y="28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28"/>
                  </a:lnTo>
                  <a:lnTo>
                    <a:pt x="113" y="28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88" y="34"/>
                  </a:lnTo>
                  <a:lnTo>
                    <a:pt x="88" y="38"/>
                  </a:lnTo>
                  <a:lnTo>
                    <a:pt x="90" y="40"/>
                  </a:lnTo>
                  <a:lnTo>
                    <a:pt x="88" y="42"/>
                  </a:lnTo>
                  <a:lnTo>
                    <a:pt x="84" y="47"/>
                  </a:lnTo>
                  <a:lnTo>
                    <a:pt x="84" y="49"/>
                  </a:lnTo>
                  <a:lnTo>
                    <a:pt x="82" y="51"/>
                  </a:lnTo>
                  <a:lnTo>
                    <a:pt x="82" y="65"/>
                  </a:lnTo>
                  <a:lnTo>
                    <a:pt x="84" y="68"/>
                  </a:lnTo>
                  <a:lnTo>
                    <a:pt x="84" y="70"/>
                  </a:lnTo>
                  <a:lnTo>
                    <a:pt x="86" y="70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90" y="72"/>
                  </a:lnTo>
                  <a:lnTo>
                    <a:pt x="90" y="72"/>
                  </a:lnTo>
                  <a:lnTo>
                    <a:pt x="92" y="76"/>
                  </a:lnTo>
                  <a:lnTo>
                    <a:pt x="92" y="78"/>
                  </a:lnTo>
                  <a:lnTo>
                    <a:pt x="94" y="78"/>
                  </a:lnTo>
                  <a:lnTo>
                    <a:pt x="94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8" y="72"/>
                  </a:lnTo>
                  <a:lnTo>
                    <a:pt x="107" y="70"/>
                  </a:lnTo>
                  <a:lnTo>
                    <a:pt x="109" y="70"/>
                  </a:lnTo>
                  <a:lnTo>
                    <a:pt x="113" y="68"/>
                  </a:lnTo>
                  <a:lnTo>
                    <a:pt x="115" y="68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21" y="72"/>
                  </a:lnTo>
                  <a:lnTo>
                    <a:pt x="124" y="72"/>
                  </a:lnTo>
                  <a:lnTo>
                    <a:pt x="128" y="74"/>
                  </a:lnTo>
                  <a:lnTo>
                    <a:pt x="132" y="74"/>
                  </a:lnTo>
                  <a:lnTo>
                    <a:pt x="136" y="70"/>
                  </a:lnTo>
                  <a:lnTo>
                    <a:pt x="138" y="72"/>
                  </a:lnTo>
                  <a:lnTo>
                    <a:pt x="138" y="70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42" y="70"/>
                  </a:lnTo>
                  <a:lnTo>
                    <a:pt x="145" y="72"/>
                  </a:lnTo>
                  <a:lnTo>
                    <a:pt x="147" y="72"/>
                  </a:lnTo>
                  <a:lnTo>
                    <a:pt x="151" y="70"/>
                  </a:lnTo>
                  <a:lnTo>
                    <a:pt x="153" y="70"/>
                  </a:lnTo>
                  <a:lnTo>
                    <a:pt x="155" y="70"/>
                  </a:lnTo>
                  <a:lnTo>
                    <a:pt x="157" y="70"/>
                  </a:lnTo>
                  <a:lnTo>
                    <a:pt x="157" y="70"/>
                  </a:lnTo>
                  <a:lnTo>
                    <a:pt x="157" y="72"/>
                  </a:lnTo>
                  <a:lnTo>
                    <a:pt x="159" y="72"/>
                  </a:lnTo>
                  <a:lnTo>
                    <a:pt x="159" y="74"/>
                  </a:lnTo>
                  <a:lnTo>
                    <a:pt x="161" y="74"/>
                  </a:lnTo>
                  <a:lnTo>
                    <a:pt x="163" y="76"/>
                  </a:lnTo>
                  <a:lnTo>
                    <a:pt x="163" y="74"/>
                  </a:lnTo>
                  <a:lnTo>
                    <a:pt x="165" y="74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70" y="78"/>
                  </a:lnTo>
                  <a:lnTo>
                    <a:pt x="172" y="78"/>
                  </a:lnTo>
                  <a:lnTo>
                    <a:pt x="174" y="76"/>
                  </a:lnTo>
                  <a:lnTo>
                    <a:pt x="174" y="76"/>
                  </a:lnTo>
                  <a:lnTo>
                    <a:pt x="174" y="74"/>
                  </a:lnTo>
                  <a:lnTo>
                    <a:pt x="176" y="72"/>
                  </a:lnTo>
                  <a:lnTo>
                    <a:pt x="178" y="72"/>
                  </a:lnTo>
                  <a:lnTo>
                    <a:pt x="180" y="72"/>
                  </a:lnTo>
                  <a:lnTo>
                    <a:pt x="180" y="74"/>
                  </a:lnTo>
                  <a:lnTo>
                    <a:pt x="182" y="76"/>
                  </a:lnTo>
                  <a:lnTo>
                    <a:pt x="182" y="78"/>
                  </a:lnTo>
                  <a:lnTo>
                    <a:pt x="186" y="82"/>
                  </a:lnTo>
                  <a:lnTo>
                    <a:pt x="189" y="82"/>
                  </a:lnTo>
                  <a:lnTo>
                    <a:pt x="189" y="82"/>
                  </a:lnTo>
                  <a:lnTo>
                    <a:pt x="191" y="82"/>
                  </a:lnTo>
                  <a:lnTo>
                    <a:pt x="193" y="82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201" y="84"/>
                  </a:lnTo>
                  <a:lnTo>
                    <a:pt x="207" y="80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24" y="82"/>
                  </a:lnTo>
                  <a:lnTo>
                    <a:pt x="228" y="82"/>
                  </a:lnTo>
                  <a:lnTo>
                    <a:pt x="230" y="78"/>
                  </a:lnTo>
                  <a:lnTo>
                    <a:pt x="230" y="76"/>
                  </a:lnTo>
                  <a:lnTo>
                    <a:pt x="230" y="74"/>
                  </a:lnTo>
                  <a:lnTo>
                    <a:pt x="230" y="72"/>
                  </a:lnTo>
                  <a:lnTo>
                    <a:pt x="230" y="70"/>
                  </a:lnTo>
                  <a:lnTo>
                    <a:pt x="233" y="70"/>
                  </a:lnTo>
                  <a:lnTo>
                    <a:pt x="235" y="70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9" y="72"/>
                  </a:lnTo>
                  <a:lnTo>
                    <a:pt x="253" y="74"/>
                  </a:lnTo>
                  <a:lnTo>
                    <a:pt x="256" y="76"/>
                  </a:lnTo>
                  <a:lnTo>
                    <a:pt x="256" y="80"/>
                  </a:lnTo>
                  <a:lnTo>
                    <a:pt x="256" y="80"/>
                  </a:lnTo>
                  <a:lnTo>
                    <a:pt x="258" y="80"/>
                  </a:lnTo>
                  <a:lnTo>
                    <a:pt x="260" y="76"/>
                  </a:lnTo>
                  <a:lnTo>
                    <a:pt x="260" y="76"/>
                  </a:lnTo>
                  <a:lnTo>
                    <a:pt x="262" y="76"/>
                  </a:lnTo>
                  <a:lnTo>
                    <a:pt x="262" y="78"/>
                  </a:lnTo>
                  <a:lnTo>
                    <a:pt x="264" y="78"/>
                  </a:lnTo>
                  <a:lnTo>
                    <a:pt x="266" y="78"/>
                  </a:lnTo>
                  <a:lnTo>
                    <a:pt x="266" y="78"/>
                  </a:lnTo>
                  <a:lnTo>
                    <a:pt x="268" y="78"/>
                  </a:lnTo>
                  <a:lnTo>
                    <a:pt x="268" y="78"/>
                  </a:lnTo>
                  <a:lnTo>
                    <a:pt x="270" y="78"/>
                  </a:lnTo>
                  <a:lnTo>
                    <a:pt x="274" y="76"/>
                  </a:lnTo>
                  <a:lnTo>
                    <a:pt x="279" y="74"/>
                  </a:lnTo>
                  <a:lnTo>
                    <a:pt x="289" y="72"/>
                  </a:lnTo>
                  <a:lnTo>
                    <a:pt x="293" y="70"/>
                  </a:lnTo>
                  <a:lnTo>
                    <a:pt x="297" y="65"/>
                  </a:lnTo>
                  <a:lnTo>
                    <a:pt x="300" y="63"/>
                  </a:lnTo>
                  <a:lnTo>
                    <a:pt x="306" y="63"/>
                  </a:lnTo>
                  <a:lnTo>
                    <a:pt x="310" y="65"/>
                  </a:lnTo>
                  <a:lnTo>
                    <a:pt x="314" y="65"/>
                  </a:lnTo>
                  <a:lnTo>
                    <a:pt x="314" y="65"/>
                  </a:lnTo>
                  <a:lnTo>
                    <a:pt x="316" y="65"/>
                  </a:lnTo>
                  <a:lnTo>
                    <a:pt x="318" y="65"/>
                  </a:lnTo>
                  <a:lnTo>
                    <a:pt x="329" y="65"/>
                  </a:lnTo>
                  <a:lnTo>
                    <a:pt x="331" y="63"/>
                  </a:lnTo>
                  <a:lnTo>
                    <a:pt x="337" y="61"/>
                  </a:lnTo>
                  <a:lnTo>
                    <a:pt x="339" y="61"/>
                  </a:lnTo>
                  <a:lnTo>
                    <a:pt x="341" y="59"/>
                  </a:lnTo>
                  <a:lnTo>
                    <a:pt x="344" y="59"/>
                  </a:lnTo>
                  <a:lnTo>
                    <a:pt x="350" y="57"/>
                  </a:lnTo>
                  <a:lnTo>
                    <a:pt x="350" y="57"/>
                  </a:lnTo>
                  <a:lnTo>
                    <a:pt x="352" y="55"/>
                  </a:lnTo>
                  <a:lnTo>
                    <a:pt x="354" y="55"/>
                  </a:lnTo>
                  <a:lnTo>
                    <a:pt x="354" y="55"/>
                  </a:lnTo>
                  <a:lnTo>
                    <a:pt x="358" y="55"/>
                  </a:lnTo>
                  <a:lnTo>
                    <a:pt x="358" y="55"/>
                  </a:lnTo>
                  <a:lnTo>
                    <a:pt x="360" y="53"/>
                  </a:lnTo>
                  <a:lnTo>
                    <a:pt x="360" y="53"/>
                  </a:lnTo>
                  <a:lnTo>
                    <a:pt x="364" y="53"/>
                  </a:lnTo>
                  <a:lnTo>
                    <a:pt x="367" y="53"/>
                  </a:lnTo>
                  <a:lnTo>
                    <a:pt x="369" y="51"/>
                  </a:lnTo>
                  <a:lnTo>
                    <a:pt x="369" y="47"/>
                  </a:lnTo>
                  <a:close/>
                  <a:moveTo>
                    <a:pt x="421" y="242"/>
                  </a:moveTo>
                  <a:lnTo>
                    <a:pt x="419" y="242"/>
                  </a:lnTo>
                  <a:lnTo>
                    <a:pt x="419" y="242"/>
                  </a:lnTo>
                  <a:lnTo>
                    <a:pt x="417" y="242"/>
                  </a:lnTo>
                  <a:lnTo>
                    <a:pt x="417" y="240"/>
                  </a:lnTo>
                  <a:lnTo>
                    <a:pt x="419" y="240"/>
                  </a:lnTo>
                  <a:lnTo>
                    <a:pt x="419" y="240"/>
                  </a:lnTo>
                  <a:lnTo>
                    <a:pt x="419" y="238"/>
                  </a:lnTo>
                  <a:lnTo>
                    <a:pt x="419" y="238"/>
                  </a:lnTo>
                  <a:lnTo>
                    <a:pt x="419" y="238"/>
                  </a:lnTo>
                  <a:lnTo>
                    <a:pt x="421" y="236"/>
                  </a:lnTo>
                  <a:lnTo>
                    <a:pt x="421" y="234"/>
                  </a:lnTo>
                  <a:lnTo>
                    <a:pt x="419" y="231"/>
                  </a:lnTo>
                  <a:lnTo>
                    <a:pt x="421" y="229"/>
                  </a:lnTo>
                  <a:lnTo>
                    <a:pt x="421" y="229"/>
                  </a:lnTo>
                  <a:lnTo>
                    <a:pt x="421" y="227"/>
                  </a:lnTo>
                  <a:lnTo>
                    <a:pt x="421" y="227"/>
                  </a:lnTo>
                  <a:lnTo>
                    <a:pt x="419" y="227"/>
                  </a:lnTo>
                  <a:lnTo>
                    <a:pt x="417" y="231"/>
                  </a:lnTo>
                  <a:lnTo>
                    <a:pt x="415" y="231"/>
                  </a:lnTo>
                  <a:lnTo>
                    <a:pt x="411" y="234"/>
                  </a:lnTo>
                  <a:lnTo>
                    <a:pt x="406" y="236"/>
                  </a:lnTo>
                  <a:lnTo>
                    <a:pt x="404" y="238"/>
                  </a:lnTo>
                  <a:lnTo>
                    <a:pt x="404" y="238"/>
                  </a:lnTo>
                  <a:lnTo>
                    <a:pt x="404" y="240"/>
                  </a:lnTo>
                  <a:lnTo>
                    <a:pt x="404" y="240"/>
                  </a:lnTo>
                  <a:lnTo>
                    <a:pt x="402" y="240"/>
                  </a:lnTo>
                  <a:lnTo>
                    <a:pt x="402" y="240"/>
                  </a:lnTo>
                  <a:lnTo>
                    <a:pt x="402" y="242"/>
                  </a:lnTo>
                  <a:lnTo>
                    <a:pt x="400" y="244"/>
                  </a:lnTo>
                  <a:lnTo>
                    <a:pt x="400" y="244"/>
                  </a:lnTo>
                  <a:lnTo>
                    <a:pt x="400" y="246"/>
                  </a:lnTo>
                  <a:lnTo>
                    <a:pt x="396" y="246"/>
                  </a:lnTo>
                  <a:lnTo>
                    <a:pt x="394" y="248"/>
                  </a:lnTo>
                  <a:lnTo>
                    <a:pt x="388" y="252"/>
                  </a:lnTo>
                  <a:lnTo>
                    <a:pt x="385" y="255"/>
                  </a:lnTo>
                  <a:lnTo>
                    <a:pt x="385" y="255"/>
                  </a:lnTo>
                  <a:lnTo>
                    <a:pt x="383" y="255"/>
                  </a:lnTo>
                  <a:lnTo>
                    <a:pt x="383" y="255"/>
                  </a:lnTo>
                  <a:lnTo>
                    <a:pt x="381" y="255"/>
                  </a:lnTo>
                  <a:lnTo>
                    <a:pt x="381" y="255"/>
                  </a:lnTo>
                  <a:lnTo>
                    <a:pt x="381" y="255"/>
                  </a:lnTo>
                  <a:lnTo>
                    <a:pt x="379" y="255"/>
                  </a:lnTo>
                  <a:lnTo>
                    <a:pt x="377" y="255"/>
                  </a:lnTo>
                  <a:lnTo>
                    <a:pt x="371" y="257"/>
                  </a:lnTo>
                  <a:lnTo>
                    <a:pt x="369" y="259"/>
                  </a:lnTo>
                  <a:lnTo>
                    <a:pt x="367" y="259"/>
                  </a:lnTo>
                  <a:lnTo>
                    <a:pt x="367" y="261"/>
                  </a:lnTo>
                  <a:lnTo>
                    <a:pt x="367" y="261"/>
                  </a:lnTo>
                  <a:lnTo>
                    <a:pt x="367" y="269"/>
                  </a:lnTo>
                  <a:lnTo>
                    <a:pt x="369" y="273"/>
                  </a:lnTo>
                  <a:lnTo>
                    <a:pt x="373" y="273"/>
                  </a:lnTo>
                  <a:lnTo>
                    <a:pt x="381" y="271"/>
                  </a:lnTo>
                  <a:lnTo>
                    <a:pt x="381" y="271"/>
                  </a:lnTo>
                  <a:lnTo>
                    <a:pt x="379" y="269"/>
                  </a:lnTo>
                  <a:lnTo>
                    <a:pt x="381" y="269"/>
                  </a:lnTo>
                  <a:lnTo>
                    <a:pt x="383" y="267"/>
                  </a:lnTo>
                  <a:lnTo>
                    <a:pt x="398" y="263"/>
                  </a:lnTo>
                  <a:lnTo>
                    <a:pt x="400" y="263"/>
                  </a:lnTo>
                  <a:lnTo>
                    <a:pt x="404" y="263"/>
                  </a:lnTo>
                  <a:lnTo>
                    <a:pt x="406" y="261"/>
                  </a:lnTo>
                  <a:lnTo>
                    <a:pt x="406" y="259"/>
                  </a:lnTo>
                  <a:lnTo>
                    <a:pt x="406" y="259"/>
                  </a:lnTo>
                  <a:lnTo>
                    <a:pt x="406" y="257"/>
                  </a:lnTo>
                  <a:lnTo>
                    <a:pt x="406" y="255"/>
                  </a:lnTo>
                  <a:lnTo>
                    <a:pt x="408" y="255"/>
                  </a:lnTo>
                  <a:lnTo>
                    <a:pt x="408" y="255"/>
                  </a:lnTo>
                  <a:lnTo>
                    <a:pt x="411" y="255"/>
                  </a:lnTo>
                  <a:lnTo>
                    <a:pt x="415" y="250"/>
                  </a:lnTo>
                  <a:lnTo>
                    <a:pt x="417" y="250"/>
                  </a:lnTo>
                  <a:lnTo>
                    <a:pt x="419" y="250"/>
                  </a:lnTo>
                  <a:lnTo>
                    <a:pt x="421" y="250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3" y="244"/>
                  </a:lnTo>
                  <a:lnTo>
                    <a:pt x="423" y="242"/>
                  </a:lnTo>
                  <a:lnTo>
                    <a:pt x="421" y="242"/>
                  </a:lnTo>
                  <a:close/>
                  <a:moveTo>
                    <a:pt x="354" y="263"/>
                  </a:moveTo>
                  <a:lnTo>
                    <a:pt x="352" y="263"/>
                  </a:lnTo>
                  <a:lnTo>
                    <a:pt x="352" y="261"/>
                  </a:lnTo>
                  <a:lnTo>
                    <a:pt x="352" y="261"/>
                  </a:lnTo>
                  <a:lnTo>
                    <a:pt x="350" y="261"/>
                  </a:lnTo>
                  <a:lnTo>
                    <a:pt x="350" y="263"/>
                  </a:lnTo>
                  <a:lnTo>
                    <a:pt x="352" y="263"/>
                  </a:lnTo>
                  <a:lnTo>
                    <a:pt x="354" y="265"/>
                  </a:lnTo>
                  <a:lnTo>
                    <a:pt x="354" y="263"/>
                  </a:lnTo>
                  <a:lnTo>
                    <a:pt x="354" y="265"/>
                  </a:lnTo>
                  <a:lnTo>
                    <a:pt x="354" y="263"/>
                  </a:lnTo>
                  <a:lnTo>
                    <a:pt x="354" y="263"/>
                  </a:lnTo>
                  <a:lnTo>
                    <a:pt x="354" y="263"/>
                  </a:lnTo>
                  <a:close/>
                  <a:moveTo>
                    <a:pt x="589" y="95"/>
                  </a:moveTo>
                  <a:lnTo>
                    <a:pt x="587" y="93"/>
                  </a:lnTo>
                  <a:lnTo>
                    <a:pt x="587" y="93"/>
                  </a:lnTo>
                  <a:lnTo>
                    <a:pt x="584" y="91"/>
                  </a:lnTo>
                  <a:lnTo>
                    <a:pt x="582" y="91"/>
                  </a:lnTo>
                  <a:lnTo>
                    <a:pt x="582" y="89"/>
                  </a:lnTo>
                  <a:lnTo>
                    <a:pt x="580" y="89"/>
                  </a:lnTo>
                  <a:lnTo>
                    <a:pt x="580" y="89"/>
                  </a:lnTo>
                  <a:lnTo>
                    <a:pt x="580" y="89"/>
                  </a:lnTo>
                  <a:lnTo>
                    <a:pt x="580" y="89"/>
                  </a:lnTo>
                  <a:lnTo>
                    <a:pt x="578" y="91"/>
                  </a:lnTo>
                  <a:lnTo>
                    <a:pt x="578" y="93"/>
                  </a:lnTo>
                  <a:lnTo>
                    <a:pt x="578" y="93"/>
                  </a:lnTo>
                  <a:lnTo>
                    <a:pt x="574" y="95"/>
                  </a:lnTo>
                  <a:lnTo>
                    <a:pt x="570" y="97"/>
                  </a:lnTo>
                  <a:lnTo>
                    <a:pt x="570" y="97"/>
                  </a:lnTo>
                  <a:lnTo>
                    <a:pt x="568" y="97"/>
                  </a:lnTo>
                  <a:lnTo>
                    <a:pt x="566" y="97"/>
                  </a:lnTo>
                  <a:lnTo>
                    <a:pt x="566" y="95"/>
                  </a:lnTo>
                  <a:lnTo>
                    <a:pt x="563" y="95"/>
                  </a:lnTo>
                  <a:lnTo>
                    <a:pt x="563" y="93"/>
                  </a:lnTo>
                  <a:lnTo>
                    <a:pt x="563" y="91"/>
                  </a:lnTo>
                  <a:lnTo>
                    <a:pt x="566" y="89"/>
                  </a:lnTo>
                  <a:lnTo>
                    <a:pt x="566" y="87"/>
                  </a:lnTo>
                  <a:lnTo>
                    <a:pt x="566" y="87"/>
                  </a:lnTo>
                  <a:lnTo>
                    <a:pt x="563" y="87"/>
                  </a:lnTo>
                  <a:lnTo>
                    <a:pt x="559" y="89"/>
                  </a:lnTo>
                  <a:lnTo>
                    <a:pt x="557" y="91"/>
                  </a:lnTo>
                  <a:lnTo>
                    <a:pt x="555" y="91"/>
                  </a:lnTo>
                  <a:lnTo>
                    <a:pt x="553" y="91"/>
                  </a:lnTo>
                  <a:lnTo>
                    <a:pt x="551" y="93"/>
                  </a:lnTo>
                  <a:lnTo>
                    <a:pt x="549" y="95"/>
                  </a:lnTo>
                  <a:lnTo>
                    <a:pt x="543" y="97"/>
                  </a:lnTo>
                  <a:lnTo>
                    <a:pt x="543" y="97"/>
                  </a:lnTo>
                  <a:lnTo>
                    <a:pt x="543" y="97"/>
                  </a:lnTo>
                  <a:lnTo>
                    <a:pt x="543" y="99"/>
                  </a:lnTo>
                  <a:lnTo>
                    <a:pt x="543" y="99"/>
                  </a:lnTo>
                  <a:lnTo>
                    <a:pt x="540" y="101"/>
                  </a:lnTo>
                  <a:lnTo>
                    <a:pt x="534" y="105"/>
                  </a:lnTo>
                  <a:lnTo>
                    <a:pt x="532" y="105"/>
                  </a:lnTo>
                  <a:lnTo>
                    <a:pt x="528" y="108"/>
                  </a:lnTo>
                  <a:lnTo>
                    <a:pt x="522" y="108"/>
                  </a:lnTo>
                  <a:lnTo>
                    <a:pt x="522" y="108"/>
                  </a:lnTo>
                  <a:lnTo>
                    <a:pt x="522" y="110"/>
                  </a:lnTo>
                  <a:lnTo>
                    <a:pt x="519" y="114"/>
                  </a:lnTo>
                  <a:lnTo>
                    <a:pt x="519" y="118"/>
                  </a:lnTo>
                  <a:lnTo>
                    <a:pt x="519" y="118"/>
                  </a:lnTo>
                  <a:lnTo>
                    <a:pt x="517" y="118"/>
                  </a:lnTo>
                  <a:lnTo>
                    <a:pt x="517" y="118"/>
                  </a:lnTo>
                  <a:lnTo>
                    <a:pt x="515" y="122"/>
                  </a:lnTo>
                  <a:lnTo>
                    <a:pt x="513" y="124"/>
                  </a:lnTo>
                  <a:lnTo>
                    <a:pt x="513" y="124"/>
                  </a:lnTo>
                  <a:lnTo>
                    <a:pt x="511" y="124"/>
                  </a:lnTo>
                  <a:lnTo>
                    <a:pt x="511" y="124"/>
                  </a:lnTo>
                  <a:lnTo>
                    <a:pt x="511" y="124"/>
                  </a:lnTo>
                  <a:lnTo>
                    <a:pt x="511" y="129"/>
                  </a:lnTo>
                  <a:lnTo>
                    <a:pt x="511" y="129"/>
                  </a:lnTo>
                  <a:lnTo>
                    <a:pt x="509" y="131"/>
                  </a:lnTo>
                  <a:lnTo>
                    <a:pt x="509" y="131"/>
                  </a:lnTo>
                  <a:lnTo>
                    <a:pt x="509" y="131"/>
                  </a:lnTo>
                  <a:lnTo>
                    <a:pt x="509" y="133"/>
                  </a:lnTo>
                  <a:lnTo>
                    <a:pt x="509" y="135"/>
                  </a:lnTo>
                  <a:lnTo>
                    <a:pt x="509" y="135"/>
                  </a:lnTo>
                  <a:lnTo>
                    <a:pt x="507" y="137"/>
                  </a:lnTo>
                  <a:lnTo>
                    <a:pt x="505" y="137"/>
                  </a:lnTo>
                  <a:lnTo>
                    <a:pt x="505" y="137"/>
                  </a:lnTo>
                  <a:lnTo>
                    <a:pt x="503" y="137"/>
                  </a:lnTo>
                  <a:lnTo>
                    <a:pt x="503" y="137"/>
                  </a:lnTo>
                  <a:lnTo>
                    <a:pt x="503" y="137"/>
                  </a:lnTo>
                  <a:lnTo>
                    <a:pt x="503" y="137"/>
                  </a:lnTo>
                  <a:lnTo>
                    <a:pt x="503" y="135"/>
                  </a:lnTo>
                  <a:lnTo>
                    <a:pt x="503" y="133"/>
                  </a:lnTo>
                  <a:lnTo>
                    <a:pt x="503" y="133"/>
                  </a:lnTo>
                  <a:lnTo>
                    <a:pt x="503" y="131"/>
                  </a:lnTo>
                  <a:lnTo>
                    <a:pt x="501" y="131"/>
                  </a:lnTo>
                  <a:lnTo>
                    <a:pt x="501" y="129"/>
                  </a:lnTo>
                  <a:lnTo>
                    <a:pt x="499" y="126"/>
                  </a:lnTo>
                  <a:lnTo>
                    <a:pt x="499" y="126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4" y="126"/>
                  </a:lnTo>
                  <a:lnTo>
                    <a:pt x="492" y="126"/>
                  </a:lnTo>
                  <a:lnTo>
                    <a:pt x="490" y="131"/>
                  </a:lnTo>
                  <a:lnTo>
                    <a:pt x="490" y="131"/>
                  </a:lnTo>
                  <a:lnTo>
                    <a:pt x="486" y="131"/>
                  </a:lnTo>
                  <a:lnTo>
                    <a:pt x="484" y="129"/>
                  </a:lnTo>
                  <a:lnTo>
                    <a:pt x="482" y="122"/>
                  </a:lnTo>
                  <a:lnTo>
                    <a:pt x="480" y="122"/>
                  </a:lnTo>
                  <a:lnTo>
                    <a:pt x="478" y="122"/>
                  </a:lnTo>
                  <a:lnTo>
                    <a:pt x="475" y="124"/>
                  </a:lnTo>
                  <a:lnTo>
                    <a:pt x="473" y="126"/>
                  </a:lnTo>
                  <a:lnTo>
                    <a:pt x="469" y="131"/>
                  </a:lnTo>
                  <a:lnTo>
                    <a:pt x="469" y="131"/>
                  </a:lnTo>
                  <a:lnTo>
                    <a:pt x="469" y="131"/>
                  </a:lnTo>
                  <a:lnTo>
                    <a:pt x="465" y="137"/>
                  </a:lnTo>
                  <a:lnTo>
                    <a:pt x="465" y="137"/>
                  </a:lnTo>
                  <a:lnTo>
                    <a:pt x="463" y="137"/>
                  </a:lnTo>
                  <a:lnTo>
                    <a:pt x="463" y="137"/>
                  </a:lnTo>
                  <a:lnTo>
                    <a:pt x="463" y="137"/>
                  </a:lnTo>
                  <a:lnTo>
                    <a:pt x="461" y="137"/>
                  </a:lnTo>
                  <a:lnTo>
                    <a:pt x="461" y="139"/>
                  </a:lnTo>
                  <a:lnTo>
                    <a:pt x="461" y="139"/>
                  </a:lnTo>
                  <a:lnTo>
                    <a:pt x="459" y="139"/>
                  </a:lnTo>
                  <a:lnTo>
                    <a:pt x="459" y="139"/>
                  </a:lnTo>
                  <a:lnTo>
                    <a:pt x="459" y="139"/>
                  </a:lnTo>
                  <a:lnTo>
                    <a:pt x="455" y="143"/>
                  </a:lnTo>
                  <a:lnTo>
                    <a:pt x="455" y="145"/>
                  </a:lnTo>
                  <a:lnTo>
                    <a:pt x="450" y="145"/>
                  </a:lnTo>
                  <a:lnTo>
                    <a:pt x="448" y="147"/>
                  </a:lnTo>
                  <a:lnTo>
                    <a:pt x="448" y="150"/>
                  </a:lnTo>
                  <a:lnTo>
                    <a:pt x="446" y="152"/>
                  </a:lnTo>
                  <a:lnTo>
                    <a:pt x="446" y="160"/>
                  </a:lnTo>
                  <a:lnTo>
                    <a:pt x="446" y="162"/>
                  </a:lnTo>
                  <a:lnTo>
                    <a:pt x="446" y="162"/>
                  </a:lnTo>
                  <a:lnTo>
                    <a:pt x="446" y="162"/>
                  </a:lnTo>
                  <a:lnTo>
                    <a:pt x="444" y="164"/>
                  </a:lnTo>
                  <a:lnTo>
                    <a:pt x="444" y="164"/>
                  </a:lnTo>
                  <a:lnTo>
                    <a:pt x="444" y="166"/>
                  </a:lnTo>
                  <a:lnTo>
                    <a:pt x="446" y="168"/>
                  </a:lnTo>
                  <a:lnTo>
                    <a:pt x="446" y="168"/>
                  </a:lnTo>
                  <a:lnTo>
                    <a:pt x="446" y="171"/>
                  </a:lnTo>
                  <a:lnTo>
                    <a:pt x="446" y="173"/>
                  </a:lnTo>
                  <a:lnTo>
                    <a:pt x="446" y="175"/>
                  </a:lnTo>
                  <a:lnTo>
                    <a:pt x="444" y="177"/>
                  </a:lnTo>
                  <a:lnTo>
                    <a:pt x="440" y="179"/>
                  </a:lnTo>
                  <a:lnTo>
                    <a:pt x="440" y="179"/>
                  </a:lnTo>
                  <a:lnTo>
                    <a:pt x="438" y="185"/>
                  </a:lnTo>
                  <a:lnTo>
                    <a:pt x="438" y="187"/>
                  </a:lnTo>
                  <a:lnTo>
                    <a:pt x="440" y="189"/>
                  </a:lnTo>
                  <a:lnTo>
                    <a:pt x="442" y="189"/>
                  </a:lnTo>
                  <a:lnTo>
                    <a:pt x="444" y="187"/>
                  </a:lnTo>
                  <a:lnTo>
                    <a:pt x="446" y="187"/>
                  </a:lnTo>
                  <a:lnTo>
                    <a:pt x="448" y="187"/>
                  </a:lnTo>
                  <a:lnTo>
                    <a:pt x="450" y="187"/>
                  </a:lnTo>
                  <a:lnTo>
                    <a:pt x="452" y="189"/>
                  </a:lnTo>
                  <a:lnTo>
                    <a:pt x="455" y="189"/>
                  </a:lnTo>
                  <a:lnTo>
                    <a:pt x="457" y="192"/>
                  </a:lnTo>
                  <a:lnTo>
                    <a:pt x="455" y="194"/>
                  </a:lnTo>
                  <a:lnTo>
                    <a:pt x="446" y="198"/>
                  </a:lnTo>
                  <a:lnTo>
                    <a:pt x="446" y="200"/>
                  </a:lnTo>
                  <a:lnTo>
                    <a:pt x="442" y="200"/>
                  </a:lnTo>
                  <a:lnTo>
                    <a:pt x="442" y="200"/>
                  </a:lnTo>
                  <a:lnTo>
                    <a:pt x="440" y="200"/>
                  </a:lnTo>
                  <a:lnTo>
                    <a:pt x="436" y="202"/>
                  </a:lnTo>
                  <a:lnTo>
                    <a:pt x="432" y="206"/>
                  </a:lnTo>
                  <a:lnTo>
                    <a:pt x="432" y="206"/>
                  </a:lnTo>
                  <a:lnTo>
                    <a:pt x="429" y="208"/>
                  </a:lnTo>
                  <a:lnTo>
                    <a:pt x="432" y="213"/>
                  </a:lnTo>
                  <a:lnTo>
                    <a:pt x="429" y="215"/>
                  </a:lnTo>
                  <a:lnTo>
                    <a:pt x="429" y="217"/>
                  </a:lnTo>
                  <a:lnTo>
                    <a:pt x="429" y="219"/>
                  </a:lnTo>
                  <a:lnTo>
                    <a:pt x="427" y="219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29" y="219"/>
                  </a:lnTo>
                  <a:lnTo>
                    <a:pt x="432" y="219"/>
                  </a:lnTo>
                  <a:lnTo>
                    <a:pt x="432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8" y="217"/>
                  </a:lnTo>
                  <a:lnTo>
                    <a:pt x="440" y="219"/>
                  </a:lnTo>
                  <a:lnTo>
                    <a:pt x="442" y="221"/>
                  </a:lnTo>
                  <a:lnTo>
                    <a:pt x="444" y="219"/>
                  </a:lnTo>
                  <a:lnTo>
                    <a:pt x="446" y="219"/>
                  </a:lnTo>
                  <a:lnTo>
                    <a:pt x="448" y="219"/>
                  </a:lnTo>
                  <a:lnTo>
                    <a:pt x="450" y="221"/>
                  </a:lnTo>
                  <a:lnTo>
                    <a:pt x="452" y="221"/>
                  </a:lnTo>
                  <a:lnTo>
                    <a:pt x="455" y="219"/>
                  </a:lnTo>
                  <a:lnTo>
                    <a:pt x="457" y="219"/>
                  </a:lnTo>
                  <a:lnTo>
                    <a:pt x="459" y="221"/>
                  </a:lnTo>
                  <a:lnTo>
                    <a:pt x="459" y="221"/>
                  </a:lnTo>
                  <a:lnTo>
                    <a:pt x="461" y="219"/>
                  </a:lnTo>
                  <a:lnTo>
                    <a:pt x="471" y="213"/>
                  </a:lnTo>
                  <a:lnTo>
                    <a:pt x="480" y="213"/>
                  </a:lnTo>
                  <a:lnTo>
                    <a:pt x="482" y="210"/>
                  </a:lnTo>
                  <a:lnTo>
                    <a:pt x="482" y="210"/>
                  </a:lnTo>
                  <a:lnTo>
                    <a:pt x="482" y="208"/>
                  </a:lnTo>
                  <a:lnTo>
                    <a:pt x="484" y="208"/>
                  </a:lnTo>
                  <a:lnTo>
                    <a:pt x="486" y="208"/>
                  </a:lnTo>
                  <a:lnTo>
                    <a:pt x="486" y="206"/>
                  </a:lnTo>
                  <a:lnTo>
                    <a:pt x="488" y="202"/>
                  </a:lnTo>
                  <a:lnTo>
                    <a:pt x="490" y="202"/>
                  </a:lnTo>
                  <a:lnTo>
                    <a:pt x="490" y="202"/>
                  </a:lnTo>
                  <a:lnTo>
                    <a:pt x="492" y="202"/>
                  </a:lnTo>
                  <a:lnTo>
                    <a:pt x="494" y="202"/>
                  </a:lnTo>
                  <a:lnTo>
                    <a:pt x="496" y="202"/>
                  </a:lnTo>
                  <a:lnTo>
                    <a:pt x="505" y="200"/>
                  </a:lnTo>
                  <a:lnTo>
                    <a:pt x="513" y="202"/>
                  </a:lnTo>
                  <a:lnTo>
                    <a:pt x="517" y="200"/>
                  </a:lnTo>
                  <a:lnTo>
                    <a:pt x="522" y="200"/>
                  </a:lnTo>
                  <a:lnTo>
                    <a:pt x="526" y="196"/>
                  </a:lnTo>
                  <a:lnTo>
                    <a:pt x="526" y="194"/>
                  </a:lnTo>
                  <a:lnTo>
                    <a:pt x="528" y="194"/>
                  </a:lnTo>
                  <a:lnTo>
                    <a:pt x="530" y="189"/>
                  </a:lnTo>
                  <a:lnTo>
                    <a:pt x="532" y="187"/>
                  </a:lnTo>
                  <a:lnTo>
                    <a:pt x="536" y="183"/>
                  </a:lnTo>
                  <a:lnTo>
                    <a:pt x="538" y="181"/>
                  </a:lnTo>
                  <a:lnTo>
                    <a:pt x="543" y="179"/>
                  </a:lnTo>
                  <a:lnTo>
                    <a:pt x="547" y="175"/>
                  </a:lnTo>
                  <a:lnTo>
                    <a:pt x="549" y="175"/>
                  </a:lnTo>
                  <a:lnTo>
                    <a:pt x="549" y="171"/>
                  </a:lnTo>
                  <a:lnTo>
                    <a:pt x="557" y="160"/>
                  </a:lnTo>
                  <a:lnTo>
                    <a:pt x="561" y="158"/>
                  </a:lnTo>
                  <a:lnTo>
                    <a:pt x="570" y="154"/>
                  </a:lnTo>
                  <a:lnTo>
                    <a:pt x="570" y="152"/>
                  </a:lnTo>
                  <a:lnTo>
                    <a:pt x="572" y="145"/>
                  </a:lnTo>
                  <a:lnTo>
                    <a:pt x="572" y="141"/>
                  </a:lnTo>
                  <a:lnTo>
                    <a:pt x="576" y="139"/>
                  </a:lnTo>
                  <a:lnTo>
                    <a:pt x="578" y="137"/>
                  </a:lnTo>
                  <a:lnTo>
                    <a:pt x="578" y="137"/>
                  </a:lnTo>
                  <a:lnTo>
                    <a:pt x="578" y="137"/>
                  </a:lnTo>
                  <a:lnTo>
                    <a:pt x="578" y="131"/>
                  </a:lnTo>
                  <a:lnTo>
                    <a:pt x="576" y="129"/>
                  </a:lnTo>
                  <a:lnTo>
                    <a:pt x="574" y="124"/>
                  </a:lnTo>
                  <a:lnTo>
                    <a:pt x="574" y="124"/>
                  </a:lnTo>
                  <a:lnTo>
                    <a:pt x="574" y="122"/>
                  </a:lnTo>
                  <a:lnTo>
                    <a:pt x="574" y="122"/>
                  </a:lnTo>
                  <a:lnTo>
                    <a:pt x="574" y="122"/>
                  </a:lnTo>
                  <a:lnTo>
                    <a:pt x="572" y="120"/>
                  </a:lnTo>
                  <a:lnTo>
                    <a:pt x="570" y="118"/>
                  </a:lnTo>
                  <a:lnTo>
                    <a:pt x="570" y="118"/>
                  </a:lnTo>
                  <a:lnTo>
                    <a:pt x="570" y="116"/>
                  </a:lnTo>
                  <a:lnTo>
                    <a:pt x="568" y="112"/>
                  </a:lnTo>
                  <a:lnTo>
                    <a:pt x="568" y="110"/>
                  </a:lnTo>
                  <a:lnTo>
                    <a:pt x="570" y="108"/>
                  </a:lnTo>
                  <a:lnTo>
                    <a:pt x="574" y="108"/>
                  </a:lnTo>
                  <a:lnTo>
                    <a:pt x="576" y="108"/>
                  </a:lnTo>
                  <a:lnTo>
                    <a:pt x="576" y="108"/>
                  </a:lnTo>
                  <a:lnTo>
                    <a:pt x="576" y="108"/>
                  </a:lnTo>
                  <a:lnTo>
                    <a:pt x="578" y="110"/>
                  </a:lnTo>
                  <a:lnTo>
                    <a:pt x="578" y="110"/>
                  </a:lnTo>
                  <a:lnTo>
                    <a:pt x="580" y="110"/>
                  </a:lnTo>
                  <a:lnTo>
                    <a:pt x="580" y="110"/>
                  </a:lnTo>
                  <a:lnTo>
                    <a:pt x="580" y="108"/>
                  </a:lnTo>
                  <a:lnTo>
                    <a:pt x="582" y="108"/>
                  </a:lnTo>
                  <a:lnTo>
                    <a:pt x="584" y="108"/>
                  </a:lnTo>
                  <a:lnTo>
                    <a:pt x="587" y="108"/>
                  </a:lnTo>
                  <a:lnTo>
                    <a:pt x="587" y="108"/>
                  </a:lnTo>
                  <a:lnTo>
                    <a:pt x="587" y="105"/>
                  </a:lnTo>
                  <a:lnTo>
                    <a:pt x="587" y="105"/>
                  </a:lnTo>
                  <a:lnTo>
                    <a:pt x="587" y="105"/>
                  </a:lnTo>
                  <a:lnTo>
                    <a:pt x="587" y="103"/>
                  </a:lnTo>
                  <a:lnTo>
                    <a:pt x="587" y="103"/>
                  </a:lnTo>
                  <a:lnTo>
                    <a:pt x="589" y="97"/>
                  </a:lnTo>
                  <a:lnTo>
                    <a:pt x="589" y="95"/>
                  </a:lnTo>
                  <a:close/>
                  <a:moveTo>
                    <a:pt x="432" y="202"/>
                  </a:moveTo>
                  <a:lnTo>
                    <a:pt x="432" y="202"/>
                  </a:lnTo>
                  <a:lnTo>
                    <a:pt x="429" y="200"/>
                  </a:lnTo>
                  <a:lnTo>
                    <a:pt x="427" y="200"/>
                  </a:lnTo>
                  <a:lnTo>
                    <a:pt x="427" y="198"/>
                  </a:lnTo>
                  <a:lnTo>
                    <a:pt x="425" y="198"/>
                  </a:lnTo>
                  <a:lnTo>
                    <a:pt x="423" y="200"/>
                  </a:lnTo>
                  <a:lnTo>
                    <a:pt x="421" y="200"/>
                  </a:lnTo>
                  <a:lnTo>
                    <a:pt x="421" y="202"/>
                  </a:lnTo>
                  <a:lnTo>
                    <a:pt x="419" y="206"/>
                  </a:lnTo>
                  <a:lnTo>
                    <a:pt x="417" y="208"/>
                  </a:lnTo>
                  <a:lnTo>
                    <a:pt x="415" y="208"/>
                  </a:lnTo>
                  <a:lnTo>
                    <a:pt x="415" y="210"/>
                  </a:lnTo>
                  <a:lnTo>
                    <a:pt x="413" y="213"/>
                  </a:lnTo>
                  <a:lnTo>
                    <a:pt x="413" y="215"/>
                  </a:lnTo>
                  <a:lnTo>
                    <a:pt x="415" y="217"/>
                  </a:lnTo>
                  <a:lnTo>
                    <a:pt x="415" y="217"/>
                  </a:lnTo>
                  <a:lnTo>
                    <a:pt x="417" y="217"/>
                  </a:lnTo>
                  <a:lnTo>
                    <a:pt x="419" y="215"/>
                  </a:lnTo>
                  <a:lnTo>
                    <a:pt x="419" y="215"/>
                  </a:lnTo>
                  <a:lnTo>
                    <a:pt x="419" y="215"/>
                  </a:lnTo>
                  <a:lnTo>
                    <a:pt x="421" y="217"/>
                  </a:lnTo>
                  <a:lnTo>
                    <a:pt x="421" y="217"/>
                  </a:lnTo>
                  <a:lnTo>
                    <a:pt x="421" y="217"/>
                  </a:lnTo>
                  <a:lnTo>
                    <a:pt x="423" y="217"/>
                  </a:lnTo>
                  <a:lnTo>
                    <a:pt x="423" y="217"/>
                  </a:lnTo>
                  <a:lnTo>
                    <a:pt x="423" y="215"/>
                  </a:lnTo>
                  <a:lnTo>
                    <a:pt x="423" y="213"/>
                  </a:lnTo>
                  <a:lnTo>
                    <a:pt x="423" y="210"/>
                  </a:lnTo>
                  <a:lnTo>
                    <a:pt x="421" y="206"/>
                  </a:lnTo>
                  <a:lnTo>
                    <a:pt x="423" y="206"/>
                  </a:lnTo>
                  <a:lnTo>
                    <a:pt x="423" y="208"/>
                  </a:lnTo>
                  <a:lnTo>
                    <a:pt x="425" y="208"/>
                  </a:lnTo>
                  <a:lnTo>
                    <a:pt x="425" y="208"/>
                  </a:lnTo>
                  <a:lnTo>
                    <a:pt x="427" y="206"/>
                  </a:lnTo>
                  <a:lnTo>
                    <a:pt x="427" y="206"/>
                  </a:lnTo>
                  <a:lnTo>
                    <a:pt x="432" y="204"/>
                  </a:lnTo>
                  <a:lnTo>
                    <a:pt x="432" y="202"/>
                  </a:lnTo>
                  <a:close/>
                  <a:moveTo>
                    <a:pt x="42" y="65"/>
                  </a:moveTo>
                  <a:lnTo>
                    <a:pt x="44" y="63"/>
                  </a:lnTo>
                  <a:lnTo>
                    <a:pt x="48" y="65"/>
                  </a:lnTo>
                  <a:lnTo>
                    <a:pt x="50" y="65"/>
                  </a:lnTo>
                  <a:lnTo>
                    <a:pt x="50" y="63"/>
                  </a:lnTo>
                  <a:lnTo>
                    <a:pt x="48" y="61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7"/>
                  </a:lnTo>
                  <a:lnTo>
                    <a:pt x="50" y="55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2" y="55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2" y="51"/>
                  </a:lnTo>
                  <a:lnTo>
                    <a:pt x="52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3" y="49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7" y="40"/>
                  </a:lnTo>
                  <a:lnTo>
                    <a:pt x="52" y="40"/>
                  </a:lnTo>
                  <a:lnTo>
                    <a:pt x="50" y="40"/>
                  </a:lnTo>
                  <a:lnTo>
                    <a:pt x="50" y="38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6" y="42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2" y="49"/>
                  </a:lnTo>
                  <a:lnTo>
                    <a:pt x="42" y="49"/>
                  </a:lnTo>
                  <a:lnTo>
                    <a:pt x="42" y="51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7"/>
                  </a:lnTo>
                  <a:lnTo>
                    <a:pt x="44" y="59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3"/>
                  </a:lnTo>
                  <a:lnTo>
                    <a:pt x="42" y="65"/>
                  </a:lnTo>
                  <a:close/>
                  <a:moveTo>
                    <a:pt x="31" y="34"/>
                  </a:moveTo>
                  <a:lnTo>
                    <a:pt x="31" y="34"/>
                  </a:lnTo>
                  <a:lnTo>
                    <a:pt x="31" y="36"/>
                  </a:lnTo>
                  <a:lnTo>
                    <a:pt x="34" y="36"/>
                  </a:lnTo>
                  <a:lnTo>
                    <a:pt x="31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6" y="34"/>
                  </a:lnTo>
                  <a:lnTo>
                    <a:pt x="34" y="34"/>
                  </a:lnTo>
                  <a:lnTo>
                    <a:pt x="34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4"/>
                  </a:lnTo>
                  <a:lnTo>
                    <a:pt x="31" y="34"/>
                  </a:lnTo>
                  <a:close/>
                  <a:moveTo>
                    <a:pt x="178" y="183"/>
                  </a:moveTo>
                  <a:lnTo>
                    <a:pt x="176" y="181"/>
                  </a:lnTo>
                  <a:lnTo>
                    <a:pt x="174" y="179"/>
                  </a:lnTo>
                  <a:lnTo>
                    <a:pt x="168" y="177"/>
                  </a:lnTo>
                  <a:lnTo>
                    <a:pt x="163" y="175"/>
                  </a:lnTo>
                  <a:lnTo>
                    <a:pt x="161" y="171"/>
                  </a:lnTo>
                  <a:lnTo>
                    <a:pt x="159" y="162"/>
                  </a:lnTo>
                  <a:lnTo>
                    <a:pt x="155" y="160"/>
                  </a:lnTo>
                  <a:lnTo>
                    <a:pt x="149" y="156"/>
                  </a:lnTo>
                  <a:lnTo>
                    <a:pt x="149" y="154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5" y="150"/>
                  </a:lnTo>
                  <a:lnTo>
                    <a:pt x="142" y="150"/>
                  </a:lnTo>
                  <a:lnTo>
                    <a:pt x="138" y="150"/>
                  </a:lnTo>
                  <a:lnTo>
                    <a:pt x="136" y="152"/>
                  </a:lnTo>
                  <a:lnTo>
                    <a:pt x="134" y="152"/>
                  </a:lnTo>
                  <a:lnTo>
                    <a:pt x="134" y="154"/>
                  </a:lnTo>
                  <a:lnTo>
                    <a:pt x="132" y="154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6" y="147"/>
                  </a:lnTo>
                  <a:lnTo>
                    <a:pt x="126" y="145"/>
                  </a:lnTo>
                  <a:lnTo>
                    <a:pt x="124" y="141"/>
                  </a:lnTo>
                  <a:lnTo>
                    <a:pt x="124" y="139"/>
                  </a:lnTo>
                  <a:lnTo>
                    <a:pt x="124" y="137"/>
                  </a:lnTo>
                  <a:lnTo>
                    <a:pt x="121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5" y="135"/>
                  </a:lnTo>
                  <a:lnTo>
                    <a:pt x="113" y="135"/>
                  </a:lnTo>
                  <a:lnTo>
                    <a:pt x="111" y="135"/>
                  </a:lnTo>
                  <a:lnTo>
                    <a:pt x="109" y="133"/>
                  </a:lnTo>
                  <a:lnTo>
                    <a:pt x="107" y="131"/>
                  </a:lnTo>
                  <a:lnTo>
                    <a:pt x="103" y="124"/>
                  </a:lnTo>
                  <a:lnTo>
                    <a:pt x="98" y="120"/>
                  </a:lnTo>
                  <a:lnTo>
                    <a:pt x="98" y="120"/>
                  </a:lnTo>
                  <a:lnTo>
                    <a:pt x="96" y="118"/>
                  </a:lnTo>
                  <a:lnTo>
                    <a:pt x="96" y="118"/>
                  </a:lnTo>
                  <a:lnTo>
                    <a:pt x="84" y="126"/>
                  </a:lnTo>
                  <a:lnTo>
                    <a:pt x="82" y="126"/>
                  </a:lnTo>
                  <a:lnTo>
                    <a:pt x="71" y="124"/>
                  </a:lnTo>
                  <a:lnTo>
                    <a:pt x="69" y="124"/>
                  </a:lnTo>
                  <a:lnTo>
                    <a:pt x="69" y="122"/>
                  </a:lnTo>
                  <a:lnTo>
                    <a:pt x="67" y="122"/>
                  </a:lnTo>
                  <a:lnTo>
                    <a:pt x="67" y="122"/>
                  </a:lnTo>
                  <a:lnTo>
                    <a:pt x="61" y="124"/>
                  </a:lnTo>
                  <a:lnTo>
                    <a:pt x="59" y="124"/>
                  </a:lnTo>
                  <a:lnTo>
                    <a:pt x="57" y="124"/>
                  </a:lnTo>
                  <a:lnTo>
                    <a:pt x="54" y="124"/>
                  </a:lnTo>
                  <a:lnTo>
                    <a:pt x="52" y="124"/>
                  </a:lnTo>
                  <a:lnTo>
                    <a:pt x="50" y="124"/>
                  </a:lnTo>
                  <a:lnTo>
                    <a:pt x="46" y="124"/>
                  </a:lnTo>
                  <a:lnTo>
                    <a:pt x="44" y="126"/>
                  </a:lnTo>
                  <a:lnTo>
                    <a:pt x="42" y="126"/>
                  </a:lnTo>
                  <a:lnTo>
                    <a:pt x="36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5" y="126"/>
                  </a:lnTo>
                  <a:lnTo>
                    <a:pt x="23" y="126"/>
                  </a:lnTo>
                  <a:lnTo>
                    <a:pt x="21" y="126"/>
                  </a:lnTo>
                  <a:lnTo>
                    <a:pt x="19" y="129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0" y="131"/>
                  </a:lnTo>
                  <a:lnTo>
                    <a:pt x="8" y="131"/>
                  </a:lnTo>
                  <a:lnTo>
                    <a:pt x="4" y="135"/>
                  </a:lnTo>
                  <a:lnTo>
                    <a:pt x="2" y="137"/>
                  </a:lnTo>
                  <a:lnTo>
                    <a:pt x="2" y="139"/>
                  </a:lnTo>
                  <a:lnTo>
                    <a:pt x="0" y="143"/>
                  </a:lnTo>
                  <a:lnTo>
                    <a:pt x="2" y="143"/>
                  </a:lnTo>
                  <a:lnTo>
                    <a:pt x="2" y="145"/>
                  </a:lnTo>
                  <a:lnTo>
                    <a:pt x="4" y="147"/>
                  </a:lnTo>
                  <a:lnTo>
                    <a:pt x="6" y="147"/>
                  </a:lnTo>
                  <a:lnTo>
                    <a:pt x="6" y="150"/>
                  </a:lnTo>
                  <a:lnTo>
                    <a:pt x="8" y="152"/>
                  </a:lnTo>
                  <a:lnTo>
                    <a:pt x="10" y="154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9" y="158"/>
                  </a:lnTo>
                  <a:lnTo>
                    <a:pt x="23" y="160"/>
                  </a:lnTo>
                  <a:lnTo>
                    <a:pt x="27" y="160"/>
                  </a:lnTo>
                  <a:lnTo>
                    <a:pt x="31" y="160"/>
                  </a:lnTo>
                  <a:lnTo>
                    <a:pt x="34" y="160"/>
                  </a:lnTo>
                  <a:lnTo>
                    <a:pt x="36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38" y="162"/>
                  </a:lnTo>
                  <a:lnTo>
                    <a:pt x="40" y="162"/>
                  </a:lnTo>
                  <a:lnTo>
                    <a:pt x="44" y="164"/>
                  </a:lnTo>
                  <a:lnTo>
                    <a:pt x="44" y="164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0" y="162"/>
                  </a:lnTo>
                  <a:lnTo>
                    <a:pt x="52" y="160"/>
                  </a:lnTo>
                  <a:lnTo>
                    <a:pt x="54" y="162"/>
                  </a:lnTo>
                  <a:lnTo>
                    <a:pt x="57" y="162"/>
                  </a:lnTo>
                  <a:lnTo>
                    <a:pt x="63" y="162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5" y="162"/>
                  </a:lnTo>
                  <a:lnTo>
                    <a:pt x="65" y="162"/>
                  </a:lnTo>
                  <a:lnTo>
                    <a:pt x="67" y="162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67" y="164"/>
                  </a:lnTo>
                  <a:lnTo>
                    <a:pt x="71" y="166"/>
                  </a:lnTo>
                  <a:lnTo>
                    <a:pt x="71" y="166"/>
                  </a:lnTo>
                  <a:lnTo>
                    <a:pt x="71" y="171"/>
                  </a:lnTo>
                  <a:lnTo>
                    <a:pt x="73" y="171"/>
                  </a:lnTo>
                  <a:lnTo>
                    <a:pt x="77" y="175"/>
                  </a:lnTo>
                  <a:lnTo>
                    <a:pt x="82" y="177"/>
                  </a:lnTo>
                  <a:lnTo>
                    <a:pt x="84" y="177"/>
                  </a:lnTo>
                  <a:lnTo>
                    <a:pt x="86" y="177"/>
                  </a:lnTo>
                  <a:lnTo>
                    <a:pt x="88" y="177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81"/>
                  </a:lnTo>
                  <a:lnTo>
                    <a:pt x="92" y="181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4" y="181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8" y="183"/>
                  </a:lnTo>
                  <a:lnTo>
                    <a:pt x="98" y="185"/>
                  </a:lnTo>
                  <a:lnTo>
                    <a:pt x="103" y="189"/>
                  </a:lnTo>
                  <a:lnTo>
                    <a:pt x="103" y="192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5" y="196"/>
                  </a:lnTo>
                  <a:lnTo>
                    <a:pt x="107" y="196"/>
                  </a:lnTo>
                  <a:lnTo>
                    <a:pt x="109" y="200"/>
                  </a:lnTo>
                  <a:lnTo>
                    <a:pt x="109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5" y="206"/>
                  </a:lnTo>
                  <a:lnTo>
                    <a:pt x="115" y="206"/>
                  </a:lnTo>
                  <a:lnTo>
                    <a:pt x="121" y="208"/>
                  </a:lnTo>
                  <a:lnTo>
                    <a:pt x="124" y="208"/>
                  </a:lnTo>
                  <a:lnTo>
                    <a:pt x="124" y="208"/>
                  </a:lnTo>
                  <a:lnTo>
                    <a:pt x="138" y="210"/>
                  </a:lnTo>
                  <a:lnTo>
                    <a:pt x="140" y="210"/>
                  </a:lnTo>
                  <a:lnTo>
                    <a:pt x="142" y="213"/>
                  </a:lnTo>
                  <a:lnTo>
                    <a:pt x="142" y="215"/>
                  </a:lnTo>
                  <a:lnTo>
                    <a:pt x="145" y="215"/>
                  </a:lnTo>
                  <a:lnTo>
                    <a:pt x="147" y="215"/>
                  </a:lnTo>
                  <a:lnTo>
                    <a:pt x="147" y="213"/>
                  </a:lnTo>
                  <a:lnTo>
                    <a:pt x="147" y="210"/>
                  </a:lnTo>
                  <a:lnTo>
                    <a:pt x="149" y="210"/>
                  </a:lnTo>
                  <a:lnTo>
                    <a:pt x="153" y="206"/>
                  </a:lnTo>
                  <a:lnTo>
                    <a:pt x="155" y="206"/>
                  </a:lnTo>
                  <a:lnTo>
                    <a:pt x="161" y="208"/>
                  </a:lnTo>
                  <a:lnTo>
                    <a:pt x="161" y="206"/>
                  </a:lnTo>
                  <a:lnTo>
                    <a:pt x="161" y="206"/>
                  </a:lnTo>
                  <a:lnTo>
                    <a:pt x="168" y="204"/>
                  </a:lnTo>
                  <a:lnTo>
                    <a:pt x="170" y="204"/>
                  </a:lnTo>
                  <a:lnTo>
                    <a:pt x="172" y="202"/>
                  </a:lnTo>
                  <a:lnTo>
                    <a:pt x="176" y="198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80" y="189"/>
                  </a:lnTo>
                  <a:lnTo>
                    <a:pt x="180" y="187"/>
                  </a:lnTo>
                  <a:lnTo>
                    <a:pt x="178" y="183"/>
                  </a:lnTo>
                  <a:close/>
                  <a:moveTo>
                    <a:pt x="126" y="80"/>
                  </a:moveTo>
                  <a:lnTo>
                    <a:pt x="128" y="80"/>
                  </a:lnTo>
                  <a:lnTo>
                    <a:pt x="128" y="80"/>
                  </a:lnTo>
                  <a:lnTo>
                    <a:pt x="130" y="80"/>
                  </a:lnTo>
                  <a:lnTo>
                    <a:pt x="130" y="78"/>
                  </a:lnTo>
                  <a:lnTo>
                    <a:pt x="130" y="76"/>
                  </a:lnTo>
                  <a:lnTo>
                    <a:pt x="130" y="76"/>
                  </a:lnTo>
                  <a:lnTo>
                    <a:pt x="128" y="76"/>
                  </a:lnTo>
                  <a:lnTo>
                    <a:pt x="128" y="76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78"/>
                  </a:lnTo>
                  <a:lnTo>
                    <a:pt x="126" y="80"/>
                  </a:lnTo>
                  <a:lnTo>
                    <a:pt x="126" y="80"/>
                  </a:lnTo>
                  <a:close/>
                  <a:moveTo>
                    <a:pt x="287" y="227"/>
                  </a:moveTo>
                  <a:lnTo>
                    <a:pt x="285" y="227"/>
                  </a:lnTo>
                  <a:lnTo>
                    <a:pt x="285" y="225"/>
                  </a:lnTo>
                  <a:lnTo>
                    <a:pt x="283" y="225"/>
                  </a:lnTo>
                  <a:lnTo>
                    <a:pt x="281" y="225"/>
                  </a:lnTo>
                  <a:lnTo>
                    <a:pt x="279" y="225"/>
                  </a:lnTo>
                  <a:lnTo>
                    <a:pt x="276" y="227"/>
                  </a:lnTo>
                  <a:lnTo>
                    <a:pt x="272" y="231"/>
                  </a:lnTo>
                  <a:lnTo>
                    <a:pt x="262" y="238"/>
                  </a:lnTo>
                  <a:lnTo>
                    <a:pt x="260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2" y="240"/>
                  </a:lnTo>
                  <a:lnTo>
                    <a:pt x="264" y="242"/>
                  </a:lnTo>
                  <a:lnTo>
                    <a:pt x="266" y="242"/>
                  </a:lnTo>
                  <a:lnTo>
                    <a:pt x="270" y="242"/>
                  </a:lnTo>
                  <a:lnTo>
                    <a:pt x="276" y="242"/>
                  </a:lnTo>
                  <a:lnTo>
                    <a:pt x="279" y="242"/>
                  </a:lnTo>
                  <a:lnTo>
                    <a:pt x="279" y="242"/>
                  </a:lnTo>
                  <a:lnTo>
                    <a:pt x="279" y="242"/>
                  </a:lnTo>
                  <a:lnTo>
                    <a:pt x="279" y="240"/>
                  </a:lnTo>
                  <a:lnTo>
                    <a:pt x="281" y="240"/>
                  </a:lnTo>
                  <a:lnTo>
                    <a:pt x="281" y="240"/>
                  </a:lnTo>
                  <a:lnTo>
                    <a:pt x="281" y="240"/>
                  </a:lnTo>
                  <a:lnTo>
                    <a:pt x="283" y="240"/>
                  </a:lnTo>
                  <a:lnTo>
                    <a:pt x="283" y="240"/>
                  </a:lnTo>
                  <a:lnTo>
                    <a:pt x="285" y="238"/>
                  </a:lnTo>
                  <a:lnTo>
                    <a:pt x="289" y="236"/>
                  </a:lnTo>
                  <a:lnTo>
                    <a:pt x="289" y="234"/>
                  </a:lnTo>
                  <a:lnTo>
                    <a:pt x="289" y="229"/>
                  </a:lnTo>
                  <a:lnTo>
                    <a:pt x="289" y="227"/>
                  </a:lnTo>
                  <a:lnTo>
                    <a:pt x="287" y="227"/>
                  </a:lnTo>
                  <a:close/>
                  <a:moveTo>
                    <a:pt x="253" y="242"/>
                  </a:moveTo>
                  <a:lnTo>
                    <a:pt x="251" y="242"/>
                  </a:lnTo>
                  <a:lnTo>
                    <a:pt x="249" y="242"/>
                  </a:lnTo>
                  <a:lnTo>
                    <a:pt x="247" y="244"/>
                  </a:lnTo>
                  <a:lnTo>
                    <a:pt x="245" y="244"/>
                  </a:lnTo>
                  <a:lnTo>
                    <a:pt x="245" y="246"/>
                  </a:lnTo>
                  <a:lnTo>
                    <a:pt x="247" y="246"/>
                  </a:lnTo>
                  <a:lnTo>
                    <a:pt x="249" y="246"/>
                  </a:lnTo>
                  <a:lnTo>
                    <a:pt x="251" y="246"/>
                  </a:lnTo>
                  <a:lnTo>
                    <a:pt x="253" y="244"/>
                  </a:lnTo>
                  <a:lnTo>
                    <a:pt x="256" y="244"/>
                  </a:lnTo>
                  <a:lnTo>
                    <a:pt x="256" y="242"/>
                  </a:lnTo>
                  <a:lnTo>
                    <a:pt x="253" y="242"/>
                  </a:lnTo>
                  <a:lnTo>
                    <a:pt x="253" y="242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37" name="Freeform 123">
              <a:extLst>
                <a:ext uri="{FF2B5EF4-FFF2-40B4-BE49-F238E27FC236}">
                  <a16:creationId xmlns:a16="http://schemas.microsoft.com/office/drawing/2014/main" id="{25829666-6944-4A57-AF8C-2F29C5AC79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2022" y="1974468"/>
              <a:ext cx="141685" cy="90488"/>
            </a:xfrm>
            <a:custGeom>
              <a:avLst/>
              <a:gdLst>
                <a:gd name="T0" fmla="*/ 109 w 119"/>
                <a:gd name="T1" fmla="*/ 61 h 76"/>
                <a:gd name="T2" fmla="*/ 105 w 119"/>
                <a:gd name="T3" fmla="*/ 57 h 76"/>
                <a:gd name="T4" fmla="*/ 100 w 119"/>
                <a:gd name="T5" fmla="*/ 59 h 76"/>
                <a:gd name="T6" fmla="*/ 96 w 119"/>
                <a:gd name="T7" fmla="*/ 63 h 76"/>
                <a:gd name="T8" fmla="*/ 96 w 119"/>
                <a:gd name="T9" fmla="*/ 65 h 76"/>
                <a:gd name="T10" fmla="*/ 100 w 119"/>
                <a:gd name="T11" fmla="*/ 68 h 76"/>
                <a:gd name="T12" fmla="*/ 109 w 119"/>
                <a:gd name="T13" fmla="*/ 72 h 76"/>
                <a:gd name="T14" fmla="*/ 111 w 119"/>
                <a:gd name="T15" fmla="*/ 68 h 76"/>
                <a:gd name="T16" fmla="*/ 109 w 119"/>
                <a:gd name="T17" fmla="*/ 63 h 76"/>
                <a:gd name="T18" fmla="*/ 113 w 119"/>
                <a:gd name="T19" fmla="*/ 26 h 76"/>
                <a:gd name="T20" fmla="*/ 107 w 119"/>
                <a:gd name="T21" fmla="*/ 15 h 76"/>
                <a:gd name="T22" fmla="*/ 100 w 119"/>
                <a:gd name="T23" fmla="*/ 11 h 76"/>
                <a:gd name="T24" fmla="*/ 77 w 119"/>
                <a:gd name="T25" fmla="*/ 2 h 76"/>
                <a:gd name="T26" fmla="*/ 75 w 119"/>
                <a:gd name="T27" fmla="*/ 0 h 76"/>
                <a:gd name="T28" fmla="*/ 71 w 119"/>
                <a:gd name="T29" fmla="*/ 0 h 76"/>
                <a:gd name="T30" fmla="*/ 65 w 119"/>
                <a:gd name="T31" fmla="*/ 2 h 76"/>
                <a:gd name="T32" fmla="*/ 54 w 119"/>
                <a:gd name="T33" fmla="*/ 11 h 76"/>
                <a:gd name="T34" fmla="*/ 42 w 119"/>
                <a:gd name="T35" fmla="*/ 11 h 76"/>
                <a:gd name="T36" fmla="*/ 23 w 119"/>
                <a:gd name="T37" fmla="*/ 7 h 76"/>
                <a:gd name="T38" fmla="*/ 19 w 119"/>
                <a:gd name="T39" fmla="*/ 7 h 76"/>
                <a:gd name="T40" fmla="*/ 15 w 119"/>
                <a:gd name="T41" fmla="*/ 5 h 76"/>
                <a:gd name="T42" fmla="*/ 10 w 119"/>
                <a:gd name="T43" fmla="*/ 7 h 76"/>
                <a:gd name="T44" fmla="*/ 8 w 119"/>
                <a:gd name="T45" fmla="*/ 5 h 76"/>
                <a:gd name="T46" fmla="*/ 6 w 119"/>
                <a:gd name="T47" fmla="*/ 2 h 76"/>
                <a:gd name="T48" fmla="*/ 0 w 119"/>
                <a:gd name="T49" fmla="*/ 5 h 76"/>
                <a:gd name="T50" fmla="*/ 2 w 119"/>
                <a:gd name="T51" fmla="*/ 15 h 76"/>
                <a:gd name="T52" fmla="*/ 12 w 119"/>
                <a:gd name="T53" fmla="*/ 30 h 76"/>
                <a:gd name="T54" fmla="*/ 19 w 119"/>
                <a:gd name="T55" fmla="*/ 32 h 76"/>
                <a:gd name="T56" fmla="*/ 33 w 119"/>
                <a:gd name="T57" fmla="*/ 34 h 76"/>
                <a:gd name="T58" fmla="*/ 48 w 119"/>
                <a:gd name="T59" fmla="*/ 40 h 76"/>
                <a:gd name="T60" fmla="*/ 59 w 119"/>
                <a:gd name="T61" fmla="*/ 49 h 76"/>
                <a:gd name="T62" fmla="*/ 61 w 119"/>
                <a:gd name="T63" fmla="*/ 51 h 76"/>
                <a:gd name="T64" fmla="*/ 63 w 119"/>
                <a:gd name="T65" fmla="*/ 55 h 76"/>
                <a:gd name="T66" fmla="*/ 65 w 119"/>
                <a:gd name="T67" fmla="*/ 57 h 76"/>
                <a:gd name="T68" fmla="*/ 67 w 119"/>
                <a:gd name="T69" fmla="*/ 57 h 76"/>
                <a:gd name="T70" fmla="*/ 69 w 119"/>
                <a:gd name="T71" fmla="*/ 61 h 76"/>
                <a:gd name="T72" fmla="*/ 69 w 119"/>
                <a:gd name="T73" fmla="*/ 65 h 76"/>
                <a:gd name="T74" fmla="*/ 67 w 119"/>
                <a:gd name="T75" fmla="*/ 70 h 76"/>
                <a:gd name="T76" fmla="*/ 61 w 119"/>
                <a:gd name="T77" fmla="*/ 72 h 76"/>
                <a:gd name="T78" fmla="*/ 63 w 119"/>
                <a:gd name="T79" fmla="*/ 76 h 76"/>
                <a:gd name="T80" fmla="*/ 67 w 119"/>
                <a:gd name="T81" fmla="*/ 76 h 76"/>
                <a:gd name="T82" fmla="*/ 71 w 119"/>
                <a:gd name="T83" fmla="*/ 76 h 76"/>
                <a:gd name="T84" fmla="*/ 73 w 119"/>
                <a:gd name="T85" fmla="*/ 74 h 76"/>
                <a:gd name="T86" fmla="*/ 75 w 119"/>
                <a:gd name="T87" fmla="*/ 68 h 76"/>
                <a:gd name="T88" fmla="*/ 73 w 119"/>
                <a:gd name="T89" fmla="*/ 68 h 76"/>
                <a:gd name="T90" fmla="*/ 73 w 119"/>
                <a:gd name="T91" fmla="*/ 70 h 76"/>
                <a:gd name="T92" fmla="*/ 71 w 119"/>
                <a:gd name="T93" fmla="*/ 68 h 76"/>
                <a:gd name="T94" fmla="*/ 73 w 119"/>
                <a:gd name="T95" fmla="*/ 63 h 76"/>
                <a:gd name="T96" fmla="*/ 77 w 119"/>
                <a:gd name="T97" fmla="*/ 63 h 76"/>
                <a:gd name="T98" fmla="*/ 79 w 119"/>
                <a:gd name="T99" fmla="*/ 57 h 76"/>
                <a:gd name="T100" fmla="*/ 86 w 119"/>
                <a:gd name="T101" fmla="*/ 51 h 76"/>
                <a:gd name="T102" fmla="*/ 100 w 119"/>
                <a:gd name="T103" fmla="*/ 44 h 76"/>
                <a:gd name="T104" fmla="*/ 102 w 119"/>
                <a:gd name="T105" fmla="*/ 42 h 76"/>
                <a:gd name="T106" fmla="*/ 111 w 119"/>
                <a:gd name="T107" fmla="*/ 42 h 76"/>
                <a:gd name="T108" fmla="*/ 115 w 119"/>
                <a:gd name="T109" fmla="*/ 38 h 76"/>
                <a:gd name="T110" fmla="*/ 119 w 119"/>
                <a:gd name="T111" fmla="*/ 34 h 76"/>
                <a:gd name="T112" fmla="*/ 117 w 119"/>
                <a:gd name="T113" fmla="*/ 28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9" h="76">
                  <a:moveTo>
                    <a:pt x="109" y="63"/>
                  </a:moveTo>
                  <a:lnTo>
                    <a:pt x="109" y="61"/>
                  </a:lnTo>
                  <a:lnTo>
                    <a:pt x="107" y="59"/>
                  </a:lnTo>
                  <a:lnTo>
                    <a:pt x="105" y="57"/>
                  </a:lnTo>
                  <a:lnTo>
                    <a:pt x="102" y="59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5"/>
                  </a:lnTo>
                  <a:lnTo>
                    <a:pt x="98" y="65"/>
                  </a:lnTo>
                  <a:lnTo>
                    <a:pt x="100" y="68"/>
                  </a:lnTo>
                  <a:lnTo>
                    <a:pt x="105" y="70"/>
                  </a:lnTo>
                  <a:lnTo>
                    <a:pt x="109" y="72"/>
                  </a:lnTo>
                  <a:lnTo>
                    <a:pt x="109" y="70"/>
                  </a:lnTo>
                  <a:lnTo>
                    <a:pt x="111" y="68"/>
                  </a:lnTo>
                  <a:lnTo>
                    <a:pt x="111" y="65"/>
                  </a:lnTo>
                  <a:lnTo>
                    <a:pt x="109" y="63"/>
                  </a:lnTo>
                  <a:close/>
                  <a:moveTo>
                    <a:pt x="117" y="28"/>
                  </a:moveTo>
                  <a:lnTo>
                    <a:pt x="113" y="26"/>
                  </a:lnTo>
                  <a:lnTo>
                    <a:pt x="111" y="21"/>
                  </a:lnTo>
                  <a:lnTo>
                    <a:pt x="107" y="15"/>
                  </a:lnTo>
                  <a:lnTo>
                    <a:pt x="102" y="13"/>
                  </a:lnTo>
                  <a:lnTo>
                    <a:pt x="100" y="11"/>
                  </a:lnTo>
                  <a:lnTo>
                    <a:pt x="84" y="5"/>
                  </a:lnTo>
                  <a:lnTo>
                    <a:pt x="77" y="2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5" y="2"/>
                  </a:lnTo>
                  <a:lnTo>
                    <a:pt x="59" y="9"/>
                  </a:lnTo>
                  <a:lnTo>
                    <a:pt x="54" y="11"/>
                  </a:lnTo>
                  <a:lnTo>
                    <a:pt x="50" y="11"/>
                  </a:lnTo>
                  <a:lnTo>
                    <a:pt x="42" y="11"/>
                  </a:lnTo>
                  <a:lnTo>
                    <a:pt x="40" y="13"/>
                  </a:lnTo>
                  <a:lnTo>
                    <a:pt x="23" y="7"/>
                  </a:lnTo>
                  <a:lnTo>
                    <a:pt x="21" y="7"/>
                  </a:lnTo>
                  <a:lnTo>
                    <a:pt x="19" y="7"/>
                  </a:lnTo>
                  <a:lnTo>
                    <a:pt x="17" y="7"/>
                  </a:lnTo>
                  <a:lnTo>
                    <a:pt x="15" y="5"/>
                  </a:lnTo>
                  <a:lnTo>
                    <a:pt x="12" y="7"/>
                  </a:lnTo>
                  <a:lnTo>
                    <a:pt x="10" y="7"/>
                  </a:lnTo>
                  <a:lnTo>
                    <a:pt x="8" y="7"/>
                  </a:lnTo>
                  <a:lnTo>
                    <a:pt x="8" y="5"/>
                  </a:lnTo>
                  <a:lnTo>
                    <a:pt x="6" y="5"/>
                  </a:lnTo>
                  <a:lnTo>
                    <a:pt x="6" y="2"/>
                  </a:lnTo>
                  <a:lnTo>
                    <a:pt x="4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5"/>
                  </a:lnTo>
                  <a:lnTo>
                    <a:pt x="10" y="26"/>
                  </a:lnTo>
                  <a:lnTo>
                    <a:pt x="12" y="30"/>
                  </a:lnTo>
                  <a:lnTo>
                    <a:pt x="15" y="32"/>
                  </a:lnTo>
                  <a:lnTo>
                    <a:pt x="19" y="32"/>
                  </a:lnTo>
                  <a:lnTo>
                    <a:pt x="29" y="32"/>
                  </a:lnTo>
                  <a:lnTo>
                    <a:pt x="33" y="34"/>
                  </a:lnTo>
                  <a:lnTo>
                    <a:pt x="46" y="38"/>
                  </a:lnTo>
                  <a:lnTo>
                    <a:pt x="48" y="40"/>
                  </a:lnTo>
                  <a:lnTo>
                    <a:pt x="54" y="47"/>
                  </a:lnTo>
                  <a:lnTo>
                    <a:pt x="59" y="49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3"/>
                  </a:lnTo>
                  <a:lnTo>
                    <a:pt x="63" y="55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69" y="65"/>
                  </a:lnTo>
                  <a:lnTo>
                    <a:pt x="69" y="68"/>
                  </a:lnTo>
                  <a:lnTo>
                    <a:pt x="67" y="70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63" y="76"/>
                  </a:lnTo>
                  <a:lnTo>
                    <a:pt x="65" y="76"/>
                  </a:lnTo>
                  <a:lnTo>
                    <a:pt x="67" y="76"/>
                  </a:lnTo>
                  <a:lnTo>
                    <a:pt x="69" y="76"/>
                  </a:lnTo>
                  <a:lnTo>
                    <a:pt x="71" y="76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75" y="72"/>
                  </a:lnTo>
                  <a:lnTo>
                    <a:pt x="75" y="68"/>
                  </a:lnTo>
                  <a:lnTo>
                    <a:pt x="75" y="65"/>
                  </a:lnTo>
                  <a:lnTo>
                    <a:pt x="73" y="68"/>
                  </a:lnTo>
                  <a:lnTo>
                    <a:pt x="73" y="68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1" y="68"/>
                  </a:lnTo>
                  <a:lnTo>
                    <a:pt x="71" y="65"/>
                  </a:lnTo>
                  <a:lnTo>
                    <a:pt x="73" y="63"/>
                  </a:lnTo>
                  <a:lnTo>
                    <a:pt x="75" y="63"/>
                  </a:lnTo>
                  <a:lnTo>
                    <a:pt x="77" y="63"/>
                  </a:lnTo>
                  <a:lnTo>
                    <a:pt x="77" y="61"/>
                  </a:lnTo>
                  <a:lnTo>
                    <a:pt x="79" y="57"/>
                  </a:lnTo>
                  <a:lnTo>
                    <a:pt x="84" y="53"/>
                  </a:lnTo>
                  <a:lnTo>
                    <a:pt x="86" y="51"/>
                  </a:lnTo>
                  <a:lnTo>
                    <a:pt x="100" y="47"/>
                  </a:lnTo>
                  <a:lnTo>
                    <a:pt x="100" y="44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9" y="42"/>
                  </a:lnTo>
                  <a:lnTo>
                    <a:pt x="111" y="42"/>
                  </a:lnTo>
                  <a:lnTo>
                    <a:pt x="113" y="38"/>
                  </a:lnTo>
                  <a:lnTo>
                    <a:pt x="115" y="38"/>
                  </a:lnTo>
                  <a:lnTo>
                    <a:pt x="117" y="36"/>
                  </a:lnTo>
                  <a:lnTo>
                    <a:pt x="119" y="34"/>
                  </a:lnTo>
                  <a:lnTo>
                    <a:pt x="119" y="30"/>
                  </a:lnTo>
                  <a:lnTo>
                    <a:pt x="117" y="28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grpSp>
        <p:nvGrpSpPr>
          <p:cNvPr id="138" name="Group 137">
            <a:extLst>
              <a:ext uri="{FF2B5EF4-FFF2-40B4-BE49-F238E27FC236}">
                <a16:creationId xmlns:a16="http://schemas.microsoft.com/office/drawing/2014/main" id="{1D32102C-05AD-4A1E-826F-EB50D85A02FE}"/>
              </a:ext>
            </a:extLst>
          </p:cNvPr>
          <p:cNvGrpSpPr/>
          <p:nvPr/>
        </p:nvGrpSpPr>
        <p:grpSpPr>
          <a:xfrm>
            <a:off x="8052378" y="2828543"/>
            <a:ext cx="596291" cy="509761"/>
            <a:chOff x="3799606" y="408796"/>
            <a:chExt cx="1583533" cy="1353741"/>
          </a:xfrm>
          <a:solidFill>
            <a:schemeClr val="accent1"/>
          </a:solidFill>
        </p:grpSpPr>
        <p:sp>
          <p:nvSpPr>
            <p:cNvPr id="139" name="Freeform 92">
              <a:extLst>
                <a:ext uri="{FF2B5EF4-FFF2-40B4-BE49-F238E27FC236}">
                  <a16:creationId xmlns:a16="http://schemas.microsoft.com/office/drawing/2014/main" id="{6EC2EC27-95BD-4D0D-9660-91676AD012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0847" y="971961"/>
              <a:ext cx="366713" cy="488156"/>
            </a:xfrm>
            <a:custGeom>
              <a:avLst/>
              <a:gdLst>
                <a:gd name="T0" fmla="*/ 105 w 308"/>
                <a:gd name="T1" fmla="*/ 277 h 410"/>
                <a:gd name="T2" fmla="*/ 92 w 308"/>
                <a:gd name="T3" fmla="*/ 284 h 410"/>
                <a:gd name="T4" fmla="*/ 97 w 308"/>
                <a:gd name="T5" fmla="*/ 292 h 410"/>
                <a:gd name="T6" fmla="*/ 107 w 308"/>
                <a:gd name="T7" fmla="*/ 300 h 410"/>
                <a:gd name="T8" fmla="*/ 120 w 308"/>
                <a:gd name="T9" fmla="*/ 305 h 410"/>
                <a:gd name="T10" fmla="*/ 59 w 308"/>
                <a:gd name="T11" fmla="*/ 231 h 410"/>
                <a:gd name="T12" fmla="*/ 55 w 308"/>
                <a:gd name="T13" fmla="*/ 218 h 410"/>
                <a:gd name="T14" fmla="*/ 46 w 308"/>
                <a:gd name="T15" fmla="*/ 199 h 410"/>
                <a:gd name="T16" fmla="*/ 36 w 308"/>
                <a:gd name="T17" fmla="*/ 185 h 410"/>
                <a:gd name="T18" fmla="*/ 34 w 308"/>
                <a:gd name="T19" fmla="*/ 174 h 410"/>
                <a:gd name="T20" fmla="*/ 13 w 308"/>
                <a:gd name="T21" fmla="*/ 170 h 410"/>
                <a:gd name="T22" fmla="*/ 0 w 308"/>
                <a:gd name="T23" fmla="*/ 195 h 410"/>
                <a:gd name="T24" fmla="*/ 23 w 308"/>
                <a:gd name="T25" fmla="*/ 233 h 410"/>
                <a:gd name="T26" fmla="*/ 57 w 308"/>
                <a:gd name="T27" fmla="*/ 250 h 410"/>
                <a:gd name="T28" fmla="*/ 63 w 308"/>
                <a:gd name="T29" fmla="*/ 237 h 410"/>
                <a:gd name="T30" fmla="*/ 63 w 308"/>
                <a:gd name="T31" fmla="*/ 250 h 410"/>
                <a:gd name="T32" fmla="*/ 67 w 308"/>
                <a:gd name="T33" fmla="*/ 254 h 410"/>
                <a:gd name="T34" fmla="*/ 145 w 308"/>
                <a:gd name="T35" fmla="*/ 328 h 410"/>
                <a:gd name="T36" fmla="*/ 132 w 308"/>
                <a:gd name="T37" fmla="*/ 326 h 410"/>
                <a:gd name="T38" fmla="*/ 134 w 308"/>
                <a:gd name="T39" fmla="*/ 349 h 410"/>
                <a:gd name="T40" fmla="*/ 151 w 308"/>
                <a:gd name="T41" fmla="*/ 342 h 410"/>
                <a:gd name="T42" fmla="*/ 302 w 308"/>
                <a:gd name="T43" fmla="*/ 183 h 410"/>
                <a:gd name="T44" fmla="*/ 268 w 308"/>
                <a:gd name="T45" fmla="*/ 162 h 410"/>
                <a:gd name="T46" fmla="*/ 208 w 308"/>
                <a:gd name="T47" fmla="*/ 99 h 410"/>
                <a:gd name="T48" fmla="*/ 214 w 308"/>
                <a:gd name="T49" fmla="*/ 86 h 410"/>
                <a:gd name="T50" fmla="*/ 208 w 308"/>
                <a:gd name="T51" fmla="*/ 59 h 410"/>
                <a:gd name="T52" fmla="*/ 185 w 308"/>
                <a:gd name="T53" fmla="*/ 42 h 410"/>
                <a:gd name="T54" fmla="*/ 155 w 308"/>
                <a:gd name="T55" fmla="*/ 34 h 410"/>
                <a:gd name="T56" fmla="*/ 153 w 308"/>
                <a:gd name="T57" fmla="*/ 15 h 410"/>
                <a:gd name="T58" fmla="*/ 134 w 308"/>
                <a:gd name="T59" fmla="*/ 6 h 410"/>
                <a:gd name="T60" fmla="*/ 111 w 308"/>
                <a:gd name="T61" fmla="*/ 2 h 410"/>
                <a:gd name="T62" fmla="*/ 111 w 308"/>
                <a:gd name="T63" fmla="*/ 8 h 410"/>
                <a:gd name="T64" fmla="*/ 124 w 308"/>
                <a:gd name="T65" fmla="*/ 25 h 410"/>
                <a:gd name="T66" fmla="*/ 113 w 308"/>
                <a:gd name="T67" fmla="*/ 38 h 410"/>
                <a:gd name="T68" fmla="*/ 99 w 308"/>
                <a:gd name="T69" fmla="*/ 31 h 410"/>
                <a:gd name="T70" fmla="*/ 71 w 308"/>
                <a:gd name="T71" fmla="*/ 38 h 410"/>
                <a:gd name="T72" fmla="*/ 61 w 308"/>
                <a:gd name="T73" fmla="*/ 63 h 410"/>
                <a:gd name="T74" fmla="*/ 86 w 308"/>
                <a:gd name="T75" fmla="*/ 67 h 410"/>
                <a:gd name="T76" fmla="*/ 111 w 308"/>
                <a:gd name="T77" fmla="*/ 99 h 410"/>
                <a:gd name="T78" fmla="*/ 126 w 308"/>
                <a:gd name="T79" fmla="*/ 118 h 410"/>
                <a:gd name="T80" fmla="*/ 170 w 308"/>
                <a:gd name="T81" fmla="*/ 178 h 410"/>
                <a:gd name="T82" fmla="*/ 170 w 308"/>
                <a:gd name="T83" fmla="*/ 187 h 410"/>
                <a:gd name="T84" fmla="*/ 174 w 308"/>
                <a:gd name="T85" fmla="*/ 199 h 410"/>
                <a:gd name="T86" fmla="*/ 178 w 308"/>
                <a:gd name="T87" fmla="*/ 204 h 410"/>
                <a:gd name="T88" fmla="*/ 189 w 308"/>
                <a:gd name="T89" fmla="*/ 216 h 410"/>
                <a:gd name="T90" fmla="*/ 201 w 308"/>
                <a:gd name="T91" fmla="*/ 242 h 410"/>
                <a:gd name="T92" fmla="*/ 214 w 308"/>
                <a:gd name="T93" fmla="*/ 281 h 410"/>
                <a:gd name="T94" fmla="*/ 252 w 308"/>
                <a:gd name="T95" fmla="*/ 302 h 410"/>
                <a:gd name="T96" fmla="*/ 239 w 308"/>
                <a:gd name="T97" fmla="*/ 252 h 410"/>
                <a:gd name="T98" fmla="*/ 275 w 308"/>
                <a:gd name="T99" fmla="*/ 239 h 410"/>
                <a:gd name="T100" fmla="*/ 293 w 308"/>
                <a:gd name="T101" fmla="*/ 214 h 410"/>
                <a:gd name="T102" fmla="*/ 306 w 308"/>
                <a:gd name="T103" fmla="*/ 193 h 410"/>
                <a:gd name="T104" fmla="*/ 195 w 308"/>
                <a:gd name="T105" fmla="*/ 410 h 410"/>
                <a:gd name="T106" fmla="*/ 182 w 308"/>
                <a:gd name="T107" fmla="*/ 378 h 410"/>
                <a:gd name="T108" fmla="*/ 172 w 308"/>
                <a:gd name="T109" fmla="*/ 378 h 410"/>
                <a:gd name="T110" fmla="*/ 170 w 308"/>
                <a:gd name="T111" fmla="*/ 357 h 410"/>
                <a:gd name="T112" fmla="*/ 151 w 308"/>
                <a:gd name="T113" fmla="*/ 347 h 410"/>
                <a:gd name="T114" fmla="*/ 157 w 308"/>
                <a:gd name="T115" fmla="*/ 370 h 410"/>
                <a:gd name="T116" fmla="*/ 168 w 308"/>
                <a:gd name="T117" fmla="*/ 384 h 410"/>
                <a:gd name="T118" fmla="*/ 170 w 308"/>
                <a:gd name="T119" fmla="*/ 389 h 4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08" h="410">
                  <a:moveTo>
                    <a:pt x="118" y="298"/>
                  </a:moveTo>
                  <a:lnTo>
                    <a:pt x="115" y="298"/>
                  </a:lnTo>
                  <a:lnTo>
                    <a:pt x="113" y="296"/>
                  </a:lnTo>
                  <a:lnTo>
                    <a:pt x="113" y="294"/>
                  </a:lnTo>
                  <a:lnTo>
                    <a:pt x="113" y="294"/>
                  </a:lnTo>
                  <a:lnTo>
                    <a:pt x="113" y="294"/>
                  </a:lnTo>
                  <a:lnTo>
                    <a:pt x="113" y="294"/>
                  </a:lnTo>
                  <a:lnTo>
                    <a:pt x="113" y="292"/>
                  </a:lnTo>
                  <a:lnTo>
                    <a:pt x="107" y="286"/>
                  </a:lnTo>
                  <a:lnTo>
                    <a:pt x="107" y="281"/>
                  </a:lnTo>
                  <a:lnTo>
                    <a:pt x="105" y="279"/>
                  </a:lnTo>
                  <a:lnTo>
                    <a:pt x="105" y="277"/>
                  </a:lnTo>
                  <a:lnTo>
                    <a:pt x="103" y="275"/>
                  </a:lnTo>
                  <a:lnTo>
                    <a:pt x="103" y="275"/>
                  </a:lnTo>
                  <a:lnTo>
                    <a:pt x="101" y="275"/>
                  </a:lnTo>
                  <a:lnTo>
                    <a:pt x="101" y="273"/>
                  </a:lnTo>
                  <a:lnTo>
                    <a:pt x="99" y="273"/>
                  </a:lnTo>
                  <a:lnTo>
                    <a:pt x="94" y="271"/>
                  </a:lnTo>
                  <a:lnTo>
                    <a:pt x="92" y="273"/>
                  </a:lnTo>
                  <a:lnTo>
                    <a:pt x="90" y="277"/>
                  </a:lnTo>
                  <a:lnTo>
                    <a:pt x="90" y="279"/>
                  </a:lnTo>
                  <a:lnTo>
                    <a:pt x="92" y="281"/>
                  </a:lnTo>
                  <a:lnTo>
                    <a:pt x="92" y="284"/>
                  </a:lnTo>
                  <a:lnTo>
                    <a:pt x="92" y="284"/>
                  </a:lnTo>
                  <a:lnTo>
                    <a:pt x="90" y="284"/>
                  </a:lnTo>
                  <a:lnTo>
                    <a:pt x="90" y="284"/>
                  </a:lnTo>
                  <a:lnTo>
                    <a:pt x="88" y="284"/>
                  </a:lnTo>
                  <a:lnTo>
                    <a:pt x="90" y="286"/>
                  </a:lnTo>
                  <a:lnTo>
                    <a:pt x="92" y="288"/>
                  </a:lnTo>
                  <a:lnTo>
                    <a:pt x="92" y="290"/>
                  </a:lnTo>
                  <a:lnTo>
                    <a:pt x="94" y="292"/>
                  </a:lnTo>
                  <a:lnTo>
                    <a:pt x="94" y="290"/>
                  </a:lnTo>
                  <a:lnTo>
                    <a:pt x="94" y="290"/>
                  </a:lnTo>
                  <a:lnTo>
                    <a:pt x="94" y="292"/>
                  </a:lnTo>
                  <a:lnTo>
                    <a:pt x="94" y="292"/>
                  </a:lnTo>
                  <a:lnTo>
                    <a:pt x="97" y="292"/>
                  </a:lnTo>
                  <a:lnTo>
                    <a:pt x="97" y="292"/>
                  </a:lnTo>
                  <a:lnTo>
                    <a:pt x="97" y="292"/>
                  </a:lnTo>
                  <a:lnTo>
                    <a:pt x="97" y="294"/>
                  </a:lnTo>
                  <a:lnTo>
                    <a:pt x="97" y="294"/>
                  </a:lnTo>
                  <a:lnTo>
                    <a:pt x="97" y="296"/>
                  </a:lnTo>
                  <a:lnTo>
                    <a:pt x="97" y="296"/>
                  </a:lnTo>
                  <a:lnTo>
                    <a:pt x="101" y="296"/>
                  </a:lnTo>
                  <a:lnTo>
                    <a:pt x="103" y="296"/>
                  </a:lnTo>
                  <a:lnTo>
                    <a:pt x="105" y="298"/>
                  </a:lnTo>
                  <a:lnTo>
                    <a:pt x="105" y="298"/>
                  </a:lnTo>
                  <a:lnTo>
                    <a:pt x="107" y="300"/>
                  </a:lnTo>
                  <a:lnTo>
                    <a:pt x="107" y="300"/>
                  </a:lnTo>
                  <a:lnTo>
                    <a:pt x="109" y="300"/>
                  </a:lnTo>
                  <a:lnTo>
                    <a:pt x="111" y="300"/>
                  </a:lnTo>
                  <a:lnTo>
                    <a:pt x="111" y="300"/>
                  </a:lnTo>
                  <a:lnTo>
                    <a:pt x="113" y="302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8" y="302"/>
                  </a:lnTo>
                  <a:lnTo>
                    <a:pt x="118" y="305"/>
                  </a:lnTo>
                  <a:lnTo>
                    <a:pt x="120" y="307"/>
                  </a:lnTo>
                  <a:lnTo>
                    <a:pt x="120" y="307"/>
                  </a:lnTo>
                  <a:lnTo>
                    <a:pt x="120" y="307"/>
                  </a:lnTo>
                  <a:lnTo>
                    <a:pt x="120" y="305"/>
                  </a:lnTo>
                  <a:lnTo>
                    <a:pt x="120" y="307"/>
                  </a:lnTo>
                  <a:lnTo>
                    <a:pt x="120" y="305"/>
                  </a:lnTo>
                  <a:lnTo>
                    <a:pt x="120" y="302"/>
                  </a:lnTo>
                  <a:lnTo>
                    <a:pt x="118" y="298"/>
                  </a:lnTo>
                  <a:close/>
                  <a:moveTo>
                    <a:pt x="65" y="235"/>
                  </a:moveTo>
                  <a:lnTo>
                    <a:pt x="65" y="235"/>
                  </a:lnTo>
                  <a:lnTo>
                    <a:pt x="65" y="233"/>
                  </a:lnTo>
                  <a:lnTo>
                    <a:pt x="65" y="231"/>
                  </a:lnTo>
                  <a:lnTo>
                    <a:pt x="63" y="231"/>
                  </a:lnTo>
                  <a:lnTo>
                    <a:pt x="61" y="231"/>
                  </a:lnTo>
                  <a:lnTo>
                    <a:pt x="61" y="231"/>
                  </a:lnTo>
                  <a:lnTo>
                    <a:pt x="59" y="231"/>
                  </a:lnTo>
                  <a:lnTo>
                    <a:pt x="59" y="229"/>
                  </a:lnTo>
                  <a:lnTo>
                    <a:pt x="59" y="227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7" y="225"/>
                  </a:lnTo>
                  <a:lnTo>
                    <a:pt x="57" y="225"/>
                  </a:lnTo>
                  <a:lnTo>
                    <a:pt x="53" y="220"/>
                  </a:lnTo>
                  <a:lnTo>
                    <a:pt x="53" y="218"/>
                  </a:lnTo>
                  <a:lnTo>
                    <a:pt x="50" y="216"/>
                  </a:lnTo>
                  <a:lnTo>
                    <a:pt x="53" y="216"/>
                  </a:lnTo>
                  <a:lnTo>
                    <a:pt x="55" y="218"/>
                  </a:lnTo>
                  <a:lnTo>
                    <a:pt x="55" y="218"/>
                  </a:lnTo>
                  <a:lnTo>
                    <a:pt x="55" y="216"/>
                  </a:lnTo>
                  <a:lnTo>
                    <a:pt x="53" y="212"/>
                  </a:lnTo>
                  <a:lnTo>
                    <a:pt x="50" y="210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46" y="204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4" y="202"/>
                  </a:lnTo>
                  <a:lnTo>
                    <a:pt x="46" y="199"/>
                  </a:lnTo>
                  <a:lnTo>
                    <a:pt x="46" y="199"/>
                  </a:lnTo>
                  <a:lnTo>
                    <a:pt x="46" y="199"/>
                  </a:lnTo>
                  <a:lnTo>
                    <a:pt x="46" y="199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2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2" y="193"/>
                  </a:lnTo>
                  <a:lnTo>
                    <a:pt x="40" y="191"/>
                  </a:lnTo>
                  <a:lnTo>
                    <a:pt x="40" y="191"/>
                  </a:lnTo>
                  <a:lnTo>
                    <a:pt x="38" y="187"/>
                  </a:lnTo>
                  <a:lnTo>
                    <a:pt x="38" y="185"/>
                  </a:lnTo>
                  <a:lnTo>
                    <a:pt x="36" y="185"/>
                  </a:lnTo>
                  <a:lnTo>
                    <a:pt x="36" y="183"/>
                  </a:lnTo>
                  <a:lnTo>
                    <a:pt x="34" y="183"/>
                  </a:lnTo>
                  <a:lnTo>
                    <a:pt x="34" y="181"/>
                  </a:lnTo>
                  <a:lnTo>
                    <a:pt x="34" y="178"/>
                  </a:lnTo>
                  <a:lnTo>
                    <a:pt x="32" y="178"/>
                  </a:lnTo>
                  <a:lnTo>
                    <a:pt x="32" y="176"/>
                  </a:lnTo>
                  <a:lnTo>
                    <a:pt x="30" y="176"/>
                  </a:lnTo>
                  <a:lnTo>
                    <a:pt x="32" y="176"/>
                  </a:lnTo>
                  <a:lnTo>
                    <a:pt x="32" y="176"/>
                  </a:lnTo>
                  <a:lnTo>
                    <a:pt x="34" y="176"/>
                  </a:lnTo>
                  <a:lnTo>
                    <a:pt x="34" y="176"/>
                  </a:lnTo>
                  <a:lnTo>
                    <a:pt x="34" y="174"/>
                  </a:lnTo>
                  <a:lnTo>
                    <a:pt x="34" y="172"/>
                  </a:lnTo>
                  <a:lnTo>
                    <a:pt x="32" y="170"/>
                  </a:lnTo>
                  <a:lnTo>
                    <a:pt x="30" y="170"/>
                  </a:lnTo>
                  <a:lnTo>
                    <a:pt x="30" y="168"/>
                  </a:lnTo>
                  <a:lnTo>
                    <a:pt x="27" y="168"/>
                  </a:lnTo>
                  <a:lnTo>
                    <a:pt x="25" y="170"/>
                  </a:lnTo>
                  <a:lnTo>
                    <a:pt x="23" y="170"/>
                  </a:lnTo>
                  <a:lnTo>
                    <a:pt x="21" y="172"/>
                  </a:lnTo>
                  <a:lnTo>
                    <a:pt x="19" y="172"/>
                  </a:lnTo>
                  <a:lnTo>
                    <a:pt x="17" y="172"/>
                  </a:lnTo>
                  <a:lnTo>
                    <a:pt x="15" y="172"/>
                  </a:lnTo>
                  <a:lnTo>
                    <a:pt x="13" y="170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9" y="172"/>
                  </a:lnTo>
                  <a:lnTo>
                    <a:pt x="6" y="172"/>
                  </a:lnTo>
                  <a:lnTo>
                    <a:pt x="6" y="174"/>
                  </a:lnTo>
                  <a:lnTo>
                    <a:pt x="6" y="176"/>
                  </a:lnTo>
                  <a:lnTo>
                    <a:pt x="6" y="181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4" y="189"/>
                  </a:lnTo>
                  <a:lnTo>
                    <a:pt x="2" y="193"/>
                  </a:lnTo>
                  <a:lnTo>
                    <a:pt x="0" y="195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4" y="202"/>
                  </a:lnTo>
                  <a:lnTo>
                    <a:pt x="4" y="202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4" y="204"/>
                  </a:lnTo>
                  <a:lnTo>
                    <a:pt x="6" y="204"/>
                  </a:lnTo>
                  <a:lnTo>
                    <a:pt x="21" y="227"/>
                  </a:lnTo>
                  <a:lnTo>
                    <a:pt x="23" y="231"/>
                  </a:lnTo>
                  <a:lnTo>
                    <a:pt x="23" y="233"/>
                  </a:lnTo>
                  <a:lnTo>
                    <a:pt x="23" y="233"/>
                  </a:lnTo>
                  <a:lnTo>
                    <a:pt x="23" y="235"/>
                  </a:lnTo>
                  <a:lnTo>
                    <a:pt x="25" y="235"/>
                  </a:lnTo>
                  <a:lnTo>
                    <a:pt x="30" y="239"/>
                  </a:lnTo>
                  <a:lnTo>
                    <a:pt x="30" y="242"/>
                  </a:lnTo>
                  <a:lnTo>
                    <a:pt x="36" y="244"/>
                  </a:lnTo>
                  <a:lnTo>
                    <a:pt x="38" y="246"/>
                  </a:lnTo>
                  <a:lnTo>
                    <a:pt x="48" y="252"/>
                  </a:lnTo>
                  <a:lnTo>
                    <a:pt x="50" y="252"/>
                  </a:lnTo>
                  <a:lnTo>
                    <a:pt x="53" y="252"/>
                  </a:lnTo>
                  <a:lnTo>
                    <a:pt x="53" y="250"/>
                  </a:lnTo>
                  <a:lnTo>
                    <a:pt x="55" y="250"/>
                  </a:lnTo>
                  <a:lnTo>
                    <a:pt x="57" y="250"/>
                  </a:lnTo>
                  <a:lnTo>
                    <a:pt x="59" y="250"/>
                  </a:lnTo>
                  <a:lnTo>
                    <a:pt x="61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3" y="244"/>
                  </a:lnTo>
                  <a:lnTo>
                    <a:pt x="59" y="237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61" y="235"/>
                  </a:lnTo>
                  <a:lnTo>
                    <a:pt x="63" y="237"/>
                  </a:lnTo>
                  <a:lnTo>
                    <a:pt x="63" y="239"/>
                  </a:lnTo>
                  <a:lnTo>
                    <a:pt x="65" y="246"/>
                  </a:lnTo>
                  <a:lnTo>
                    <a:pt x="67" y="244"/>
                  </a:lnTo>
                  <a:lnTo>
                    <a:pt x="67" y="242"/>
                  </a:lnTo>
                  <a:lnTo>
                    <a:pt x="67" y="237"/>
                  </a:lnTo>
                  <a:lnTo>
                    <a:pt x="65" y="235"/>
                  </a:lnTo>
                  <a:close/>
                  <a:moveTo>
                    <a:pt x="67" y="254"/>
                  </a:move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5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2"/>
                  </a:lnTo>
                  <a:lnTo>
                    <a:pt x="63" y="252"/>
                  </a:lnTo>
                  <a:lnTo>
                    <a:pt x="61" y="256"/>
                  </a:lnTo>
                  <a:lnTo>
                    <a:pt x="61" y="256"/>
                  </a:lnTo>
                  <a:lnTo>
                    <a:pt x="63" y="256"/>
                  </a:lnTo>
                  <a:lnTo>
                    <a:pt x="65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close/>
                  <a:moveTo>
                    <a:pt x="153" y="340"/>
                  </a:moveTo>
                  <a:lnTo>
                    <a:pt x="155" y="340"/>
                  </a:lnTo>
                  <a:lnTo>
                    <a:pt x="153" y="338"/>
                  </a:lnTo>
                  <a:lnTo>
                    <a:pt x="153" y="336"/>
                  </a:lnTo>
                  <a:lnTo>
                    <a:pt x="153" y="336"/>
                  </a:lnTo>
                  <a:lnTo>
                    <a:pt x="153" y="334"/>
                  </a:lnTo>
                  <a:lnTo>
                    <a:pt x="151" y="332"/>
                  </a:lnTo>
                  <a:lnTo>
                    <a:pt x="151" y="332"/>
                  </a:lnTo>
                  <a:lnTo>
                    <a:pt x="149" y="330"/>
                  </a:lnTo>
                  <a:lnTo>
                    <a:pt x="149" y="328"/>
                  </a:lnTo>
                  <a:lnTo>
                    <a:pt x="145" y="328"/>
                  </a:lnTo>
                  <a:lnTo>
                    <a:pt x="145" y="328"/>
                  </a:lnTo>
                  <a:lnTo>
                    <a:pt x="143" y="326"/>
                  </a:lnTo>
                  <a:lnTo>
                    <a:pt x="136" y="319"/>
                  </a:lnTo>
                  <a:lnTo>
                    <a:pt x="136" y="319"/>
                  </a:lnTo>
                  <a:lnTo>
                    <a:pt x="134" y="317"/>
                  </a:lnTo>
                  <a:lnTo>
                    <a:pt x="134" y="317"/>
                  </a:lnTo>
                  <a:lnTo>
                    <a:pt x="132" y="315"/>
                  </a:lnTo>
                  <a:lnTo>
                    <a:pt x="132" y="317"/>
                  </a:lnTo>
                  <a:lnTo>
                    <a:pt x="130" y="319"/>
                  </a:lnTo>
                  <a:lnTo>
                    <a:pt x="130" y="323"/>
                  </a:lnTo>
                  <a:lnTo>
                    <a:pt x="130" y="323"/>
                  </a:lnTo>
                  <a:lnTo>
                    <a:pt x="130" y="326"/>
                  </a:lnTo>
                  <a:lnTo>
                    <a:pt x="132" y="326"/>
                  </a:lnTo>
                  <a:lnTo>
                    <a:pt x="132" y="328"/>
                  </a:lnTo>
                  <a:lnTo>
                    <a:pt x="130" y="328"/>
                  </a:lnTo>
                  <a:lnTo>
                    <a:pt x="132" y="330"/>
                  </a:lnTo>
                  <a:lnTo>
                    <a:pt x="134" y="330"/>
                  </a:lnTo>
                  <a:lnTo>
                    <a:pt x="134" y="332"/>
                  </a:lnTo>
                  <a:lnTo>
                    <a:pt x="134" y="336"/>
                  </a:lnTo>
                  <a:lnTo>
                    <a:pt x="132" y="340"/>
                  </a:lnTo>
                  <a:lnTo>
                    <a:pt x="132" y="342"/>
                  </a:lnTo>
                  <a:lnTo>
                    <a:pt x="134" y="342"/>
                  </a:lnTo>
                  <a:lnTo>
                    <a:pt x="134" y="344"/>
                  </a:lnTo>
                  <a:lnTo>
                    <a:pt x="134" y="347"/>
                  </a:lnTo>
                  <a:lnTo>
                    <a:pt x="134" y="349"/>
                  </a:lnTo>
                  <a:lnTo>
                    <a:pt x="136" y="349"/>
                  </a:lnTo>
                  <a:lnTo>
                    <a:pt x="136" y="349"/>
                  </a:lnTo>
                  <a:lnTo>
                    <a:pt x="138" y="349"/>
                  </a:lnTo>
                  <a:lnTo>
                    <a:pt x="138" y="347"/>
                  </a:lnTo>
                  <a:lnTo>
                    <a:pt x="141" y="347"/>
                  </a:lnTo>
                  <a:lnTo>
                    <a:pt x="143" y="349"/>
                  </a:lnTo>
                  <a:lnTo>
                    <a:pt x="145" y="349"/>
                  </a:lnTo>
                  <a:lnTo>
                    <a:pt x="147" y="349"/>
                  </a:lnTo>
                  <a:lnTo>
                    <a:pt x="147" y="347"/>
                  </a:lnTo>
                  <a:lnTo>
                    <a:pt x="149" y="344"/>
                  </a:lnTo>
                  <a:lnTo>
                    <a:pt x="149" y="342"/>
                  </a:lnTo>
                  <a:lnTo>
                    <a:pt x="151" y="342"/>
                  </a:lnTo>
                  <a:lnTo>
                    <a:pt x="153" y="342"/>
                  </a:lnTo>
                  <a:lnTo>
                    <a:pt x="153" y="340"/>
                  </a:lnTo>
                  <a:close/>
                  <a:moveTo>
                    <a:pt x="308" y="191"/>
                  </a:moveTo>
                  <a:lnTo>
                    <a:pt x="306" y="191"/>
                  </a:lnTo>
                  <a:lnTo>
                    <a:pt x="306" y="191"/>
                  </a:lnTo>
                  <a:lnTo>
                    <a:pt x="306" y="191"/>
                  </a:lnTo>
                  <a:lnTo>
                    <a:pt x="304" y="191"/>
                  </a:lnTo>
                  <a:lnTo>
                    <a:pt x="304" y="189"/>
                  </a:lnTo>
                  <a:lnTo>
                    <a:pt x="302" y="189"/>
                  </a:lnTo>
                  <a:lnTo>
                    <a:pt x="302" y="187"/>
                  </a:lnTo>
                  <a:lnTo>
                    <a:pt x="302" y="185"/>
                  </a:lnTo>
                  <a:lnTo>
                    <a:pt x="302" y="183"/>
                  </a:lnTo>
                  <a:lnTo>
                    <a:pt x="300" y="181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300" y="176"/>
                  </a:lnTo>
                  <a:lnTo>
                    <a:pt x="298" y="176"/>
                  </a:lnTo>
                  <a:lnTo>
                    <a:pt x="298" y="176"/>
                  </a:lnTo>
                  <a:lnTo>
                    <a:pt x="296" y="174"/>
                  </a:lnTo>
                  <a:lnTo>
                    <a:pt x="291" y="174"/>
                  </a:lnTo>
                  <a:lnTo>
                    <a:pt x="283" y="172"/>
                  </a:lnTo>
                  <a:lnTo>
                    <a:pt x="277" y="170"/>
                  </a:lnTo>
                  <a:lnTo>
                    <a:pt x="275" y="168"/>
                  </a:lnTo>
                  <a:lnTo>
                    <a:pt x="268" y="162"/>
                  </a:lnTo>
                  <a:lnTo>
                    <a:pt x="260" y="157"/>
                  </a:lnTo>
                  <a:lnTo>
                    <a:pt x="249" y="149"/>
                  </a:lnTo>
                  <a:lnTo>
                    <a:pt x="233" y="128"/>
                  </a:lnTo>
                  <a:lnTo>
                    <a:pt x="229" y="120"/>
                  </a:lnTo>
                  <a:lnTo>
                    <a:pt x="226" y="120"/>
                  </a:lnTo>
                  <a:lnTo>
                    <a:pt x="222" y="118"/>
                  </a:lnTo>
                  <a:lnTo>
                    <a:pt x="214" y="113"/>
                  </a:lnTo>
                  <a:lnTo>
                    <a:pt x="212" y="107"/>
                  </a:lnTo>
                  <a:lnTo>
                    <a:pt x="210" y="105"/>
                  </a:lnTo>
                  <a:lnTo>
                    <a:pt x="210" y="103"/>
                  </a:lnTo>
                  <a:lnTo>
                    <a:pt x="208" y="103"/>
                  </a:lnTo>
                  <a:lnTo>
                    <a:pt x="208" y="99"/>
                  </a:lnTo>
                  <a:lnTo>
                    <a:pt x="208" y="97"/>
                  </a:lnTo>
                  <a:lnTo>
                    <a:pt x="205" y="92"/>
                  </a:lnTo>
                  <a:lnTo>
                    <a:pt x="203" y="90"/>
                  </a:lnTo>
                  <a:lnTo>
                    <a:pt x="203" y="90"/>
                  </a:lnTo>
                  <a:lnTo>
                    <a:pt x="203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05" y="88"/>
                  </a:lnTo>
                  <a:lnTo>
                    <a:pt x="212" y="88"/>
                  </a:lnTo>
                  <a:lnTo>
                    <a:pt x="212" y="88"/>
                  </a:lnTo>
                  <a:lnTo>
                    <a:pt x="212" y="86"/>
                  </a:lnTo>
                  <a:lnTo>
                    <a:pt x="214" y="86"/>
                  </a:lnTo>
                  <a:lnTo>
                    <a:pt x="214" y="86"/>
                  </a:lnTo>
                  <a:lnTo>
                    <a:pt x="214" y="80"/>
                  </a:lnTo>
                  <a:lnTo>
                    <a:pt x="214" y="78"/>
                  </a:lnTo>
                  <a:lnTo>
                    <a:pt x="214" y="69"/>
                  </a:lnTo>
                  <a:lnTo>
                    <a:pt x="214" y="67"/>
                  </a:lnTo>
                  <a:lnTo>
                    <a:pt x="214" y="67"/>
                  </a:lnTo>
                  <a:lnTo>
                    <a:pt x="214" y="65"/>
                  </a:lnTo>
                  <a:lnTo>
                    <a:pt x="212" y="63"/>
                  </a:lnTo>
                  <a:lnTo>
                    <a:pt x="212" y="63"/>
                  </a:lnTo>
                  <a:lnTo>
                    <a:pt x="210" y="61"/>
                  </a:lnTo>
                  <a:lnTo>
                    <a:pt x="210" y="59"/>
                  </a:lnTo>
                  <a:lnTo>
                    <a:pt x="208" y="59"/>
                  </a:lnTo>
                  <a:lnTo>
                    <a:pt x="208" y="59"/>
                  </a:lnTo>
                  <a:lnTo>
                    <a:pt x="208" y="59"/>
                  </a:lnTo>
                  <a:lnTo>
                    <a:pt x="208" y="59"/>
                  </a:lnTo>
                  <a:lnTo>
                    <a:pt x="205" y="59"/>
                  </a:lnTo>
                  <a:lnTo>
                    <a:pt x="205" y="59"/>
                  </a:lnTo>
                  <a:lnTo>
                    <a:pt x="205" y="59"/>
                  </a:lnTo>
                  <a:lnTo>
                    <a:pt x="205" y="59"/>
                  </a:lnTo>
                  <a:lnTo>
                    <a:pt x="201" y="55"/>
                  </a:lnTo>
                  <a:lnTo>
                    <a:pt x="199" y="52"/>
                  </a:lnTo>
                  <a:lnTo>
                    <a:pt x="195" y="50"/>
                  </a:lnTo>
                  <a:lnTo>
                    <a:pt x="189" y="46"/>
                  </a:lnTo>
                  <a:lnTo>
                    <a:pt x="185" y="42"/>
                  </a:lnTo>
                  <a:lnTo>
                    <a:pt x="182" y="40"/>
                  </a:lnTo>
                  <a:lnTo>
                    <a:pt x="180" y="40"/>
                  </a:lnTo>
                  <a:lnTo>
                    <a:pt x="178" y="40"/>
                  </a:lnTo>
                  <a:lnTo>
                    <a:pt x="176" y="40"/>
                  </a:lnTo>
                  <a:lnTo>
                    <a:pt x="174" y="40"/>
                  </a:lnTo>
                  <a:lnTo>
                    <a:pt x="174" y="42"/>
                  </a:lnTo>
                  <a:lnTo>
                    <a:pt x="172" y="42"/>
                  </a:lnTo>
                  <a:lnTo>
                    <a:pt x="172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59" y="40"/>
                  </a:lnTo>
                  <a:lnTo>
                    <a:pt x="155" y="34"/>
                  </a:lnTo>
                  <a:lnTo>
                    <a:pt x="155" y="31"/>
                  </a:lnTo>
                  <a:lnTo>
                    <a:pt x="153" y="29"/>
                  </a:lnTo>
                  <a:lnTo>
                    <a:pt x="151" y="29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49" y="19"/>
                  </a:lnTo>
                  <a:lnTo>
                    <a:pt x="151" y="19"/>
                  </a:lnTo>
                  <a:lnTo>
                    <a:pt x="153" y="17"/>
                  </a:lnTo>
                  <a:lnTo>
                    <a:pt x="153" y="17"/>
                  </a:lnTo>
                  <a:lnTo>
                    <a:pt x="153" y="17"/>
                  </a:lnTo>
                  <a:lnTo>
                    <a:pt x="153" y="15"/>
                  </a:lnTo>
                  <a:lnTo>
                    <a:pt x="153" y="15"/>
                  </a:lnTo>
                  <a:lnTo>
                    <a:pt x="153" y="13"/>
                  </a:lnTo>
                  <a:lnTo>
                    <a:pt x="151" y="10"/>
                  </a:lnTo>
                  <a:lnTo>
                    <a:pt x="149" y="13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3" y="10"/>
                  </a:lnTo>
                  <a:lnTo>
                    <a:pt x="141" y="8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4" y="6"/>
                  </a:lnTo>
                  <a:lnTo>
                    <a:pt x="130" y="6"/>
                  </a:lnTo>
                  <a:lnTo>
                    <a:pt x="130" y="4"/>
                  </a:lnTo>
                  <a:lnTo>
                    <a:pt x="128" y="4"/>
                  </a:lnTo>
                  <a:lnTo>
                    <a:pt x="124" y="4"/>
                  </a:lnTo>
                  <a:lnTo>
                    <a:pt x="120" y="2"/>
                  </a:lnTo>
                  <a:lnTo>
                    <a:pt x="118" y="0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7" y="2"/>
                  </a:lnTo>
                  <a:lnTo>
                    <a:pt x="107" y="4"/>
                  </a:lnTo>
                  <a:lnTo>
                    <a:pt x="109" y="4"/>
                  </a:lnTo>
                  <a:lnTo>
                    <a:pt x="109" y="4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5" y="15"/>
                  </a:lnTo>
                  <a:lnTo>
                    <a:pt x="118" y="17"/>
                  </a:lnTo>
                  <a:lnTo>
                    <a:pt x="122" y="21"/>
                  </a:lnTo>
                  <a:lnTo>
                    <a:pt x="122" y="21"/>
                  </a:lnTo>
                  <a:lnTo>
                    <a:pt x="122" y="23"/>
                  </a:lnTo>
                  <a:lnTo>
                    <a:pt x="124" y="25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6" y="31"/>
                  </a:lnTo>
                  <a:lnTo>
                    <a:pt x="126" y="31"/>
                  </a:lnTo>
                  <a:lnTo>
                    <a:pt x="126" y="34"/>
                  </a:lnTo>
                  <a:lnTo>
                    <a:pt x="126" y="36"/>
                  </a:lnTo>
                  <a:lnTo>
                    <a:pt x="124" y="36"/>
                  </a:lnTo>
                  <a:lnTo>
                    <a:pt x="124" y="38"/>
                  </a:lnTo>
                  <a:lnTo>
                    <a:pt x="120" y="38"/>
                  </a:lnTo>
                  <a:lnTo>
                    <a:pt x="118" y="38"/>
                  </a:lnTo>
                  <a:lnTo>
                    <a:pt x="115" y="38"/>
                  </a:lnTo>
                  <a:lnTo>
                    <a:pt x="113" y="38"/>
                  </a:lnTo>
                  <a:lnTo>
                    <a:pt x="113" y="38"/>
                  </a:lnTo>
                  <a:lnTo>
                    <a:pt x="113" y="36"/>
                  </a:lnTo>
                  <a:lnTo>
                    <a:pt x="111" y="36"/>
                  </a:lnTo>
                  <a:lnTo>
                    <a:pt x="107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3" y="36"/>
                  </a:lnTo>
                  <a:lnTo>
                    <a:pt x="103" y="34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7" y="29"/>
                  </a:lnTo>
                  <a:lnTo>
                    <a:pt x="94" y="29"/>
                  </a:lnTo>
                  <a:lnTo>
                    <a:pt x="92" y="29"/>
                  </a:lnTo>
                  <a:lnTo>
                    <a:pt x="90" y="31"/>
                  </a:lnTo>
                  <a:lnTo>
                    <a:pt x="84" y="34"/>
                  </a:lnTo>
                  <a:lnTo>
                    <a:pt x="82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4" y="38"/>
                  </a:lnTo>
                  <a:lnTo>
                    <a:pt x="71" y="38"/>
                  </a:lnTo>
                  <a:lnTo>
                    <a:pt x="65" y="46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61" y="61"/>
                  </a:lnTo>
                  <a:lnTo>
                    <a:pt x="61" y="63"/>
                  </a:lnTo>
                  <a:lnTo>
                    <a:pt x="63" y="63"/>
                  </a:lnTo>
                  <a:lnTo>
                    <a:pt x="63" y="61"/>
                  </a:lnTo>
                  <a:lnTo>
                    <a:pt x="67" y="61"/>
                  </a:lnTo>
                  <a:lnTo>
                    <a:pt x="69" y="59"/>
                  </a:lnTo>
                  <a:lnTo>
                    <a:pt x="71" y="61"/>
                  </a:lnTo>
                  <a:lnTo>
                    <a:pt x="74" y="61"/>
                  </a:lnTo>
                  <a:lnTo>
                    <a:pt x="76" y="65"/>
                  </a:lnTo>
                  <a:lnTo>
                    <a:pt x="76" y="67"/>
                  </a:lnTo>
                  <a:lnTo>
                    <a:pt x="78" y="67"/>
                  </a:lnTo>
                  <a:lnTo>
                    <a:pt x="80" y="67"/>
                  </a:lnTo>
                  <a:lnTo>
                    <a:pt x="82" y="67"/>
                  </a:lnTo>
                  <a:lnTo>
                    <a:pt x="86" y="67"/>
                  </a:lnTo>
                  <a:lnTo>
                    <a:pt x="90" y="69"/>
                  </a:lnTo>
                  <a:lnTo>
                    <a:pt x="97" y="73"/>
                  </a:lnTo>
                  <a:lnTo>
                    <a:pt x="99" y="76"/>
                  </a:lnTo>
                  <a:lnTo>
                    <a:pt x="105" y="80"/>
                  </a:lnTo>
                  <a:lnTo>
                    <a:pt x="109" y="86"/>
                  </a:lnTo>
                  <a:lnTo>
                    <a:pt x="111" y="88"/>
                  </a:lnTo>
                  <a:lnTo>
                    <a:pt x="111" y="90"/>
                  </a:lnTo>
                  <a:lnTo>
                    <a:pt x="111" y="92"/>
                  </a:lnTo>
                  <a:lnTo>
                    <a:pt x="111" y="94"/>
                  </a:lnTo>
                  <a:lnTo>
                    <a:pt x="111" y="94"/>
                  </a:lnTo>
                  <a:lnTo>
                    <a:pt x="111" y="97"/>
                  </a:lnTo>
                  <a:lnTo>
                    <a:pt x="111" y="99"/>
                  </a:lnTo>
                  <a:lnTo>
                    <a:pt x="111" y="99"/>
                  </a:lnTo>
                  <a:lnTo>
                    <a:pt x="113" y="101"/>
                  </a:lnTo>
                  <a:lnTo>
                    <a:pt x="113" y="103"/>
                  </a:lnTo>
                  <a:lnTo>
                    <a:pt x="115" y="103"/>
                  </a:lnTo>
                  <a:lnTo>
                    <a:pt x="115" y="105"/>
                  </a:lnTo>
                  <a:lnTo>
                    <a:pt x="115" y="105"/>
                  </a:lnTo>
                  <a:lnTo>
                    <a:pt x="115" y="109"/>
                  </a:lnTo>
                  <a:lnTo>
                    <a:pt x="115" y="109"/>
                  </a:lnTo>
                  <a:lnTo>
                    <a:pt x="118" y="111"/>
                  </a:lnTo>
                  <a:lnTo>
                    <a:pt x="120" y="113"/>
                  </a:lnTo>
                  <a:lnTo>
                    <a:pt x="124" y="115"/>
                  </a:lnTo>
                  <a:lnTo>
                    <a:pt x="126" y="118"/>
                  </a:lnTo>
                  <a:lnTo>
                    <a:pt x="126" y="120"/>
                  </a:lnTo>
                  <a:lnTo>
                    <a:pt x="128" y="122"/>
                  </a:lnTo>
                  <a:lnTo>
                    <a:pt x="134" y="126"/>
                  </a:lnTo>
                  <a:lnTo>
                    <a:pt x="136" y="128"/>
                  </a:lnTo>
                  <a:lnTo>
                    <a:pt x="143" y="134"/>
                  </a:lnTo>
                  <a:lnTo>
                    <a:pt x="147" y="143"/>
                  </a:lnTo>
                  <a:lnTo>
                    <a:pt x="149" y="145"/>
                  </a:lnTo>
                  <a:lnTo>
                    <a:pt x="162" y="160"/>
                  </a:lnTo>
                  <a:lnTo>
                    <a:pt x="166" y="164"/>
                  </a:lnTo>
                  <a:lnTo>
                    <a:pt x="166" y="168"/>
                  </a:lnTo>
                  <a:lnTo>
                    <a:pt x="168" y="174"/>
                  </a:lnTo>
                  <a:lnTo>
                    <a:pt x="170" y="178"/>
                  </a:lnTo>
                  <a:lnTo>
                    <a:pt x="170" y="181"/>
                  </a:lnTo>
                  <a:lnTo>
                    <a:pt x="172" y="181"/>
                  </a:lnTo>
                  <a:lnTo>
                    <a:pt x="172" y="181"/>
                  </a:lnTo>
                  <a:lnTo>
                    <a:pt x="174" y="183"/>
                  </a:lnTo>
                  <a:lnTo>
                    <a:pt x="172" y="183"/>
                  </a:lnTo>
                  <a:lnTo>
                    <a:pt x="172" y="183"/>
                  </a:lnTo>
                  <a:lnTo>
                    <a:pt x="172" y="183"/>
                  </a:lnTo>
                  <a:lnTo>
                    <a:pt x="170" y="183"/>
                  </a:lnTo>
                  <a:lnTo>
                    <a:pt x="170" y="183"/>
                  </a:lnTo>
                  <a:lnTo>
                    <a:pt x="168" y="183"/>
                  </a:lnTo>
                  <a:lnTo>
                    <a:pt x="170" y="185"/>
                  </a:lnTo>
                  <a:lnTo>
                    <a:pt x="170" y="187"/>
                  </a:lnTo>
                  <a:lnTo>
                    <a:pt x="170" y="187"/>
                  </a:lnTo>
                  <a:lnTo>
                    <a:pt x="170" y="187"/>
                  </a:lnTo>
                  <a:lnTo>
                    <a:pt x="170" y="187"/>
                  </a:lnTo>
                  <a:lnTo>
                    <a:pt x="168" y="187"/>
                  </a:lnTo>
                  <a:lnTo>
                    <a:pt x="168" y="189"/>
                  </a:lnTo>
                  <a:lnTo>
                    <a:pt x="168" y="191"/>
                  </a:lnTo>
                  <a:lnTo>
                    <a:pt x="168" y="191"/>
                  </a:lnTo>
                  <a:lnTo>
                    <a:pt x="170" y="191"/>
                  </a:lnTo>
                  <a:lnTo>
                    <a:pt x="174" y="195"/>
                  </a:lnTo>
                  <a:lnTo>
                    <a:pt x="174" y="195"/>
                  </a:lnTo>
                  <a:lnTo>
                    <a:pt x="174" y="197"/>
                  </a:lnTo>
                  <a:lnTo>
                    <a:pt x="174" y="199"/>
                  </a:lnTo>
                  <a:lnTo>
                    <a:pt x="174" y="199"/>
                  </a:lnTo>
                  <a:lnTo>
                    <a:pt x="172" y="202"/>
                  </a:lnTo>
                  <a:lnTo>
                    <a:pt x="172" y="202"/>
                  </a:lnTo>
                  <a:lnTo>
                    <a:pt x="172" y="202"/>
                  </a:lnTo>
                  <a:lnTo>
                    <a:pt x="174" y="202"/>
                  </a:lnTo>
                  <a:lnTo>
                    <a:pt x="176" y="202"/>
                  </a:lnTo>
                  <a:lnTo>
                    <a:pt x="176" y="202"/>
                  </a:lnTo>
                  <a:lnTo>
                    <a:pt x="176" y="202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4"/>
                  </a:lnTo>
                  <a:lnTo>
                    <a:pt x="178" y="204"/>
                  </a:lnTo>
                  <a:lnTo>
                    <a:pt x="180" y="204"/>
                  </a:lnTo>
                  <a:lnTo>
                    <a:pt x="185" y="206"/>
                  </a:lnTo>
                  <a:lnTo>
                    <a:pt x="187" y="206"/>
                  </a:lnTo>
                  <a:lnTo>
                    <a:pt x="187" y="208"/>
                  </a:lnTo>
                  <a:lnTo>
                    <a:pt x="189" y="210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7" y="214"/>
                  </a:lnTo>
                  <a:lnTo>
                    <a:pt x="189" y="214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8"/>
                  </a:lnTo>
                  <a:lnTo>
                    <a:pt x="187" y="218"/>
                  </a:lnTo>
                  <a:lnTo>
                    <a:pt x="189" y="220"/>
                  </a:lnTo>
                  <a:lnTo>
                    <a:pt x="193" y="223"/>
                  </a:lnTo>
                  <a:lnTo>
                    <a:pt x="193" y="225"/>
                  </a:lnTo>
                  <a:lnTo>
                    <a:pt x="193" y="229"/>
                  </a:lnTo>
                  <a:lnTo>
                    <a:pt x="195" y="233"/>
                  </a:lnTo>
                  <a:lnTo>
                    <a:pt x="195" y="235"/>
                  </a:lnTo>
                  <a:lnTo>
                    <a:pt x="197" y="237"/>
                  </a:lnTo>
                  <a:lnTo>
                    <a:pt x="201" y="242"/>
                  </a:lnTo>
                  <a:lnTo>
                    <a:pt x="205" y="250"/>
                  </a:lnTo>
                  <a:lnTo>
                    <a:pt x="205" y="252"/>
                  </a:lnTo>
                  <a:lnTo>
                    <a:pt x="208" y="252"/>
                  </a:lnTo>
                  <a:lnTo>
                    <a:pt x="208" y="254"/>
                  </a:lnTo>
                  <a:lnTo>
                    <a:pt x="214" y="258"/>
                  </a:lnTo>
                  <a:lnTo>
                    <a:pt x="214" y="260"/>
                  </a:lnTo>
                  <a:lnTo>
                    <a:pt x="216" y="263"/>
                  </a:lnTo>
                  <a:lnTo>
                    <a:pt x="216" y="267"/>
                  </a:lnTo>
                  <a:lnTo>
                    <a:pt x="216" y="271"/>
                  </a:lnTo>
                  <a:lnTo>
                    <a:pt x="218" y="273"/>
                  </a:lnTo>
                  <a:lnTo>
                    <a:pt x="216" y="277"/>
                  </a:lnTo>
                  <a:lnTo>
                    <a:pt x="214" y="281"/>
                  </a:lnTo>
                  <a:lnTo>
                    <a:pt x="212" y="284"/>
                  </a:lnTo>
                  <a:lnTo>
                    <a:pt x="212" y="286"/>
                  </a:lnTo>
                  <a:lnTo>
                    <a:pt x="214" y="286"/>
                  </a:lnTo>
                  <a:lnTo>
                    <a:pt x="220" y="302"/>
                  </a:lnTo>
                  <a:lnTo>
                    <a:pt x="231" y="315"/>
                  </a:lnTo>
                  <a:lnTo>
                    <a:pt x="231" y="315"/>
                  </a:lnTo>
                  <a:lnTo>
                    <a:pt x="231" y="315"/>
                  </a:lnTo>
                  <a:lnTo>
                    <a:pt x="235" y="311"/>
                  </a:lnTo>
                  <a:lnTo>
                    <a:pt x="243" y="305"/>
                  </a:lnTo>
                  <a:lnTo>
                    <a:pt x="245" y="305"/>
                  </a:lnTo>
                  <a:lnTo>
                    <a:pt x="249" y="302"/>
                  </a:lnTo>
                  <a:lnTo>
                    <a:pt x="252" y="302"/>
                  </a:lnTo>
                  <a:lnTo>
                    <a:pt x="256" y="298"/>
                  </a:lnTo>
                  <a:lnTo>
                    <a:pt x="260" y="298"/>
                  </a:lnTo>
                  <a:lnTo>
                    <a:pt x="256" y="288"/>
                  </a:lnTo>
                  <a:lnTo>
                    <a:pt x="252" y="277"/>
                  </a:lnTo>
                  <a:lnTo>
                    <a:pt x="252" y="275"/>
                  </a:lnTo>
                  <a:lnTo>
                    <a:pt x="249" y="275"/>
                  </a:lnTo>
                  <a:lnTo>
                    <a:pt x="247" y="273"/>
                  </a:lnTo>
                  <a:lnTo>
                    <a:pt x="245" y="271"/>
                  </a:lnTo>
                  <a:lnTo>
                    <a:pt x="243" y="269"/>
                  </a:lnTo>
                  <a:lnTo>
                    <a:pt x="241" y="263"/>
                  </a:lnTo>
                  <a:lnTo>
                    <a:pt x="241" y="258"/>
                  </a:lnTo>
                  <a:lnTo>
                    <a:pt x="239" y="252"/>
                  </a:lnTo>
                  <a:lnTo>
                    <a:pt x="239" y="244"/>
                  </a:lnTo>
                  <a:lnTo>
                    <a:pt x="243" y="244"/>
                  </a:lnTo>
                  <a:lnTo>
                    <a:pt x="243" y="244"/>
                  </a:lnTo>
                  <a:lnTo>
                    <a:pt x="245" y="244"/>
                  </a:lnTo>
                  <a:lnTo>
                    <a:pt x="247" y="246"/>
                  </a:lnTo>
                  <a:lnTo>
                    <a:pt x="249" y="246"/>
                  </a:lnTo>
                  <a:lnTo>
                    <a:pt x="266" y="242"/>
                  </a:lnTo>
                  <a:lnTo>
                    <a:pt x="266" y="244"/>
                  </a:lnTo>
                  <a:lnTo>
                    <a:pt x="270" y="244"/>
                  </a:lnTo>
                  <a:lnTo>
                    <a:pt x="273" y="244"/>
                  </a:lnTo>
                  <a:lnTo>
                    <a:pt x="273" y="242"/>
                  </a:lnTo>
                  <a:lnTo>
                    <a:pt x="275" y="239"/>
                  </a:lnTo>
                  <a:lnTo>
                    <a:pt x="277" y="237"/>
                  </a:lnTo>
                  <a:lnTo>
                    <a:pt x="281" y="233"/>
                  </a:lnTo>
                  <a:lnTo>
                    <a:pt x="289" y="227"/>
                  </a:lnTo>
                  <a:lnTo>
                    <a:pt x="291" y="225"/>
                  </a:lnTo>
                  <a:lnTo>
                    <a:pt x="291" y="223"/>
                  </a:lnTo>
                  <a:lnTo>
                    <a:pt x="293" y="220"/>
                  </a:lnTo>
                  <a:lnTo>
                    <a:pt x="293" y="220"/>
                  </a:lnTo>
                  <a:lnTo>
                    <a:pt x="291" y="218"/>
                  </a:lnTo>
                  <a:lnTo>
                    <a:pt x="291" y="218"/>
                  </a:lnTo>
                  <a:lnTo>
                    <a:pt x="291" y="218"/>
                  </a:lnTo>
                  <a:lnTo>
                    <a:pt x="293" y="214"/>
                  </a:lnTo>
                  <a:lnTo>
                    <a:pt x="293" y="214"/>
                  </a:lnTo>
                  <a:lnTo>
                    <a:pt x="291" y="208"/>
                  </a:lnTo>
                  <a:lnTo>
                    <a:pt x="291" y="206"/>
                  </a:lnTo>
                  <a:lnTo>
                    <a:pt x="291" y="204"/>
                  </a:lnTo>
                  <a:lnTo>
                    <a:pt x="293" y="204"/>
                  </a:lnTo>
                  <a:lnTo>
                    <a:pt x="293" y="202"/>
                  </a:lnTo>
                  <a:lnTo>
                    <a:pt x="293" y="202"/>
                  </a:lnTo>
                  <a:lnTo>
                    <a:pt x="296" y="202"/>
                  </a:lnTo>
                  <a:lnTo>
                    <a:pt x="298" y="202"/>
                  </a:lnTo>
                  <a:lnTo>
                    <a:pt x="302" y="199"/>
                  </a:lnTo>
                  <a:lnTo>
                    <a:pt x="304" y="199"/>
                  </a:lnTo>
                  <a:lnTo>
                    <a:pt x="306" y="195"/>
                  </a:lnTo>
                  <a:lnTo>
                    <a:pt x="306" y="193"/>
                  </a:lnTo>
                  <a:lnTo>
                    <a:pt x="308" y="191"/>
                  </a:lnTo>
                  <a:lnTo>
                    <a:pt x="308" y="191"/>
                  </a:lnTo>
                  <a:lnTo>
                    <a:pt x="308" y="191"/>
                  </a:lnTo>
                  <a:close/>
                  <a:moveTo>
                    <a:pt x="197" y="410"/>
                  </a:moveTo>
                  <a:lnTo>
                    <a:pt x="197" y="410"/>
                  </a:lnTo>
                  <a:lnTo>
                    <a:pt x="195" y="407"/>
                  </a:lnTo>
                  <a:lnTo>
                    <a:pt x="193" y="407"/>
                  </a:lnTo>
                  <a:lnTo>
                    <a:pt x="193" y="407"/>
                  </a:lnTo>
                  <a:lnTo>
                    <a:pt x="193" y="410"/>
                  </a:lnTo>
                  <a:lnTo>
                    <a:pt x="193" y="410"/>
                  </a:lnTo>
                  <a:lnTo>
                    <a:pt x="193" y="410"/>
                  </a:lnTo>
                  <a:lnTo>
                    <a:pt x="195" y="410"/>
                  </a:lnTo>
                  <a:lnTo>
                    <a:pt x="195" y="410"/>
                  </a:lnTo>
                  <a:lnTo>
                    <a:pt x="197" y="410"/>
                  </a:lnTo>
                  <a:lnTo>
                    <a:pt x="197" y="410"/>
                  </a:lnTo>
                  <a:lnTo>
                    <a:pt x="197" y="410"/>
                  </a:lnTo>
                  <a:close/>
                  <a:moveTo>
                    <a:pt x="182" y="378"/>
                  </a:moveTo>
                  <a:lnTo>
                    <a:pt x="182" y="376"/>
                  </a:lnTo>
                  <a:lnTo>
                    <a:pt x="180" y="378"/>
                  </a:lnTo>
                  <a:lnTo>
                    <a:pt x="180" y="380"/>
                  </a:lnTo>
                  <a:lnTo>
                    <a:pt x="182" y="382"/>
                  </a:lnTo>
                  <a:lnTo>
                    <a:pt x="185" y="382"/>
                  </a:lnTo>
                  <a:lnTo>
                    <a:pt x="185" y="380"/>
                  </a:lnTo>
                  <a:lnTo>
                    <a:pt x="182" y="378"/>
                  </a:lnTo>
                  <a:lnTo>
                    <a:pt x="182" y="378"/>
                  </a:lnTo>
                  <a:close/>
                  <a:moveTo>
                    <a:pt x="174" y="386"/>
                  </a:moveTo>
                  <a:lnTo>
                    <a:pt x="172" y="384"/>
                  </a:lnTo>
                  <a:lnTo>
                    <a:pt x="172" y="382"/>
                  </a:lnTo>
                  <a:lnTo>
                    <a:pt x="172" y="380"/>
                  </a:lnTo>
                  <a:lnTo>
                    <a:pt x="172" y="380"/>
                  </a:lnTo>
                  <a:lnTo>
                    <a:pt x="172" y="380"/>
                  </a:lnTo>
                  <a:lnTo>
                    <a:pt x="170" y="380"/>
                  </a:lnTo>
                  <a:lnTo>
                    <a:pt x="170" y="378"/>
                  </a:lnTo>
                  <a:lnTo>
                    <a:pt x="170" y="378"/>
                  </a:lnTo>
                  <a:lnTo>
                    <a:pt x="172" y="376"/>
                  </a:lnTo>
                  <a:lnTo>
                    <a:pt x="172" y="378"/>
                  </a:lnTo>
                  <a:lnTo>
                    <a:pt x="174" y="378"/>
                  </a:lnTo>
                  <a:lnTo>
                    <a:pt x="174" y="378"/>
                  </a:lnTo>
                  <a:lnTo>
                    <a:pt x="176" y="376"/>
                  </a:lnTo>
                  <a:lnTo>
                    <a:pt x="178" y="376"/>
                  </a:lnTo>
                  <a:lnTo>
                    <a:pt x="178" y="376"/>
                  </a:lnTo>
                  <a:lnTo>
                    <a:pt x="178" y="372"/>
                  </a:lnTo>
                  <a:lnTo>
                    <a:pt x="178" y="372"/>
                  </a:lnTo>
                  <a:lnTo>
                    <a:pt x="178" y="370"/>
                  </a:lnTo>
                  <a:lnTo>
                    <a:pt x="178" y="368"/>
                  </a:lnTo>
                  <a:lnTo>
                    <a:pt x="178" y="365"/>
                  </a:lnTo>
                  <a:lnTo>
                    <a:pt x="172" y="361"/>
                  </a:lnTo>
                  <a:lnTo>
                    <a:pt x="170" y="357"/>
                  </a:lnTo>
                  <a:lnTo>
                    <a:pt x="168" y="355"/>
                  </a:lnTo>
                  <a:lnTo>
                    <a:pt x="162" y="349"/>
                  </a:lnTo>
                  <a:lnTo>
                    <a:pt x="162" y="349"/>
                  </a:lnTo>
                  <a:lnTo>
                    <a:pt x="162" y="349"/>
                  </a:lnTo>
                  <a:lnTo>
                    <a:pt x="159" y="349"/>
                  </a:lnTo>
                  <a:lnTo>
                    <a:pt x="159" y="349"/>
                  </a:lnTo>
                  <a:lnTo>
                    <a:pt x="157" y="344"/>
                  </a:lnTo>
                  <a:lnTo>
                    <a:pt x="157" y="344"/>
                  </a:lnTo>
                  <a:lnTo>
                    <a:pt x="157" y="344"/>
                  </a:lnTo>
                  <a:lnTo>
                    <a:pt x="155" y="342"/>
                  </a:lnTo>
                  <a:lnTo>
                    <a:pt x="151" y="344"/>
                  </a:lnTo>
                  <a:lnTo>
                    <a:pt x="151" y="347"/>
                  </a:lnTo>
                  <a:lnTo>
                    <a:pt x="151" y="349"/>
                  </a:lnTo>
                  <a:lnTo>
                    <a:pt x="153" y="355"/>
                  </a:lnTo>
                  <a:lnTo>
                    <a:pt x="153" y="357"/>
                  </a:lnTo>
                  <a:lnTo>
                    <a:pt x="153" y="357"/>
                  </a:lnTo>
                  <a:lnTo>
                    <a:pt x="151" y="359"/>
                  </a:lnTo>
                  <a:lnTo>
                    <a:pt x="151" y="359"/>
                  </a:lnTo>
                  <a:lnTo>
                    <a:pt x="151" y="361"/>
                  </a:lnTo>
                  <a:lnTo>
                    <a:pt x="153" y="363"/>
                  </a:lnTo>
                  <a:lnTo>
                    <a:pt x="153" y="363"/>
                  </a:lnTo>
                  <a:lnTo>
                    <a:pt x="153" y="365"/>
                  </a:lnTo>
                  <a:lnTo>
                    <a:pt x="157" y="370"/>
                  </a:lnTo>
                  <a:lnTo>
                    <a:pt x="157" y="370"/>
                  </a:lnTo>
                  <a:lnTo>
                    <a:pt x="157" y="372"/>
                  </a:lnTo>
                  <a:lnTo>
                    <a:pt x="157" y="372"/>
                  </a:lnTo>
                  <a:lnTo>
                    <a:pt x="159" y="372"/>
                  </a:lnTo>
                  <a:lnTo>
                    <a:pt x="162" y="372"/>
                  </a:lnTo>
                  <a:lnTo>
                    <a:pt x="166" y="376"/>
                  </a:lnTo>
                  <a:lnTo>
                    <a:pt x="166" y="378"/>
                  </a:lnTo>
                  <a:lnTo>
                    <a:pt x="166" y="378"/>
                  </a:lnTo>
                  <a:lnTo>
                    <a:pt x="166" y="380"/>
                  </a:lnTo>
                  <a:lnTo>
                    <a:pt x="166" y="382"/>
                  </a:lnTo>
                  <a:lnTo>
                    <a:pt x="168" y="382"/>
                  </a:lnTo>
                  <a:lnTo>
                    <a:pt x="168" y="384"/>
                  </a:lnTo>
                  <a:lnTo>
                    <a:pt x="168" y="384"/>
                  </a:lnTo>
                  <a:lnTo>
                    <a:pt x="166" y="384"/>
                  </a:lnTo>
                  <a:lnTo>
                    <a:pt x="166" y="384"/>
                  </a:lnTo>
                  <a:lnTo>
                    <a:pt x="166" y="384"/>
                  </a:lnTo>
                  <a:lnTo>
                    <a:pt x="166" y="382"/>
                  </a:lnTo>
                  <a:lnTo>
                    <a:pt x="166" y="382"/>
                  </a:lnTo>
                  <a:lnTo>
                    <a:pt x="166" y="384"/>
                  </a:lnTo>
                  <a:lnTo>
                    <a:pt x="166" y="386"/>
                  </a:lnTo>
                  <a:lnTo>
                    <a:pt x="168" y="386"/>
                  </a:lnTo>
                  <a:lnTo>
                    <a:pt x="168" y="386"/>
                  </a:lnTo>
                  <a:lnTo>
                    <a:pt x="168" y="386"/>
                  </a:lnTo>
                  <a:lnTo>
                    <a:pt x="170" y="386"/>
                  </a:lnTo>
                  <a:lnTo>
                    <a:pt x="170" y="389"/>
                  </a:lnTo>
                  <a:lnTo>
                    <a:pt x="170" y="391"/>
                  </a:lnTo>
                  <a:lnTo>
                    <a:pt x="170" y="391"/>
                  </a:lnTo>
                  <a:lnTo>
                    <a:pt x="170" y="391"/>
                  </a:lnTo>
                  <a:lnTo>
                    <a:pt x="172" y="391"/>
                  </a:lnTo>
                  <a:lnTo>
                    <a:pt x="174" y="393"/>
                  </a:lnTo>
                  <a:lnTo>
                    <a:pt x="174" y="393"/>
                  </a:lnTo>
                  <a:lnTo>
                    <a:pt x="176" y="395"/>
                  </a:lnTo>
                  <a:lnTo>
                    <a:pt x="176" y="397"/>
                  </a:lnTo>
                  <a:lnTo>
                    <a:pt x="178" y="395"/>
                  </a:lnTo>
                  <a:lnTo>
                    <a:pt x="178" y="391"/>
                  </a:lnTo>
                  <a:lnTo>
                    <a:pt x="174" y="38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0" name="Freeform 98">
              <a:extLst>
                <a:ext uri="{FF2B5EF4-FFF2-40B4-BE49-F238E27FC236}">
                  <a16:creationId xmlns:a16="http://schemas.microsoft.com/office/drawing/2014/main" id="{965A6D04-7E86-42FC-A227-CE0C5E832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2562" y="1260093"/>
              <a:ext cx="448866" cy="364331"/>
            </a:xfrm>
            <a:custGeom>
              <a:avLst/>
              <a:gdLst>
                <a:gd name="T0" fmla="*/ 369 w 377"/>
                <a:gd name="T1" fmla="*/ 117 h 306"/>
                <a:gd name="T2" fmla="*/ 348 w 377"/>
                <a:gd name="T3" fmla="*/ 92 h 306"/>
                <a:gd name="T4" fmla="*/ 333 w 377"/>
                <a:gd name="T5" fmla="*/ 81 h 306"/>
                <a:gd name="T6" fmla="*/ 329 w 377"/>
                <a:gd name="T7" fmla="*/ 69 h 306"/>
                <a:gd name="T8" fmla="*/ 306 w 377"/>
                <a:gd name="T9" fmla="*/ 63 h 306"/>
                <a:gd name="T10" fmla="*/ 281 w 377"/>
                <a:gd name="T11" fmla="*/ 63 h 306"/>
                <a:gd name="T12" fmla="*/ 268 w 377"/>
                <a:gd name="T13" fmla="*/ 60 h 306"/>
                <a:gd name="T14" fmla="*/ 256 w 377"/>
                <a:gd name="T15" fmla="*/ 73 h 306"/>
                <a:gd name="T16" fmla="*/ 233 w 377"/>
                <a:gd name="T17" fmla="*/ 100 h 306"/>
                <a:gd name="T18" fmla="*/ 245 w 377"/>
                <a:gd name="T19" fmla="*/ 86 h 306"/>
                <a:gd name="T20" fmla="*/ 239 w 377"/>
                <a:gd name="T21" fmla="*/ 67 h 306"/>
                <a:gd name="T22" fmla="*/ 266 w 377"/>
                <a:gd name="T23" fmla="*/ 39 h 306"/>
                <a:gd name="T24" fmla="*/ 247 w 377"/>
                <a:gd name="T25" fmla="*/ 33 h 306"/>
                <a:gd name="T26" fmla="*/ 239 w 377"/>
                <a:gd name="T27" fmla="*/ 31 h 306"/>
                <a:gd name="T28" fmla="*/ 235 w 377"/>
                <a:gd name="T29" fmla="*/ 14 h 306"/>
                <a:gd name="T30" fmla="*/ 233 w 377"/>
                <a:gd name="T31" fmla="*/ 8 h 306"/>
                <a:gd name="T32" fmla="*/ 220 w 377"/>
                <a:gd name="T33" fmla="*/ 0 h 306"/>
                <a:gd name="T34" fmla="*/ 178 w 377"/>
                <a:gd name="T35" fmla="*/ 8 h 306"/>
                <a:gd name="T36" fmla="*/ 140 w 377"/>
                <a:gd name="T37" fmla="*/ 48 h 306"/>
                <a:gd name="T38" fmla="*/ 130 w 377"/>
                <a:gd name="T39" fmla="*/ 54 h 306"/>
                <a:gd name="T40" fmla="*/ 130 w 377"/>
                <a:gd name="T41" fmla="*/ 67 h 306"/>
                <a:gd name="T42" fmla="*/ 107 w 377"/>
                <a:gd name="T43" fmla="*/ 50 h 306"/>
                <a:gd name="T44" fmla="*/ 105 w 377"/>
                <a:gd name="T45" fmla="*/ 65 h 306"/>
                <a:gd name="T46" fmla="*/ 75 w 377"/>
                <a:gd name="T47" fmla="*/ 63 h 306"/>
                <a:gd name="T48" fmla="*/ 67 w 377"/>
                <a:gd name="T49" fmla="*/ 84 h 306"/>
                <a:gd name="T50" fmla="*/ 50 w 377"/>
                <a:gd name="T51" fmla="*/ 92 h 306"/>
                <a:gd name="T52" fmla="*/ 27 w 377"/>
                <a:gd name="T53" fmla="*/ 92 h 306"/>
                <a:gd name="T54" fmla="*/ 4 w 377"/>
                <a:gd name="T55" fmla="*/ 107 h 306"/>
                <a:gd name="T56" fmla="*/ 15 w 377"/>
                <a:gd name="T57" fmla="*/ 123 h 306"/>
                <a:gd name="T58" fmla="*/ 25 w 377"/>
                <a:gd name="T59" fmla="*/ 130 h 306"/>
                <a:gd name="T60" fmla="*/ 40 w 377"/>
                <a:gd name="T61" fmla="*/ 136 h 306"/>
                <a:gd name="T62" fmla="*/ 38 w 377"/>
                <a:gd name="T63" fmla="*/ 147 h 306"/>
                <a:gd name="T64" fmla="*/ 52 w 377"/>
                <a:gd name="T65" fmla="*/ 157 h 306"/>
                <a:gd name="T66" fmla="*/ 73 w 377"/>
                <a:gd name="T67" fmla="*/ 157 h 306"/>
                <a:gd name="T68" fmla="*/ 90 w 377"/>
                <a:gd name="T69" fmla="*/ 168 h 306"/>
                <a:gd name="T70" fmla="*/ 78 w 377"/>
                <a:gd name="T71" fmla="*/ 178 h 306"/>
                <a:gd name="T72" fmla="*/ 52 w 377"/>
                <a:gd name="T73" fmla="*/ 199 h 306"/>
                <a:gd name="T74" fmla="*/ 73 w 377"/>
                <a:gd name="T75" fmla="*/ 216 h 306"/>
                <a:gd name="T76" fmla="*/ 94 w 377"/>
                <a:gd name="T77" fmla="*/ 218 h 306"/>
                <a:gd name="T78" fmla="*/ 105 w 377"/>
                <a:gd name="T79" fmla="*/ 239 h 306"/>
                <a:gd name="T80" fmla="*/ 136 w 377"/>
                <a:gd name="T81" fmla="*/ 252 h 306"/>
                <a:gd name="T82" fmla="*/ 151 w 377"/>
                <a:gd name="T83" fmla="*/ 275 h 306"/>
                <a:gd name="T84" fmla="*/ 166 w 377"/>
                <a:gd name="T85" fmla="*/ 296 h 306"/>
                <a:gd name="T86" fmla="*/ 172 w 377"/>
                <a:gd name="T87" fmla="*/ 304 h 306"/>
                <a:gd name="T88" fmla="*/ 210 w 377"/>
                <a:gd name="T89" fmla="*/ 300 h 306"/>
                <a:gd name="T90" fmla="*/ 210 w 377"/>
                <a:gd name="T91" fmla="*/ 289 h 306"/>
                <a:gd name="T92" fmla="*/ 207 w 377"/>
                <a:gd name="T93" fmla="*/ 279 h 306"/>
                <a:gd name="T94" fmla="*/ 220 w 377"/>
                <a:gd name="T95" fmla="*/ 256 h 306"/>
                <a:gd name="T96" fmla="*/ 274 w 377"/>
                <a:gd name="T97" fmla="*/ 235 h 306"/>
                <a:gd name="T98" fmla="*/ 287 w 377"/>
                <a:gd name="T99" fmla="*/ 222 h 306"/>
                <a:gd name="T100" fmla="*/ 289 w 377"/>
                <a:gd name="T101" fmla="*/ 212 h 306"/>
                <a:gd name="T102" fmla="*/ 302 w 377"/>
                <a:gd name="T103" fmla="*/ 205 h 306"/>
                <a:gd name="T104" fmla="*/ 304 w 377"/>
                <a:gd name="T105" fmla="*/ 197 h 306"/>
                <a:gd name="T106" fmla="*/ 312 w 377"/>
                <a:gd name="T107" fmla="*/ 197 h 306"/>
                <a:gd name="T108" fmla="*/ 325 w 377"/>
                <a:gd name="T109" fmla="*/ 207 h 306"/>
                <a:gd name="T110" fmla="*/ 333 w 377"/>
                <a:gd name="T111" fmla="*/ 216 h 306"/>
                <a:gd name="T112" fmla="*/ 337 w 377"/>
                <a:gd name="T113" fmla="*/ 224 h 306"/>
                <a:gd name="T114" fmla="*/ 350 w 377"/>
                <a:gd name="T115" fmla="*/ 229 h 306"/>
                <a:gd name="T116" fmla="*/ 354 w 377"/>
                <a:gd name="T117" fmla="*/ 189 h 306"/>
                <a:gd name="T118" fmla="*/ 377 w 377"/>
                <a:gd name="T119" fmla="*/ 142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7" h="306">
                  <a:moveTo>
                    <a:pt x="377" y="142"/>
                  </a:moveTo>
                  <a:lnTo>
                    <a:pt x="377" y="140"/>
                  </a:lnTo>
                  <a:lnTo>
                    <a:pt x="377" y="138"/>
                  </a:lnTo>
                  <a:lnTo>
                    <a:pt x="375" y="134"/>
                  </a:lnTo>
                  <a:lnTo>
                    <a:pt x="375" y="128"/>
                  </a:lnTo>
                  <a:lnTo>
                    <a:pt x="375" y="123"/>
                  </a:lnTo>
                  <a:lnTo>
                    <a:pt x="373" y="121"/>
                  </a:lnTo>
                  <a:lnTo>
                    <a:pt x="373" y="119"/>
                  </a:lnTo>
                  <a:lnTo>
                    <a:pt x="371" y="119"/>
                  </a:lnTo>
                  <a:lnTo>
                    <a:pt x="369" y="119"/>
                  </a:lnTo>
                  <a:lnTo>
                    <a:pt x="369" y="117"/>
                  </a:lnTo>
                  <a:lnTo>
                    <a:pt x="367" y="117"/>
                  </a:lnTo>
                  <a:lnTo>
                    <a:pt x="367" y="117"/>
                  </a:lnTo>
                  <a:lnTo>
                    <a:pt x="365" y="119"/>
                  </a:lnTo>
                  <a:lnTo>
                    <a:pt x="362" y="119"/>
                  </a:lnTo>
                  <a:lnTo>
                    <a:pt x="358" y="117"/>
                  </a:lnTo>
                  <a:lnTo>
                    <a:pt x="356" y="115"/>
                  </a:lnTo>
                  <a:lnTo>
                    <a:pt x="352" y="113"/>
                  </a:lnTo>
                  <a:lnTo>
                    <a:pt x="352" y="109"/>
                  </a:lnTo>
                  <a:lnTo>
                    <a:pt x="352" y="96"/>
                  </a:lnTo>
                  <a:lnTo>
                    <a:pt x="350" y="94"/>
                  </a:lnTo>
                  <a:lnTo>
                    <a:pt x="348" y="92"/>
                  </a:lnTo>
                  <a:lnTo>
                    <a:pt x="348" y="92"/>
                  </a:lnTo>
                  <a:lnTo>
                    <a:pt x="346" y="92"/>
                  </a:lnTo>
                  <a:lnTo>
                    <a:pt x="344" y="92"/>
                  </a:lnTo>
                  <a:lnTo>
                    <a:pt x="342" y="92"/>
                  </a:lnTo>
                  <a:lnTo>
                    <a:pt x="339" y="90"/>
                  </a:lnTo>
                  <a:lnTo>
                    <a:pt x="337" y="90"/>
                  </a:lnTo>
                  <a:lnTo>
                    <a:pt x="337" y="88"/>
                  </a:lnTo>
                  <a:lnTo>
                    <a:pt x="335" y="86"/>
                  </a:lnTo>
                  <a:lnTo>
                    <a:pt x="335" y="84"/>
                  </a:lnTo>
                  <a:lnTo>
                    <a:pt x="333" y="81"/>
                  </a:lnTo>
                  <a:lnTo>
                    <a:pt x="333" y="81"/>
                  </a:lnTo>
                  <a:lnTo>
                    <a:pt x="333" y="77"/>
                  </a:lnTo>
                  <a:lnTo>
                    <a:pt x="333" y="75"/>
                  </a:lnTo>
                  <a:lnTo>
                    <a:pt x="335" y="73"/>
                  </a:lnTo>
                  <a:lnTo>
                    <a:pt x="335" y="71"/>
                  </a:lnTo>
                  <a:lnTo>
                    <a:pt x="335" y="67"/>
                  </a:lnTo>
                  <a:lnTo>
                    <a:pt x="335" y="67"/>
                  </a:lnTo>
                  <a:lnTo>
                    <a:pt x="333" y="67"/>
                  </a:lnTo>
                  <a:lnTo>
                    <a:pt x="331" y="65"/>
                  </a:lnTo>
                  <a:lnTo>
                    <a:pt x="331" y="67"/>
                  </a:lnTo>
                  <a:lnTo>
                    <a:pt x="329" y="67"/>
                  </a:lnTo>
                  <a:lnTo>
                    <a:pt x="329" y="69"/>
                  </a:lnTo>
                  <a:lnTo>
                    <a:pt x="327" y="67"/>
                  </a:lnTo>
                  <a:lnTo>
                    <a:pt x="327" y="67"/>
                  </a:lnTo>
                  <a:lnTo>
                    <a:pt x="329" y="67"/>
                  </a:lnTo>
                  <a:lnTo>
                    <a:pt x="329" y="67"/>
                  </a:lnTo>
                  <a:lnTo>
                    <a:pt x="329" y="67"/>
                  </a:lnTo>
                  <a:lnTo>
                    <a:pt x="327" y="65"/>
                  </a:lnTo>
                  <a:lnTo>
                    <a:pt x="325" y="65"/>
                  </a:lnTo>
                  <a:lnTo>
                    <a:pt x="321" y="65"/>
                  </a:lnTo>
                  <a:lnTo>
                    <a:pt x="312" y="65"/>
                  </a:lnTo>
                  <a:lnTo>
                    <a:pt x="308" y="63"/>
                  </a:lnTo>
                  <a:lnTo>
                    <a:pt x="306" y="63"/>
                  </a:lnTo>
                  <a:lnTo>
                    <a:pt x="302" y="60"/>
                  </a:lnTo>
                  <a:lnTo>
                    <a:pt x="300" y="60"/>
                  </a:lnTo>
                  <a:lnTo>
                    <a:pt x="298" y="60"/>
                  </a:lnTo>
                  <a:lnTo>
                    <a:pt x="295" y="60"/>
                  </a:lnTo>
                  <a:lnTo>
                    <a:pt x="289" y="65"/>
                  </a:lnTo>
                  <a:lnTo>
                    <a:pt x="287" y="65"/>
                  </a:lnTo>
                  <a:lnTo>
                    <a:pt x="287" y="65"/>
                  </a:lnTo>
                  <a:lnTo>
                    <a:pt x="285" y="63"/>
                  </a:lnTo>
                  <a:lnTo>
                    <a:pt x="285" y="63"/>
                  </a:lnTo>
                  <a:lnTo>
                    <a:pt x="283" y="63"/>
                  </a:lnTo>
                  <a:lnTo>
                    <a:pt x="281" y="63"/>
                  </a:lnTo>
                  <a:lnTo>
                    <a:pt x="281" y="63"/>
                  </a:lnTo>
                  <a:lnTo>
                    <a:pt x="279" y="63"/>
                  </a:lnTo>
                  <a:lnTo>
                    <a:pt x="279" y="60"/>
                  </a:lnTo>
                  <a:lnTo>
                    <a:pt x="277" y="60"/>
                  </a:lnTo>
                  <a:lnTo>
                    <a:pt x="274" y="58"/>
                  </a:lnTo>
                  <a:lnTo>
                    <a:pt x="272" y="58"/>
                  </a:lnTo>
                  <a:lnTo>
                    <a:pt x="270" y="60"/>
                  </a:lnTo>
                  <a:lnTo>
                    <a:pt x="270" y="63"/>
                  </a:lnTo>
                  <a:lnTo>
                    <a:pt x="270" y="65"/>
                  </a:lnTo>
                  <a:lnTo>
                    <a:pt x="268" y="63"/>
                  </a:lnTo>
                  <a:lnTo>
                    <a:pt x="268" y="60"/>
                  </a:lnTo>
                  <a:lnTo>
                    <a:pt x="268" y="58"/>
                  </a:lnTo>
                  <a:lnTo>
                    <a:pt x="266" y="56"/>
                  </a:lnTo>
                  <a:lnTo>
                    <a:pt x="266" y="56"/>
                  </a:lnTo>
                  <a:lnTo>
                    <a:pt x="264" y="56"/>
                  </a:lnTo>
                  <a:lnTo>
                    <a:pt x="262" y="56"/>
                  </a:lnTo>
                  <a:lnTo>
                    <a:pt x="260" y="60"/>
                  </a:lnTo>
                  <a:lnTo>
                    <a:pt x="260" y="63"/>
                  </a:lnTo>
                  <a:lnTo>
                    <a:pt x="256" y="65"/>
                  </a:lnTo>
                  <a:lnTo>
                    <a:pt x="256" y="67"/>
                  </a:lnTo>
                  <a:lnTo>
                    <a:pt x="254" y="69"/>
                  </a:lnTo>
                  <a:lnTo>
                    <a:pt x="256" y="73"/>
                  </a:lnTo>
                  <a:lnTo>
                    <a:pt x="254" y="75"/>
                  </a:lnTo>
                  <a:lnTo>
                    <a:pt x="254" y="81"/>
                  </a:lnTo>
                  <a:lnTo>
                    <a:pt x="251" y="84"/>
                  </a:lnTo>
                  <a:lnTo>
                    <a:pt x="247" y="86"/>
                  </a:lnTo>
                  <a:lnTo>
                    <a:pt x="241" y="90"/>
                  </a:lnTo>
                  <a:lnTo>
                    <a:pt x="239" y="90"/>
                  </a:lnTo>
                  <a:lnTo>
                    <a:pt x="237" y="92"/>
                  </a:lnTo>
                  <a:lnTo>
                    <a:pt x="237" y="94"/>
                  </a:lnTo>
                  <a:lnTo>
                    <a:pt x="237" y="96"/>
                  </a:lnTo>
                  <a:lnTo>
                    <a:pt x="235" y="98"/>
                  </a:lnTo>
                  <a:lnTo>
                    <a:pt x="233" y="100"/>
                  </a:lnTo>
                  <a:lnTo>
                    <a:pt x="233" y="100"/>
                  </a:lnTo>
                  <a:lnTo>
                    <a:pt x="233" y="100"/>
                  </a:lnTo>
                  <a:lnTo>
                    <a:pt x="233" y="100"/>
                  </a:lnTo>
                  <a:lnTo>
                    <a:pt x="233" y="100"/>
                  </a:lnTo>
                  <a:lnTo>
                    <a:pt x="233" y="96"/>
                  </a:lnTo>
                  <a:lnTo>
                    <a:pt x="235" y="92"/>
                  </a:lnTo>
                  <a:lnTo>
                    <a:pt x="235" y="90"/>
                  </a:lnTo>
                  <a:lnTo>
                    <a:pt x="239" y="88"/>
                  </a:lnTo>
                  <a:lnTo>
                    <a:pt x="241" y="86"/>
                  </a:lnTo>
                  <a:lnTo>
                    <a:pt x="243" y="86"/>
                  </a:lnTo>
                  <a:lnTo>
                    <a:pt x="245" y="86"/>
                  </a:lnTo>
                  <a:lnTo>
                    <a:pt x="245" y="84"/>
                  </a:lnTo>
                  <a:lnTo>
                    <a:pt x="247" y="84"/>
                  </a:lnTo>
                  <a:lnTo>
                    <a:pt x="249" y="81"/>
                  </a:lnTo>
                  <a:lnTo>
                    <a:pt x="249" y="81"/>
                  </a:lnTo>
                  <a:lnTo>
                    <a:pt x="249" y="77"/>
                  </a:lnTo>
                  <a:lnTo>
                    <a:pt x="251" y="73"/>
                  </a:lnTo>
                  <a:lnTo>
                    <a:pt x="251" y="71"/>
                  </a:lnTo>
                  <a:lnTo>
                    <a:pt x="251" y="67"/>
                  </a:lnTo>
                  <a:lnTo>
                    <a:pt x="249" y="63"/>
                  </a:lnTo>
                  <a:lnTo>
                    <a:pt x="245" y="63"/>
                  </a:lnTo>
                  <a:lnTo>
                    <a:pt x="239" y="67"/>
                  </a:lnTo>
                  <a:lnTo>
                    <a:pt x="241" y="65"/>
                  </a:lnTo>
                  <a:lnTo>
                    <a:pt x="243" y="63"/>
                  </a:lnTo>
                  <a:lnTo>
                    <a:pt x="245" y="63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1" y="60"/>
                  </a:lnTo>
                  <a:lnTo>
                    <a:pt x="254" y="60"/>
                  </a:lnTo>
                  <a:lnTo>
                    <a:pt x="260" y="52"/>
                  </a:lnTo>
                  <a:lnTo>
                    <a:pt x="264" y="48"/>
                  </a:lnTo>
                  <a:lnTo>
                    <a:pt x="264" y="44"/>
                  </a:lnTo>
                  <a:lnTo>
                    <a:pt x="266" y="39"/>
                  </a:lnTo>
                  <a:lnTo>
                    <a:pt x="264" y="35"/>
                  </a:lnTo>
                  <a:lnTo>
                    <a:pt x="262" y="31"/>
                  </a:lnTo>
                  <a:lnTo>
                    <a:pt x="260" y="29"/>
                  </a:lnTo>
                  <a:lnTo>
                    <a:pt x="256" y="29"/>
                  </a:lnTo>
                  <a:lnTo>
                    <a:pt x="251" y="29"/>
                  </a:lnTo>
                  <a:lnTo>
                    <a:pt x="249" y="31"/>
                  </a:lnTo>
                  <a:lnTo>
                    <a:pt x="249" y="31"/>
                  </a:lnTo>
                  <a:lnTo>
                    <a:pt x="247" y="31"/>
                  </a:lnTo>
                  <a:lnTo>
                    <a:pt x="247" y="33"/>
                  </a:lnTo>
                  <a:lnTo>
                    <a:pt x="247" y="33"/>
                  </a:lnTo>
                  <a:lnTo>
                    <a:pt x="247" y="33"/>
                  </a:lnTo>
                  <a:lnTo>
                    <a:pt x="247" y="33"/>
                  </a:lnTo>
                  <a:lnTo>
                    <a:pt x="247" y="33"/>
                  </a:lnTo>
                  <a:lnTo>
                    <a:pt x="245" y="33"/>
                  </a:lnTo>
                  <a:lnTo>
                    <a:pt x="245" y="33"/>
                  </a:lnTo>
                  <a:lnTo>
                    <a:pt x="245" y="31"/>
                  </a:lnTo>
                  <a:lnTo>
                    <a:pt x="245" y="29"/>
                  </a:lnTo>
                  <a:lnTo>
                    <a:pt x="245" y="27"/>
                  </a:lnTo>
                  <a:lnTo>
                    <a:pt x="243" y="25"/>
                  </a:lnTo>
                  <a:lnTo>
                    <a:pt x="243" y="27"/>
                  </a:lnTo>
                  <a:lnTo>
                    <a:pt x="241" y="29"/>
                  </a:lnTo>
                  <a:lnTo>
                    <a:pt x="239" y="31"/>
                  </a:lnTo>
                  <a:lnTo>
                    <a:pt x="237" y="31"/>
                  </a:lnTo>
                  <a:lnTo>
                    <a:pt x="237" y="29"/>
                  </a:lnTo>
                  <a:lnTo>
                    <a:pt x="239" y="29"/>
                  </a:lnTo>
                  <a:lnTo>
                    <a:pt x="239" y="29"/>
                  </a:lnTo>
                  <a:lnTo>
                    <a:pt x="239" y="27"/>
                  </a:lnTo>
                  <a:lnTo>
                    <a:pt x="241" y="25"/>
                  </a:lnTo>
                  <a:lnTo>
                    <a:pt x="243" y="21"/>
                  </a:lnTo>
                  <a:lnTo>
                    <a:pt x="241" y="21"/>
                  </a:lnTo>
                  <a:lnTo>
                    <a:pt x="239" y="18"/>
                  </a:lnTo>
                  <a:lnTo>
                    <a:pt x="237" y="16"/>
                  </a:lnTo>
                  <a:lnTo>
                    <a:pt x="235" y="14"/>
                  </a:lnTo>
                  <a:lnTo>
                    <a:pt x="233" y="14"/>
                  </a:lnTo>
                  <a:lnTo>
                    <a:pt x="233" y="16"/>
                  </a:lnTo>
                  <a:lnTo>
                    <a:pt x="231" y="21"/>
                  </a:lnTo>
                  <a:lnTo>
                    <a:pt x="228" y="23"/>
                  </a:lnTo>
                  <a:lnTo>
                    <a:pt x="228" y="21"/>
                  </a:lnTo>
                  <a:lnTo>
                    <a:pt x="228" y="18"/>
                  </a:lnTo>
                  <a:lnTo>
                    <a:pt x="228" y="16"/>
                  </a:lnTo>
                  <a:lnTo>
                    <a:pt x="228" y="16"/>
                  </a:lnTo>
                  <a:lnTo>
                    <a:pt x="231" y="12"/>
                  </a:lnTo>
                  <a:lnTo>
                    <a:pt x="231" y="10"/>
                  </a:lnTo>
                  <a:lnTo>
                    <a:pt x="233" y="8"/>
                  </a:lnTo>
                  <a:lnTo>
                    <a:pt x="233" y="8"/>
                  </a:lnTo>
                  <a:lnTo>
                    <a:pt x="233" y="6"/>
                  </a:lnTo>
                  <a:lnTo>
                    <a:pt x="233" y="4"/>
                  </a:lnTo>
                  <a:lnTo>
                    <a:pt x="233" y="4"/>
                  </a:lnTo>
                  <a:lnTo>
                    <a:pt x="231" y="4"/>
                  </a:lnTo>
                  <a:lnTo>
                    <a:pt x="231" y="4"/>
                  </a:lnTo>
                  <a:lnTo>
                    <a:pt x="228" y="4"/>
                  </a:lnTo>
                  <a:lnTo>
                    <a:pt x="228" y="4"/>
                  </a:lnTo>
                  <a:lnTo>
                    <a:pt x="224" y="2"/>
                  </a:lnTo>
                  <a:lnTo>
                    <a:pt x="222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18" y="0"/>
                  </a:lnTo>
                  <a:lnTo>
                    <a:pt x="218" y="0"/>
                  </a:lnTo>
                  <a:lnTo>
                    <a:pt x="218" y="2"/>
                  </a:lnTo>
                  <a:lnTo>
                    <a:pt x="216" y="8"/>
                  </a:lnTo>
                  <a:lnTo>
                    <a:pt x="214" y="8"/>
                  </a:lnTo>
                  <a:lnTo>
                    <a:pt x="212" y="10"/>
                  </a:lnTo>
                  <a:lnTo>
                    <a:pt x="203" y="12"/>
                  </a:lnTo>
                  <a:lnTo>
                    <a:pt x="199" y="12"/>
                  </a:lnTo>
                  <a:lnTo>
                    <a:pt x="193" y="12"/>
                  </a:lnTo>
                  <a:lnTo>
                    <a:pt x="178" y="8"/>
                  </a:lnTo>
                  <a:lnTo>
                    <a:pt x="174" y="8"/>
                  </a:lnTo>
                  <a:lnTo>
                    <a:pt x="172" y="10"/>
                  </a:lnTo>
                  <a:lnTo>
                    <a:pt x="138" y="25"/>
                  </a:lnTo>
                  <a:lnTo>
                    <a:pt x="136" y="27"/>
                  </a:lnTo>
                  <a:lnTo>
                    <a:pt x="138" y="29"/>
                  </a:lnTo>
                  <a:lnTo>
                    <a:pt x="136" y="39"/>
                  </a:lnTo>
                  <a:lnTo>
                    <a:pt x="136" y="44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40" y="48"/>
                  </a:lnTo>
                  <a:lnTo>
                    <a:pt x="140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32" y="50"/>
                  </a:lnTo>
                  <a:lnTo>
                    <a:pt x="132" y="50"/>
                  </a:lnTo>
                  <a:lnTo>
                    <a:pt x="130" y="52"/>
                  </a:lnTo>
                  <a:lnTo>
                    <a:pt x="130" y="52"/>
                  </a:lnTo>
                  <a:lnTo>
                    <a:pt x="130" y="54"/>
                  </a:lnTo>
                  <a:lnTo>
                    <a:pt x="130" y="54"/>
                  </a:lnTo>
                  <a:lnTo>
                    <a:pt x="132" y="58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2" y="63"/>
                  </a:lnTo>
                  <a:lnTo>
                    <a:pt x="130" y="63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28" y="65"/>
                  </a:lnTo>
                  <a:lnTo>
                    <a:pt x="115" y="56"/>
                  </a:lnTo>
                  <a:lnTo>
                    <a:pt x="115" y="54"/>
                  </a:lnTo>
                  <a:lnTo>
                    <a:pt x="115" y="52"/>
                  </a:lnTo>
                  <a:lnTo>
                    <a:pt x="113" y="48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7" y="50"/>
                  </a:lnTo>
                  <a:lnTo>
                    <a:pt x="105" y="52"/>
                  </a:lnTo>
                  <a:lnTo>
                    <a:pt x="103" y="54"/>
                  </a:lnTo>
                  <a:lnTo>
                    <a:pt x="103" y="56"/>
                  </a:lnTo>
                  <a:lnTo>
                    <a:pt x="105" y="56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7" y="63"/>
                  </a:lnTo>
                  <a:lnTo>
                    <a:pt x="107" y="63"/>
                  </a:lnTo>
                  <a:lnTo>
                    <a:pt x="105" y="65"/>
                  </a:lnTo>
                  <a:lnTo>
                    <a:pt x="101" y="65"/>
                  </a:lnTo>
                  <a:lnTo>
                    <a:pt x="99" y="67"/>
                  </a:lnTo>
                  <a:lnTo>
                    <a:pt x="96" y="65"/>
                  </a:lnTo>
                  <a:lnTo>
                    <a:pt x="92" y="63"/>
                  </a:lnTo>
                  <a:lnTo>
                    <a:pt x="90" y="65"/>
                  </a:lnTo>
                  <a:lnTo>
                    <a:pt x="86" y="65"/>
                  </a:lnTo>
                  <a:lnTo>
                    <a:pt x="84" y="63"/>
                  </a:lnTo>
                  <a:lnTo>
                    <a:pt x="80" y="63"/>
                  </a:lnTo>
                  <a:lnTo>
                    <a:pt x="78" y="63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3" y="63"/>
                  </a:lnTo>
                  <a:lnTo>
                    <a:pt x="73" y="65"/>
                  </a:lnTo>
                  <a:lnTo>
                    <a:pt x="73" y="67"/>
                  </a:lnTo>
                  <a:lnTo>
                    <a:pt x="73" y="67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5" y="69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67" y="81"/>
                  </a:lnTo>
                  <a:lnTo>
                    <a:pt x="67" y="84"/>
                  </a:lnTo>
                  <a:lnTo>
                    <a:pt x="65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59" y="88"/>
                  </a:lnTo>
                  <a:lnTo>
                    <a:pt x="57" y="88"/>
                  </a:lnTo>
                  <a:lnTo>
                    <a:pt x="52" y="90"/>
                  </a:lnTo>
                  <a:lnTo>
                    <a:pt x="52" y="92"/>
                  </a:lnTo>
                  <a:lnTo>
                    <a:pt x="50" y="92"/>
                  </a:lnTo>
                  <a:lnTo>
                    <a:pt x="50" y="94"/>
                  </a:lnTo>
                  <a:lnTo>
                    <a:pt x="50" y="96"/>
                  </a:lnTo>
                  <a:lnTo>
                    <a:pt x="48" y="96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6" y="96"/>
                  </a:lnTo>
                  <a:lnTo>
                    <a:pt x="34" y="96"/>
                  </a:lnTo>
                  <a:lnTo>
                    <a:pt x="32" y="96"/>
                  </a:lnTo>
                  <a:lnTo>
                    <a:pt x="27" y="92"/>
                  </a:lnTo>
                  <a:lnTo>
                    <a:pt x="21" y="92"/>
                  </a:lnTo>
                  <a:lnTo>
                    <a:pt x="19" y="88"/>
                  </a:lnTo>
                  <a:lnTo>
                    <a:pt x="15" y="92"/>
                  </a:lnTo>
                  <a:lnTo>
                    <a:pt x="11" y="96"/>
                  </a:lnTo>
                  <a:lnTo>
                    <a:pt x="8" y="96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0" y="102"/>
                  </a:lnTo>
                  <a:lnTo>
                    <a:pt x="2" y="105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6" y="109"/>
                  </a:lnTo>
                  <a:lnTo>
                    <a:pt x="6" y="113"/>
                  </a:lnTo>
                  <a:lnTo>
                    <a:pt x="8" y="113"/>
                  </a:lnTo>
                  <a:lnTo>
                    <a:pt x="13" y="117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5" y="121"/>
                  </a:lnTo>
                  <a:lnTo>
                    <a:pt x="17" y="123"/>
                  </a:lnTo>
                  <a:lnTo>
                    <a:pt x="17" y="123"/>
                  </a:lnTo>
                  <a:lnTo>
                    <a:pt x="17" y="123"/>
                  </a:lnTo>
                  <a:lnTo>
                    <a:pt x="15" y="123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3" y="126"/>
                  </a:lnTo>
                  <a:lnTo>
                    <a:pt x="17" y="128"/>
                  </a:lnTo>
                  <a:lnTo>
                    <a:pt x="17" y="130"/>
                  </a:lnTo>
                  <a:lnTo>
                    <a:pt x="17" y="130"/>
                  </a:lnTo>
                  <a:lnTo>
                    <a:pt x="19" y="130"/>
                  </a:lnTo>
                  <a:lnTo>
                    <a:pt x="19" y="130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7" y="130"/>
                  </a:lnTo>
                  <a:lnTo>
                    <a:pt x="27" y="128"/>
                  </a:lnTo>
                  <a:lnTo>
                    <a:pt x="27" y="130"/>
                  </a:lnTo>
                  <a:lnTo>
                    <a:pt x="34" y="130"/>
                  </a:lnTo>
                  <a:lnTo>
                    <a:pt x="36" y="134"/>
                  </a:lnTo>
                  <a:lnTo>
                    <a:pt x="38" y="134"/>
                  </a:lnTo>
                  <a:lnTo>
                    <a:pt x="38" y="134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8"/>
                  </a:lnTo>
                  <a:lnTo>
                    <a:pt x="38" y="140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40" y="149"/>
                  </a:lnTo>
                  <a:lnTo>
                    <a:pt x="40" y="149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4" y="153"/>
                  </a:lnTo>
                  <a:lnTo>
                    <a:pt x="46" y="155"/>
                  </a:lnTo>
                  <a:lnTo>
                    <a:pt x="46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50" y="157"/>
                  </a:lnTo>
                  <a:lnTo>
                    <a:pt x="52" y="157"/>
                  </a:lnTo>
                  <a:lnTo>
                    <a:pt x="55" y="157"/>
                  </a:lnTo>
                  <a:lnTo>
                    <a:pt x="55" y="157"/>
                  </a:lnTo>
                  <a:lnTo>
                    <a:pt x="59" y="153"/>
                  </a:lnTo>
                  <a:lnTo>
                    <a:pt x="61" y="151"/>
                  </a:lnTo>
                  <a:lnTo>
                    <a:pt x="63" y="149"/>
                  </a:lnTo>
                  <a:lnTo>
                    <a:pt x="65" y="149"/>
                  </a:lnTo>
                  <a:lnTo>
                    <a:pt x="67" y="149"/>
                  </a:lnTo>
                  <a:lnTo>
                    <a:pt x="67" y="151"/>
                  </a:lnTo>
                  <a:lnTo>
                    <a:pt x="67" y="153"/>
                  </a:lnTo>
                  <a:lnTo>
                    <a:pt x="69" y="155"/>
                  </a:lnTo>
                  <a:lnTo>
                    <a:pt x="73" y="157"/>
                  </a:lnTo>
                  <a:lnTo>
                    <a:pt x="75" y="157"/>
                  </a:lnTo>
                  <a:lnTo>
                    <a:pt x="82" y="159"/>
                  </a:lnTo>
                  <a:lnTo>
                    <a:pt x="82" y="159"/>
                  </a:lnTo>
                  <a:lnTo>
                    <a:pt x="86" y="159"/>
                  </a:lnTo>
                  <a:lnTo>
                    <a:pt x="86" y="161"/>
                  </a:lnTo>
                  <a:lnTo>
                    <a:pt x="88" y="161"/>
                  </a:lnTo>
                  <a:lnTo>
                    <a:pt x="88" y="161"/>
                  </a:lnTo>
                  <a:lnTo>
                    <a:pt x="88" y="163"/>
                  </a:lnTo>
                  <a:lnTo>
                    <a:pt x="88" y="163"/>
                  </a:lnTo>
                  <a:lnTo>
                    <a:pt x="90" y="165"/>
                  </a:lnTo>
                  <a:lnTo>
                    <a:pt x="90" y="168"/>
                  </a:lnTo>
                  <a:lnTo>
                    <a:pt x="88" y="176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8"/>
                  </a:lnTo>
                  <a:lnTo>
                    <a:pt x="82" y="178"/>
                  </a:lnTo>
                  <a:lnTo>
                    <a:pt x="82" y="178"/>
                  </a:lnTo>
                  <a:lnTo>
                    <a:pt x="80" y="178"/>
                  </a:lnTo>
                  <a:lnTo>
                    <a:pt x="78" y="176"/>
                  </a:lnTo>
                  <a:lnTo>
                    <a:pt x="78" y="176"/>
                  </a:lnTo>
                  <a:lnTo>
                    <a:pt x="75" y="178"/>
                  </a:lnTo>
                  <a:lnTo>
                    <a:pt x="78" y="178"/>
                  </a:lnTo>
                  <a:lnTo>
                    <a:pt x="78" y="180"/>
                  </a:lnTo>
                  <a:lnTo>
                    <a:pt x="78" y="180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1" y="186"/>
                  </a:lnTo>
                  <a:lnTo>
                    <a:pt x="59" y="197"/>
                  </a:lnTo>
                  <a:lnTo>
                    <a:pt x="59" y="197"/>
                  </a:lnTo>
                  <a:lnTo>
                    <a:pt x="55" y="199"/>
                  </a:lnTo>
                  <a:lnTo>
                    <a:pt x="52" y="199"/>
                  </a:lnTo>
                  <a:lnTo>
                    <a:pt x="52" y="201"/>
                  </a:lnTo>
                  <a:lnTo>
                    <a:pt x="57" y="201"/>
                  </a:lnTo>
                  <a:lnTo>
                    <a:pt x="57" y="203"/>
                  </a:lnTo>
                  <a:lnTo>
                    <a:pt x="59" y="205"/>
                  </a:lnTo>
                  <a:lnTo>
                    <a:pt x="59" y="205"/>
                  </a:lnTo>
                  <a:lnTo>
                    <a:pt x="63" y="207"/>
                  </a:lnTo>
                  <a:lnTo>
                    <a:pt x="63" y="210"/>
                  </a:lnTo>
                  <a:lnTo>
                    <a:pt x="65" y="214"/>
                  </a:lnTo>
                  <a:lnTo>
                    <a:pt x="67" y="214"/>
                  </a:lnTo>
                  <a:lnTo>
                    <a:pt x="69" y="216"/>
                  </a:lnTo>
                  <a:lnTo>
                    <a:pt x="73" y="216"/>
                  </a:lnTo>
                  <a:lnTo>
                    <a:pt x="73" y="216"/>
                  </a:lnTo>
                  <a:lnTo>
                    <a:pt x="75" y="216"/>
                  </a:lnTo>
                  <a:lnTo>
                    <a:pt x="80" y="216"/>
                  </a:lnTo>
                  <a:lnTo>
                    <a:pt x="82" y="216"/>
                  </a:lnTo>
                  <a:lnTo>
                    <a:pt x="82" y="216"/>
                  </a:lnTo>
                  <a:lnTo>
                    <a:pt x="86" y="220"/>
                  </a:lnTo>
                  <a:lnTo>
                    <a:pt x="88" y="220"/>
                  </a:lnTo>
                  <a:lnTo>
                    <a:pt x="90" y="218"/>
                  </a:lnTo>
                  <a:lnTo>
                    <a:pt x="90" y="218"/>
                  </a:lnTo>
                  <a:lnTo>
                    <a:pt x="92" y="218"/>
                  </a:lnTo>
                  <a:lnTo>
                    <a:pt x="94" y="218"/>
                  </a:lnTo>
                  <a:lnTo>
                    <a:pt x="96" y="218"/>
                  </a:lnTo>
                  <a:lnTo>
                    <a:pt x="96" y="218"/>
                  </a:lnTo>
                  <a:lnTo>
                    <a:pt x="99" y="218"/>
                  </a:lnTo>
                  <a:lnTo>
                    <a:pt x="99" y="220"/>
                  </a:lnTo>
                  <a:lnTo>
                    <a:pt x="101" y="220"/>
                  </a:lnTo>
                  <a:lnTo>
                    <a:pt x="101" y="220"/>
                  </a:lnTo>
                  <a:lnTo>
                    <a:pt x="101" y="220"/>
                  </a:lnTo>
                  <a:lnTo>
                    <a:pt x="101" y="224"/>
                  </a:lnTo>
                  <a:lnTo>
                    <a:pt x="105" y="231"/>
                  </a:lnTo>
                  <a:lnTo>
                    <a:pt x="105" y="233"/>
                  </a:lnTo>
                  <a:lnTo>
                    <a:pt x="105" y="239"/>
                  </a:lnTo>
                  <a:lnTo>
                    <a:pt x="107" y="241"/>
                  </a:lnTo>
                  <a:lnTo>
                    <a:pt x="107" y="241"/>
                  </a:lnTo>
                  <a:lnTo>
                    <a:pt x="109" y="241"/>
                  </a:lnTo>
                  <a:lnTo>
                    <a:pt x="111" y="243"/>
                  </a:lnTo>
                  <a:lnTo>
                    <a:pt x="113" y="243"/>
                  </a:lnTo>
                  <a:lnTo>
                    <a:pt x="117" y="245"/>
                  </a:lnTo>
                  <a:lnTo>
                    <a:pt x="122" y="247"/>
                  </a:lnTo>
                  <a:lnTo>
                    <a:pt x="124" y="247"/>
                  </a:lnTo>
                  <a:lnTo>
                    <a:pt x="130" y="250"/>
                  </a:lnTo>
                  <a:lnTo>
                    <a:pt x="134" y="252"/>
                  </a:lnTo>
                  <a:lnTo>
                    <a:pt x="136" y="252"/>
                  </a:lnTo>
                  <a:lnTo>
                    <a:pt x="138" y="252"/>
                  </a:lnTo>
                  <a:lnTo>
                    <a:pt x="143" y="252"/>
                  </a:lnTo>
                  <a:lnTo>
                    <a:pt x="143" y="254"/>
                  </a:lnTo>
                  <a:lnTo>
                    <a:pt x="145" y="254"/>
                  </a:lnTo>
                  <a:lnTo>
                    <a:pt x="145" y="254"/>
                  </a:lnTo>
                  <a:lnTo>
                    <a:pt x="147" y="256"/>
                  </a:lnTo>
                  <a:lnTo>
                    <a:pt x="147" y="264"/>
                  </a:lnTo>
                  <a:lnTo>
                    <a:pt x="147" y="266"/>
                  </a:lnTo>
                  <a:lnTo>
                    <a:pt x="147" y="268"/>
                  </a:lnTo>
                  <a:lnTo>
                    <a:pt x="151" y="273"/>
                  </a:lnTo>
                  <a:lnTo>
                    <a:pt x="151" y="275"/>
                  </a:lnTo>
                  <a:lnTo>
                    <a:pt x="153" y="275"/>
                  </a:lnTo>
                  <a:lnTo>
                    <a:pt x="153" y="277"/>
                  </a:lnTo>
                  <a:lnTo>
                    <a:pt x="155" y="285"/>
                  </a:lnTo>
                  <a:lnTo>
                    <a:pt x="155" y="287"/>
                  </a:lnTo>
                  <a:lnTo>
                    <a:pt x="155" y="287"/>
                  </a:lnTo>
                  <a:lnTo>
                    <a:pt x="157" y="289"/>
                  </a:lnTo>
                  <a:lnTo>
                    <a:pt x="157" y="289"/>
                  </a:lnTo>
                  <a:lnTo>
                    <a:pt x="159" y="292"/>
                  </a:lnTo>
                  <a:lnTo>
                    <a:pt x="159" y="292"/>
                  </a:lnTo>
                  <a:lnTo>
                    <a:pt x="166" y="296"/>
                  </a:lnTo>
                  <a:lnTo>
                    <a:pt x="166" y="296"/>
                  </a:lnTo>
                  <a:lnTo>
                    <a:pt x="168" y="296"/>
                  </a:lnTo>
                  <a:lnTo>
                    <a:pt x="168" y="298"/>
                  </a:lnTo>
                  <a:lnTo>
                    <a:pt x="168" y="298"/>
                  </a:lnTo>
                  <a:lnTo>
                    <a:pt x="168" y="300"/>
                  </a:lnTo>
                  <a:lnTo>
                    <a:pt x="168" y="300"/>
                  </a:lnTo>
                  <a:lnTo>
                    <a:pt x="168" y="300"/>
                  </a:lnTo>
                  <a:lnTo>
                    <a:pt x="168" y="302"/>
                  </a:lnTo>
                  <a:lnTo>
                    <a:pt x="170" y="302"/>
                  </a:lnTo>
                  <a:lnTo>
                    <a:pt x="170" y="304"/>
                  </a:lnTo>
                  <a:lnTo>
                    <a:pt x="170" y="304"/>
                  </a:lnTo>
                  <a:lnTo>
                    <a:pt x="172" y="304"/>
                  </a:lnTo>
                  <a:lnTo>
                    <a:pt x="176" y="304"/>
                  </a:lnTo>
                  <a:lnTo>
                    <a:pt x="180" y="306"/>
                  </a:lnTo>
                  <a:lnTo>
                    <a:pt x="184" y="306"/>
                  </a:lnTo>
                  <a:lnTo>
                    <a:pt x="187" y="306"/>
                  </a:lnTo>
                  <a:lnTo>
                    <a:pt x="189" y="306"/>
                  </a:lnTo>
                  <a:lnTo>
                    <a:pt x="197" y="304"/>
                  </a:lnTo>
                  <a:lnTo>
                    <a:pt x="201" y="300"/>
                  </a:lnTo>
                  <a:lnTo>
                    <a:pt x="205" y="300"/>
                  </a:lnTo>
                  <a:lnTo>
                    <a:pt x="207" y="302"/>
                  </a:lnTo>
                  <a:lnTo>
                    <a:pt x="210" y="302"/>
                  </a:lnTo>
                  <a:lnTo>
                    <a:pt x="210" y="300"/>
                  </a:lnTo>
                  <a:lnTo>
                    <a:pt x="210" y="300"/>
                  </a:lnTo>
                  <a:lnTo>
                    <a:pt x="212" y="298"/>
                  </a:lnTo>
                  <a:lnTo>
                    <a:pt x="214" y="296"/>
                  </a:lnTo>
                  <a:lnTo>
                    <a:pt x="214" y="296"/>
                  </a:lnTo>
                  <a:lnTo>
                    <a:pt x="214" y="294"/>
                  </a:lnTo>
                  <a:lnTo>
                    <a:pt x="214" y="294"/>
                  </a:lnTo>
                  <a:lnTo>
                    <a:pt x="214" y="294"/>
                  </a:lnTo>
                  <a:lnTo>
                    <a:pt x="214" y="292"/>
                  </a:lnTo>
                  <a:lnTo>
                    <a:pt x="212" y="292"/>
                  </a:lnTo>
                  <a:lnTo>
                    <a:pt x="212" y="292"/>
                  </a:lnTo>
                  <a:lnTo>
                    <a:pt x="210" y="289"/>
                  </a:lnTo>
                  <a:lnTo>
                    <a:pt x="210" y="289"/>
                  </a:lnTo>
                  <a:lnTo>
                    <a:pt x="210" y="287"/>
                  </a:lnTo>
                  <a:lnTo>
                    <a:pt x="210" y="285"/>
                  </a:lnTo>
                  <a:lnTo>
                    <a:pt x="210" y="285"/>
                  </a:lnTo>
                  <a:lnTo>
                    <a:pt x="207" y="283"/>
                  </a:lnTo>
                  <a:lnTo>
                    <a:pt x="207" y="283"/>
                  </a:lnTo>
                  <a:lnTo>
                    <a:pt x="207" y="283"/>
                  </a:lnTo>
                  <a:lnTo>
                    <a:pt x="207" y="283"/>
                  </a:lnTo>
                  <a:lnTo>
                    <a:pt x="207" y="281"/>
                  </a:lnTo>
                  <a:lnTo>
                    <a:pt x="207" y="279"/>
                  </a:lnTo>
                  <a:lnTo>
                    <a:pt x="207" y="279"/>
                  </a:lnTo>
                  <a:lnTo>
                    <a:pt x="210" y="279"/>
                  </a:lnTo>
                  <a:lnTo>
                    <a:pt x="210" y="279"/>
                  </a:lnTo>
                  <a:lnTo>
                    <a:pt x="210" y="277"/>
                  </a:lnTo>
                  <a:lnTo>
                    <a:pt x="212" y="277"/>
                  </a:lnTo>
                  <a:lnTo>
                    <a:pt x="212" y="275"/>
                  </a:lnTo>
                  <a:lnTo>
                    <a:pt x="212" y="273"/>
                  </a:lnTo>
                  <a:lnTo>
                    <a:pt x="210" y="266"/>
                  </a:lnTo>
                  <a:lnTo>
                    <a:pt x="210" y="264"/>
                  </a:lnTo>
                  <a:lnTo>
                    <a:pt x="210" y="260"/>
                  </a:lnTo>
                  <a:lnTo>
                    <a:pt x="212" y="258"/>
                  </a:lnTo>
                  <a:lnTo>
                    <a:pt x="220" y="256"/>
                  </a:lnTo>
                  <a:lnTo>
                    <a:pt x="220" y="254"/>
                  </a:lnTo>
                  <a:lnTo>
                    <a:pt x="224" y="252"/>
                  </a:lnTo>
                  <a:lnTo>
                    <a:pt x="226" y="250"/>
                  </a:lnTo>
                  <a:lnTo>
                    <a:pt x="233" y="247"/>
                  </a:lnTo>
                  <a:lnTo>
                    <a:pt x="235" y="245"/>
                  </a:lnTo>
                  <a:lnTo>
                    <a:pt x="239" y="245"/>
                  </a:lnTo>
                  <a:lnTo>
                    <a:pt x="245" y="245"/>
                  </a:lnTo>
                  <a:lnTo>
                    <a:pt x="262" y="237"/>
                  </a:lnTo>
                  <a:lnTo>
                    <a:pt x="266" y="237"/>
                  </a:lnTo>
                  <a:lnTo>
                    <a:pt x="268" y="235"/>
                  </a:lnTo>
                  <a:lnTo>
                    <a:pt x="274" y="235"/>
                  </a:lnTo>
                  <a:lnTo>
                    <a:pt x="277" y="233"/>
                  </a:lnTo>
                  <a:lnTo>
                    <a:pt x="279" y="231"/>
                  </a:lnTo>
                  <a:lnTo>
                    <a:pt x="279" y="231"/>
                  </a:lnTo>
                  <a:lnTo>
                    <a:pt x="281" y="229"/>
                  </a:lnTo>
                  <a:lnTo>
                    <a:pt x="281" y="229"/>
                  </a:lnTo>
                  <a:lnTo>
                    <a:pt x="281" y="226"/>
                  </a:lnTo>
                  <a:lnTo>
                    <a:pt x="283" y="226"/>
                  </a:lnTo>
                  <a:lnTo>
                    <a:pt x="283" y="224"/>
                  </a:lnTo>
                  <a:lnTo>
                    <a:pt x="285" y="224"/>
                  </a:lnTo>
                  <a:lnTo>
                    <a:pt x="287" y="222"/>
                  </a:lnTo>
                  <a:lnTo>
                    <a:pt x="287" y="222"/>
                  </a:lnTo>
                  <a:lnTo>
                    <a:pt x="287" y="220"/>
                  </a:lnTo>
                  <a:lnTo>
                    <a:pt x="287" y="220"/>
                  </a:lnTo>
                  <a:lnTo>
                    <a:pt x="287" y="220"/>
                  </a:lnTo>
                  <a:lnTo>
                    <a:pt x="287" y="220"/>
                  </a:lnTo>
                  <a:lnTo>
                    <a:pt x="287" y="218"/>
                  </a:lnTo>
                  <a:lnTo>
                    <a:pt x="287" y="216"/>
                  </a:lnTo>
                  <a:lnTo>
                    <a:pt x="289" y="216"/>
                  </a:lnTo>
                  <a:lnTo>
                    <a:pt x="289" y="216"/>
                  </a:lnTo>
                  <a:lnTo>
                    <a:pt x="289" y="214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89" y="212"/>
                  </a:lnTo>
                  <a:lnTo>
                    <a:pt x="291" y="210"/>
                  </a:lnTo>
                  <a:lnTo>
                    <a:pt x="291" y="210"/>
                  </a:lnTo>
                  <a:lnTo>
                    <a:pt x="293" y="207"/>
                  </a:lnTo>
                  <a:lnTo>
                    <a:pt x="293" y="207"/>
                  </a:lnTo>
                  <a:lnTo>
                    <a:pt x="295" y="207"/>
                  </a:lnTo>
                  <a:lnTo>
                    <a:pt x="298" y="207"/>
                  </a:lnTo>
                  <a:lnTo>
                    <a:pt x="298" y="207"/>
                  </a:lnTo>
                  <a:lnTo>
                    <a:pt x="300" y="207"/>
                  </a:lnTo>
                  <a:lnTo>
                    <a:pt x="300" y="207"/>
                  </a:lnTo>
                  <a:lnTo>
                    <a:pt x="302" y="205"/>
                  </a:lnTo>
                  <a:lnTo>
                    <a:pt x="302" y="205"/>
                  </a:lnTo>
                  <a:lnTo>
                    <a:pt x="304" y="201"/>
                  </a:lnTo>
                  <a:lnTo>
                    <a:pt x="304" y="201"/>
                  </a:lnTo>
                  <a:lnTo>
                    <a:pt x="304" y="199"/>
                  </a:lnTo>
                  <a:lnTo>
                    <a:pt x="304" y="199"/>
                  </a:lnTo>
                  <a:lnTo>
                    <a:pt x="304" y="199"/>
                  </a:lnTo>
                  <a:lnTo>
                    <a:pt x="304" y="199"/>
                  </a:lnTo>
                  <a:lnTo>
                    <a:pt x="304" y="199"/>
                  </a:lnTo>
                  <a:lnTo>
                    <a:pt x="304" y="197"/>
                  </a:lnTo>
                  <a:lnTo>
                    <a:pt x="304" y="197"/>
                  </a:lnTo>
                  <a:lnTo>
                    <a:pt x="304" y="197"/>
                  </a:lnTo>
                  <a:lnTo>
                    <a:pt x="304" y="195"/>
                  </a:lnTo>
                  <a:lnTo>
                    <a:pt x="306" y="195"/>
                  </a:lnTo>
                  <a:lnTo>
                    <a:pt x="306" y="193"/>
                  </a:lnTo>
                  <a:lnTo>
                    <a:pt x="306" y="193"/>
                  </a:lnTo>
                  <a:lnTo>
                    <a:pt x="306" y="193"/>
                  </a:lnTo>
                  <a:lnTo>
                    <a:pt x="308" y="195"/>
                  </a:lnTo>
                  <a:lnTo>
                    <a:pt x="308" y="197"/>
                  </a:lnTo>
                  <a:lnTo>
                    <a:pt x="308" y="197"/>
                  </a:lnTo>
                  <a:lnTo>
                    <a:pt x="310" y="197"/>
                  </a:lnTo>
                  <a:lnTo>
                    <a:pt x="310" y="197"/>
                  </a:lnTo>
                  <a:lnTo>
                    <a:pt x="312" y="197"/>
                  </a:lnTo>
                  <a:lnTo>
                    <a:pt x="312" y="197"/>
                  </a:lnTo>
                  <a:lnTo>
                    <a:pt x="314" y="197"/>
                  </a:lnTo>
                  <a:lnTo>
                    <a:pt x="314" y="199"/>
                  </a:lnTo>
                  <a:lnTo>
                    <a:pt x="316" y="201"/>
                  </a:lnTo>
                  <a:lnTo>
                    <a:pt x="318" y="201"/>
                  </a:lnTo>
                  <a:lnTo>
                    <a:pt x="321" y="203"/>
                  </a:lnTo>
                  <a:lnTo>
                    <a:pt x="325" y="203"/>
                  </a:lnTo>
                  <a:lnTo>
                    <a:pt x="325" y="203"/>
                  </a:lnTo>
                  <a:lnTo>
                    <a:pt x="325" y="205"/>
                  </a:lnTo>
                  <a:lnTo>
                    <a:pt x="325" y="207"/>
                  </a:lnTo>
                  <a:lnTo>
                    <a:pt x="325" y="207"/>
                  </a:lnTo>
                  <a:lnTo>
                    <a:pt x="325" y="207"/>
                  </a:lnTo>
                  <a:lnTo>
                    <a:pt x="327" y="207"/>
                  </a:lnTo>
                  <a:lnTo>
                    <a:pt x="327" y="207"/>
                  </a:lnTo>
                  <a:lnTo>
                    <a:pt x="329" y="210"/>
                  </a:lnTo>
                  <a:lnTo>
                    <a:pt x="329" y="210"/>
                  </a:lnTo>
                  <a:lnTo>
                    <a:pt x="331" y="212"/>
                  </a:lnTo>
                  <a:lnTo>
                    <a:pt x="331" y="212"/>
                  </a:lnTo>
                  <a:lnTo>
                    <a:pt x="331" y="214"/>
                  </a:lnTo>
                  <a:lnTo>
                    <a:pt x="333" y="216"/>
                  </a:lnTo>
                  <a:lnTo>
                    <a:pt x="333" y="216"/>
                  </a:lnTo>
                  <a:lnTo>
                    <a:pt x="333" y="216"/>
                  </a:lnTo>
                  <a:lnTo>
                    <a:pt x="333" y="218"/>
                  </a:lnTo>
                  <a:lnTo>
                    <a:pt x="333" y="218"/>
                  </a:lnTo>
                  <a:lnTo>
                    <a:pt x="333" y="220"/>
                  </a:lnTo>
                  <a:lnTo>
                    <a:pt x="333" y="220"/>
                  </a:lnTo>
                  <a:lnTo>
                    <a:pt x="333" y="222"/>
                  </a:lnTo>
                  <a:lnTo>
                    <a:pt x="333" y="222"/>
                  </a:lnTo>
                  <a:lnTo>
                    <a:pt x="335" y="222"/>
                  </a:lnTo>
                  <a:lnTo>
                    <a:pt x="335" y="222"/>
                  </a:lnTo>
                  <a:lnTo>
                    <a:pt x="337" y="222"/>
                  </a:lnTo>
                  <a:lnTo>
                    <a:pt x="337" y="224"/>
                  </a:lnTo>
                  <a:lnTo>
                    <a:pt x="337" y="224"/>
                  </a:lnTo>
                  <a:lnTo>
                    <a:pt x="337" y="224"/>
                  </a:lnTo>
                  <a:lnTo>
                    <a:pt x="337" y="226"/>
                  </a:lnTo>
                  <a:lnTo>
                    <a:pt x="337" y="226"/>
                  </a:lnTo>
                  <a:lnTo>
                    <a:pt x="339" y="226"/>
                  </a:lnTo>
                  <a:lnTo>
                    <a:pt x="342" y="226"/>
                  </a:lnTo>
                  <a:lnTo>
                    <a:pt x="342" y="229"/>
                  </a:lnTo>
                  <a:lnTo>
                    <a:pt x="342" y="231"/>
                  </a:lnTo>
                  <a:lnTo>
                    <a:pt x="344" y="231"/>
                  </a:lnTo>
                  <a:lnTo>
                    <a:pt x="348" y="231"/>
                  </a:lnTo>
                  <a:lnTo>
                    <a:pt x="348" y="231"/>
                  </a:lnTo>
                  <a:lnTo>
                    <a:pt x="350" y="229"/>
                  </a:lnTo>
                  <a:lnTo>
                    <a:pt x="354" y="231"/>
                  </a:lnTo>
                  <a:lnTo>
                    <a:pt x="354" y="231"/>
                  </a:lnTo>
                  <a:lnTo>
                    <a:pt x="356" y="224"/>
                  </a:lnTo>
                  <a:lnTo>
                    <a:pt x="358" y="220"/>
                  </a:lnTo>
                  <a:lnTo>
                    <a:pt x="358" y="218"/>
                  </a:lnTo>
                  <a:lnTo>
                    <a:pt x="365" y="207"/>
                  </a:lnTo>
                  <a:lnTo>
                    <a:pt x="367" y="203"/>
                  </a:lnTo>
                  <a:lnTo>
                    <a:pt x="367" y="201"/>
                  </a:lnTo>
                  <a:lnTo>
                    <a:pt x="365" y="197"/>
                  </a:lnTo>
                  <a:lnTo>
                    <a:pt x="356" y="193"/>
                  </a:lnTo>
                  <a:lnTo>
                    <a:pt x="354" y="189"/>
                  </a:lnTo>
                  <a:lnTo>
                    <a:pt x="354" y="186"/>
                  </a:lnTo>
                  <a:lnTo>
                    <a:pt x="360" y="165"/>
                  </a:lnTo>
                  <a:lnTo>
                    <a:pt x="360" y="161"/>
                  </a:lnTo>
                  <a:lnTo>
                    <a:pt x="365" y="157"/>
                  </a:lnTo>
                  <a:lnTo>
                    <a:pt x="367" y="153"/>
                  </a:lnTo>
                  <a:lnTo>
                    <a:pt x="371" y="151"/>
                  </a:lnTo>
                  <a:lnTo>
                    <a:pt x="377" y="147"/>
                  </a:lnTo>
                  <a:lnTo>
                    <a:pt x="377" y="147"/>
                  </a:lnTo>
                  <a:lnTo>
                    <a:pt x="377" y="147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2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1" name="Freeform 102">
              <a:extLst>
                <a:ext uri="{FF2B5EF4-FFF2-40B4-BE49-F238E27FC236}">
                  <a16:creationId xmlns:a16="http://schemas.microsoft.com/office/drawing/2014/main" id="{5C4A0A49-2BD2-48EF-B84E-85BAD8683C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485" y="536193"/>
              <a:ext cx="653654" cy="608409"/>
            </a:xfrm>
            <a:custGeom>
              <a:avLst/>
              <a:gdLst>
                <a:gd name="T0" fmla="*/ 132 w 549"/>
                <a:gd name="T1" fmla="*/ 454 h 511"/>
                <a:gd name="T2" fmla="*/ 109 w 549"/>
                <a:gd name="T3" fmla="*/ 360 h 511"/>
                <a:gd name="T4" fmla="*/ 122 w 549"/>
                <a:gd name="T5" fmla="*/ 341 h 511"/>
                <a:gd name="T6" fmla="*/ 90 w 549"/>
                <a:gd name="T7" fmla="*/ 357 h 511"/>
                <a:gd name="T8" fmla="*/ 126 w 549"/>
                <a:gd name="T9" fmla="*/ 379 h 511"/>
                <a:gd name="T10" fmla="*/ 126 w 549"/>
                <a:gd name="T11" fmla="*/ 372 h 511"/>
                <a:gd name="T12" fmla="*/ 120 w 549"/>
                <a:gd name="T13" fmla="*/ 408 h 511"/>
                <a:gd name="T14" fmla="*/ 116 w 549"/>
                <a:gd name="T15" fmla="*/ 376 h 511"/>
                <a:gd name="T16" fmla="*/ 132 w 549"/>
                <a:gd name="T17" fmla="*/ 442 h 511"/>
                <a:gd name="T18" fmla="*/ 0 w 549"/>
                <a:gd name="T19" fmla="*/ 343 h 511"/>
                <a:gd name="T20" fmla="*/ 21 w 549"/>
                <a:gd name="T21" fmla="*/ 379 h 511"/>
                <a:gd name="T22" fmla="*/ 2 w 549"/>
                <a:gd name="T23" fmla="*/ 347 h 511"/>
                <a:gd name="T24" fmla="*/ 84 w 549"/>
                <a:gd name="T25" fmla="*/ 351 h 511"/>
                <a:gd name="T26" fmla="*/ 42 w 549"/>
                <a:gd name="T27" fmla="*/ 374 h 511"/>
                <a:gd name="T28" fmla="*/ 86 w 549"/>
                <a:gd name="T29" fmla="*/ 381 h 511"/>
                <a:gd name="T30" fmla="*/ 107 w 549"/>
                <a:gd name="T31" fmla="*/ 439 h 511"/>
                <a:gd name="T32" fmla="*/ 86 w 549"/>
                <a:gd name="T33" fmla="*/ 391 h 511"/>
                <a:gd name="T34" fmla="*/ 147 w 549"/>
                <a:gd name="T35" fmla="*/ 355 h 511"/>
                <a:gd name="T36" fmla="*/ 139 w 549"/>
                <a:gd name="T37" fmla="*/ 442 h 511"/>
                <a:gd name="T38" fmla="*/ 145 w 549"/>
                <a:gd name="T39" fmla="*/ 452 h 511"/>
                <a:gd name="T40" fmla="*/ 116 w 549"/>
                <a:gd name="T41" fmla="*/ 435 h 511"/>
                <a:gd name="T42" fmla="*/ 107 w 549"/>
                <a:gd name="T43" fmla="*/ 406 h 511"/>
                <a:gd name="T44" fmla="*/ 107 w 549"/>
                <a:gd name="T45" fmla="*/ 404 h 511"/>
                <a:gd name="T46" fmla="*/ 105 w 549"/>
                <a:gd name="T47" fmla="*/ 421 h 511"/>
                <a:gd name="T48" fmla="*/ 95 w 549"/>
                <a:gd name="T49" fmla="*/ 400 h 511"/>
                <a:gd name="T50" fmla="*/ 46 w 549"/>
                <a:gd name="T51" fmla="*/ 349 h 511"/>
                <a:gd name="T52" fmla="*/ 394 w 549"/>
                <a:gd name="T53" fmla="*/ 357 h 511"/>
                <a:gd name="T54" fmla="*/ 294 w 549"/>
                <a:gd name="T55" fmla="*/ 152 h 511"/>
                <a:gd name="T56" fmla="*/ 231 w 549"/>
                <a:gd name="T57" fmla="*/ 164 h 511"/>
                <a:gd name="T58" fmla="*/ 229 w 549"/>
                <a:gd name="T59" fmla="*/ 181 h 511"/>
                <a:gd name="T60" fmla="*/ 426 w 549"/>
                <a:gd name="T61" fmla="*/ 164 h 511"/>
                <a:gd name="T62" fmla="*/ 279 w 549"/>
                <a:gd name="T63" fmla="*/ 156 h 511"/>
                <a:gd name="T64" fmla="*/ 275 w 549"/>
                <a:gd name="T65" fmla="*/ 135 h 511"/>
                <a:gd name="T66" fmla="*/ 279 w 549"/>
                <a:gd name="T67" fmla="*/ 137 h 511"/>
                <a:gd name="T68" fmla="*/ 277 w 549"/>
                <a:gd name="T69" fmla="*/ 183 h 511"/>
                <a:gd name="T70" fmla="*/ 432 w 549"/>
                <a:gd name="T71" fmla="*/ 59 h 511"/>
                <a:gd name="T72" fmla="*/ 528 w 549"/>
                <a:gd name="T73" fmla="*/ 175 h 511"/>
                <a:gd name="T74" fmla="*/ 524 w 549"/>
                <a:gd name="T75" fmla="*/ 179 h 511"/>
                <a:gd name="T76" fmla="*/ 499 w 549"/>
                <a:gd name="T77" fmla="*/ 196 h 511"/>
                <a:gd name="T78" fmla="*/ 541 w 549"/>
                <a:gd name="T79" fmla="*/ 213 h 511"/>
                <a:gd name="T80" fmla="*/ 470 w 549"/>
                <a:gd name="T81" fmla="*/ 59 h 511"/>
                <a:gd name="T82" fmla="*/ 444 w 549"/>
                <a:gd name="T83" fmla="*/ 72 h 511"/>
                <a:gd name="T84" fmla="*/ 470 w 549"/>
                <a:gd name="T85" fmla="*/ 93 h 511"/>
                <a:gd name="T86" fmla="*/ 463 w 549"/>
                <a:gd name="T87" fmla="*/ 105 h 511"/>
                <a:gd name="T88" fmla="*/ 446 w 549"/>
                <a:gd name="T89" fmla="*/ 0 h 511"/>
                <a:gd name="T90" fmla="*/ 436 w 549"/>
                <a:gd name="T91" fmla="*/ 82 h 511"/>
                <a:gd name="T92" fmla="*/ 453 w 549"/>
                <a:gd name="T93" fmla="*/ 107 h 511"/>
                <a:gd name="T94" fmla="*/ 88 w 549"/>
                <a:gd name="T95" fmla="*/ 479 h 511"/>
                <a:gd name="T96" fmla="*/ 53 w 549"/>
                <a:gd name="T97" fmla="*/ 370 h 511"/>
                <a:gd name="T98" fmla="*/ 80 w 549"/>
                <a:gd name="T99" fmla="*/ 339 h 511"/>
                <a:gd name="T100" fmla="*/ 63 w 549"/>
                <a:gd name="T101" fmla="*/ 353 h 511"/>
                <a:gd name="T102" fmla="*/ 74 w 549"/>
                <a:gd name="T103" fmla="*/ 357 h 511"/>
                <a:gd name="T104" fmla="*/ 38 w 549"/>
                <a:gd name="T105" fmla="*/ 381 h 511"/>
                <a:gd name="T106" fmla="*/ 28 w 549"/>
                <a:gd name="T107" fmla="*/ 400 h 511"/>
                <a:gd name="T108" fmla="*/ 76 w 549"/>
                <a:gd name="T109" fmla="*/ 391 h 511"/>
                <a:gd name="T110" fmla="*/ 21 w 549"/>
                <a:gd name="T111" fmla="*/ 372 h 511"/>
                <a:gd name="T112" fmla="*/ 111 w 549"/>
                <a:gd name="T113" fmla="*/ 479 h 511"/>
                <a:gd name="T114" fmla="*/ 118 w 549"/>
                <a:gd name="T115" fmla="*/ 500 h 511"/>
                <a:gd name="T116" fmla="*/ 126 w 549"/>
                <a:gd name="T117" fmla="*/ 450 h 511"/>
                <a:gd name="T118" fmla="*/ 122 w 549"/>
                <a:gd name="T119" fmla="*/ 471 h 511"/>
                <a:gd name="T120" fmla="*/ 222 w 549"/>
                <a:gd name="T121" fmla="*/ 156 h 511"/>
                <a:gd name="T122" fmla="*/ 82 w 549"/>
                <a:gd name="T123" fmla="*/ 368 h 511"/>
                <a:gd name="T124" fmla="*/ 84 w 549"/>
                <a:gd name="T125" fmla="*/ 484 h 5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9" h="511">
                  <a:moveTo>
                    <a:pt x="132" y="376"/>
                  </a:moveTo>
                  <a:lnTo>
                    <a:pt x="132" y="376"/>
                  </a:lnTo>
                  <a:lnTo>
                    <a:pt x="132" y="376"/>
                  </a:lnTo>
                  <a:lnTo>
                    <a:pt x="134" y="376"/>
                  </a:lnTo>
                  <a:lnTo>
                    <a:pt x="136" y="379"/>
                  </a:lnTo>
                  <a:lnTo>
                    <a:pt x="139" y="379"/>
                  </a:lnTo>
                  <a:lnTo>
                    <a:pt x="139" y="376"/>
                  </a:lnTo>
                  <a:lnTo>
                    <a:pt x="139" y="376"/>
                  </a:lnTo>
                  <a:lnTo>
                    <a:pt x="136" y="374"/>
                  </a:lnTo>
                  <a:lnTo>
                    <a:pt x="136" y="374"/>
                  </a:lnTo>
                  <a:lnTo>
                    <a:pt x="132" y="374"/>
                  </a:lnTo>
                  <a:lnTo>
                    <a:pt x="132" y="374"/>
                  </a:lnTo>
                  <a:lnTo>
                    <a:pt x="132" y="376"/>
                  </a:lnTo>
                  <a:close/>
                  <a:moveTo>
                    <a:pt x="130" y="368"/>
                  </a:moveTo>
                  <a:lnTo>
                    <a:pt x="130" y="368"/>
                  </a:lnTo>
                  <a:lnTo>
                    <a:pt x="130" y="368"/>
                  </a:lnTo>
                  <a:lnTo>
                    <a:pt x="130" y="370"/>
                  </a:lnTo>
                  <a:lnTo>
                    <a:pt x="130" y="370"/>
                  </a:lnTo>
                  <a:lnTo>
                    <a:pt x="132" y="368"/>
                  </a:lnTo>
                  <a:lnTo>
                    <a:pt x="132" y="368"/>
                  </a:lnTo>
                  <a:lnTo>
                    <a:pt x="132" y="368"/>
                  </a:lnTo>
                  <a:lnTo>
                    <a:pt x="132" y="366"/>
                  </a:lnTo>
                  <a:lnTo>
                    <a:pt x="132" y="366"/>
                  </a:lnTo>
                  <a:lnTo>
                    <a:pt x="132" y="366"/>
                  </a:lnTo>
                  <a:lnTo>
                    <a:pt x="132" y="364"/>
                  </a:lnTo>
                  <a:lnTo>
                    <a:pt x="130" y="366"/>
                  </a:lnTo>
                  <a:lnTo>
                    <a:pt x="130" y="366"/>
                  </a:lnTo>
                  <a:lnTo>
                    <a:pt x="130" y="366"/>
                  </a:lnTo>
                  <a:lnTo>
                    <a:pt x="130" y="368"/>
                  </a:lnTo>
                  <a:close/>
                  <a:moveTo>
                    <a:pt x="134" y="456"/>
                  </a:moveTo>
                  <a:lnTo>
                    <a:pt x="134" y="454"/>
                  </a:lnTo>
                  <a:lnTo>
                    <a:pt x="132" y="454"/>
                  </a:lnTo>
                  <a:lnTo>
                    <a:pt x="132" y="454"/>
                  </a:lnTo>
                  <a:lnTo>
                    <a:pt x="134" y="456"/>
                  </a:lnTo>
                  <a:lnTo>
                    <a:pt x="134" y="456"/>
                  </a:lnTo>
                  <a:close/>
                  <a:moveTo>
                    <a:pt x="90" y="349"/>
                  </a:moveTo>
                  <a:lnTo>
                    <a:pt x="90" y="351"/>
                  </a:lnTo>
                  <a:lnTo>
                    <a:pt x="90" y="353"/>
                  </a:lnTo>
                  <a:lnTo>
                    <a:pt x="92" y="353"/>
                  </a:lnTo>
                  <a:lnTo>
                    <a:pt x="95" y="355"/>
                  </a:lnTo>
                  <a:lnTo>
                    <a:pt x="97" y="353"/>
                  </a:lnTo>
                  <a:lnTo>
                    <a:pt x="99" y="353"/>
                  </a:lnTo>
                  <a:lnTo>
                    <a:pt x="99" y="353"/>
                  </a:lnTo>
                  <a:lnTo>
                    <a:pt x="101" y="353"/>
                  </a:lnTo>
                  <a:lnTo>
                    <a:pt x="103" y="351"/>
                  </a:lnTo>
                  <a:lnTo>
                    <a:pt x="103" y="351"/>
                  </a:lnTo>
                  <a:lnTo>
                    <a:pt x="107" y="349"/>
                  </a:lnTo>
                  <a:lnTo>
                    <a:pt x="109" y="349"/>
                  </a:lnTo>
                  <a:lnTo>
                    <a:pt x="109" y="349"/>
                  </a:lnTo>
                  <a:lnTo>
                    <a:pt x="109" y="349"/>
                  </a:lnTo>
                  <a:lnTo>
                    <a:pt x="111" y="351"/>
                  </a:lnTo>
                  <a:lnTo>
                    <a:pt x="111" y="351"/>
                  </a:lnTo>
                  <a:lnTo>
                    <a:pt x="113" y="351"/>
                  </a:lnTo>
                  <a:lnTo>
                    <a:pt x="111" y="351"/>
                  </a:lnTo>
                  <a:lnTo>
                    <a:pt x="111" y="353"/>
                  </a:lnTo>
                  <a:lnTo>
                    <a:pt x="111" y="353"/>
                  </a:lnTo>
                  <a:lnTo>
                    <a:pt x="109" y="355"/>
                  </a:lnTo>
                  <a:lnTo>
                    <a:pt x="109" y="355"/>
                  </a:lnTo>
                  <a:lnTo>
                    <a:pt x="111" y="355"/>
                  </a:lnTo>
                  <a:lnTo>
                    <a:pt x="107" y="357"/>
                  </a:lnTo>
                  <a:lnTo>
                    <a:pt x="107" y="357"/>
                  </a:lnTo>
                  <a:lnTo>
                    <a:pt x="107" y="360"/>
                  </a:lnTo>
                  <a:lnTo>
                    <a:pt x="107" y="360"/>
                  </a:lnTo>
                  <a:lnTo>
                    <a:pt x="109" y="360"/>
                  </a:lnTo>
                  <a:lnTo>
                    <a:pt x="111" y="360"/>
                  </a:lnTo>
                  <a:lnTo>
                    <a:pt x="113" y="360"/>
                  </a:lnTo>
                  <a:lnTo>
                    <a:pt x="113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09" y="362"/>
                  </a:lnTo>
                  <a:lnTo>
                    <a:pt x="109" y="362"/>
                  </a:lnTo>
                  <a:lnTo>
                    <a:pt x="111" y="364"/>
                  </a:lnTo>
                  <a:lnTo>
                    <a:pt x="113" y="364"/>
                  </a:lnTo>
                  <a:lnTo>
                    <a:pt x="113" y="366"/>
                  </a:lnTo>
                  <a:lnTo>
                    <a:pt x="113" y="368"/>
                  </a:lnTo>
                  <a:lnTo>
                    <a:pt x="120" y="370"/>
                  </a:lnTo>
                  <a:lnTo>
                    <a:pt x="124" y="370"/>
                  </a:lnTo>
                  <a:lnTo>
                    <a:pt x="124" y="366"/>
                  </a:lnTo>
                  <a:lnTo>
                    <a:pt x="124" y="364"/>
                  </a:lnTo>
                  <a:lnTo>
                    <a:pt x="126" y="364"/>
                  </a:lnTo>
                  <a:lnTo>
                    <a:pt x="126" y="364"/>
                  </a:lnTo>
                  <a:lnTo>
                    <a:pt x="128" y="362"/>
                  </a:lnTo>
                  <a:lnTo>
                    <a:pt x="128" y="362"/>
                  </a:lnTo>
                  <a:lnTo>
                    <a:pt x="128" y="362"/>
                  </a:lnTo>
                  <a:lnTo>
                    <a:pt x="130" y="360"/>
                  </a:lnTo>
                  <a:lnTo>
                    <a:pt x="128" y="360"/>
                  </a:lnTo>
                  <a:lnTo>
                    <a:pt x="128" y="360"/>
                  </a:lnTo>
                  <a:lnTo>
                    <a:pt x="128" y="357"/>
                  </a:lnTo>
                  <a:lnTo>
                    <a:pt x="128" y="355"/>
                  </a:lnTo>
                  <a:lnTo>
                    <a:pt x="128" y="353"/>
                  </a:lnTo>
                  <a:lnTo>
                    <a:pt x="130" y="351"/>
                  </a:lnTo>
                  <a:lnTo>
                    <a:pt x="128" y="347"/>
                  </a:lnTo>
                  <a:lnTo>
                    <a:pt x="128" y="345"/>
                  </a:lnTo>
                  <a:lnTo>
                    <a:pt x="128" y="345"/>
                  </a:lnTo>
                  <a:lnTo>
                    <a:pt x="124" y="343"/>
                  </a:lnTo>
                  <a:lnTo>
                    <a:pt x="122" y="341"/>
                  </a:lnTo>
                  <a:lnTo>
                    <a:pt x="122" y="339"/>
                  </a:lnTo>
                  <a:lnTo>
                    <a:pt x="124" y="336"/>
                  </a:lnTo>
                  <a:lnTo>
                    <a:pt x="122" y="334"/>
                  </a:lnTo>
                  <a:lnTo>
                    <a:pt x="122" y="334"/>
                  </a:lnTo>
                  <a:lnTo>
                    <a:pt x="120" y="334"/>
                  </a:lnTo>
                  <a:lnTo>
                    <a:pt x="122" y="334"/>
                  </a:lnTo>
                  <a:lnTo>
                    <a:pt x="118" y="336"/>
                  </a:lnTo>
                  <a:lnTo>
                    <a:pt x="116" y="339"/>
                  </a:lnTo>
                  <a:lnTo>
                    <a:pt x="111" y="339"/>
                  </a:lnTo>
                  <a:lnTo>
                    <a:pt x="107" y="336"/>
                  </a:lnTo>
                  <a:lnTo>
                    <a:pt x="105" y="336"/>
                  </a:lnTo>
                  <a:lnTo>
                    <a:pt x="105" y="336"/>
                  </a:lnTo>
                  <a:lnTo>
                    <a:pt x="105" y="336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1" y="336"/>
                  </a:lnTo>
                  <a:lnTo>
                    <a:pt x="99" y="339"/>
                  </a:lnTo>
                  <a:lnTo>
                    <a:pt x="99" y="339"/>
                  </a:lnTo>
                  <a:lnTo>
                    <a:pt x="99" y="339"/>
                  </a:lnTo>
                  <a:lnTo>
                    <a:pt x="99" y="341"/>
                  </a:lnTo>
                  <a:lnTo>
                    <a:pt x="97" y="341"/>
                  </a:lnTo>
                  <a:lnTo>
                    <a:pt x="97" y="343"/>
                  </a:lnTo>
                  <a:lnTo>
                    <a:pt x="97" y="343"/>
                  </a:lnTo>
                  <a:lnTo>
                    <a:pt x="90" y="345"/>
                  </a:lnTo>
                  <a:lnTo>
                    <a:pt x="88" y="345"/>
                  </a:lnTo>
                  <a:lnTo>
                    <a:pt x="88" y="347"/>
                  </a:lnTo>
                  <a:lnTo>
                    <a:pt x="90" y="349"/>
                  </a:lnTo>
                  <a:close/>
                  <a:moveTo>
                    <a:pt x="88" y="355"/>
                  </a:moveTo>
                  <a:lnTo>
                    <a:pt x="88" y="355"/>
                  </a:lnTo>
                  <a:lnTo>
                    <a:pt x="88" y="357"/>
                  </a:lnTo>
                  <a:lnTo>
                    <a:pt x="90" y="357"/>
                  </a:lnTo>
                  <a:lnTo>
                    <a:pt x="90" y="357"/>
                  </a:lnTo>
                  <a:lnTo>
                    <a:pt x="90" y="357"/>
                  </a:lnTo>
                  <a:lnTo>
                    <a:pt x="92" y="357"/>
                  </a:lnTo>
                  <a:lnTo>
                    <a:pt x="92" y="357"/>
                  </a:lnTo>
                  <a:lnTo>
                    <a:pt x="92" y="355"/>
                  </a:lnTo>
                  <a:lnTo>
                    <a:pt x="92" y="355"/>
                  </a:lnTo>
                  <a:lnTo>
                    <a:pt x="90" y="355"/>
                  </a:lnTo>
                  <a:lnTo>
                    <a:pt x="88" y="355"/>
                  </a:lnTo>
                  <a:close/>
                  <a:moveTo>
                    <a:pt x="124" y="383"/>
                  </a:moveTo>
                  <a:lnTo>
                    <a:pt x="124" y="383"/>
                  </a:lnTo>
                  <a:lnTo>
                    <a:pt x="124" y="383"/>
                  </a:lnTo>
                  <a:lnTo>
                    <a:pt x="124" y="383"/>
                  </a:lnTo>
                  <a:lnTo>
                    <a:pt x="124" y="383"/>
                  </a:lnTo>
                  <a:lnTo>
                    <a:pt x="124" y="383"/>
                  </a:lnTo>
                  <a:lnTo>
                    <a:pt x="126" y="383"/>
                  </a:lnTo>
                  <a:lnTo>
                    <a:pt x="126" y="383"/>
                  </a:lnTo>
                  <a:lnTo>
                    <a:pt x="126" y="383"/>
                  </a:lnTo>
                  <a:lnTo>
                    <a:pt x="126" y="383"/>
                  </a:lnTo>
                  <a:lnTo>
                    <a:pt x="126" y="383"/>
                  </a:lnTo>
                  <a:lnTo>
                    <a:pt x="126" y="381"/>
                  </a:lnTo>
                  <a:lnTo>
                    <a:pt x="126" y="381"/>
                  </a:lnTo>
                  <a:lnTo>
                    <a:pt x="126" y="381"/>
                  </a:lnTo>
                  <a:lnTo>
                    <a:pt x="126" y="381"/>
                  </a:lnTo>
                  <a:lnTo>
                    <a:pt x="128" y="381"/>
                  </a:lnTo>
                  <a:lnTo>
                    <a:pt x="128" y="381"/>
                  </a:lnTo>
                  <a:lnTo>
                    <a:pt x="128" y="379"/>
                  </a:lnTo>
                  <a:lnTo>
                    <a:pt x="128" y="379"/>
                  </a:lnTo>
                  <a:lnTo>
                    <a:pt x="128" y="379"/>
                  </a:lnTo>
                  <a:lnTo>
                    <a:pt x="128" y="379"/>
                  </a:lnTo>
                  <a:lnTo>
                    <a:pt x="128" y="379"/>
                  </a:lnTo>
                  <a:lnTo>
                    <a:pt x="126" y="379"/>
                  </a:lnTo>
                  <a:lnTo>
                    <a:pt x="126" y="379"/>
                  </a:lnTo>
                  <a:lnTo>
                    <a:pt x="126" y="379"/>
                  </a:lnTo>
                  <a:lnTo>
                    <a:pt x="126" y="379"/>
                  </a:lnTo>
                  <a:lnTo>
                    <a:pt x="126" y="379"/>
                  </a:lnTo>
                  <a:lnTo>
                    <a:pt x="124" y="379"/>
                  </a:lnTo>
                  <a:lnTo>
                    <a:pt x="124" y="381"/>
                  </a:lnTo>
                  <a:lnTo>
                    <a:pt x="124" y="381"/>
                  </a:lnTo>
                  <a:lnTo>
                    <a:pt x="124" y="381"/>
                  </a:lnTo>
                  <a:lnTo>
                    <a:pt x="124" y="383"/>
                  </a:lnTo>
                  <a:close/>
                  <a:moveTo>
                    <a:pt x="128" y="364"/>
                  </a:moveTo>
                  <a:lnTo>
                    <a:pt x="128" y="364"/>
                  </a:lnTo>
                  <a:lnTo>
                    <a:pt x="126" y="364"/>
                  </a:lnTo>
                  <a:lnTo>
                    <a:pt x="126" y="364"/>
                  </a:lnTo>
                  <a:lnTo>
                    <a:pt x="126" y="364"/>
                  </a:lnTo>
                  <a:lnTo>
                    <a:pt x="126" y="366"/>
                  </a:lnTo>
                  <a:lnTo>
                    <a:pt x="126" y="366"/>
                  </a:lnTo>
                  <a:lnTo>
                    <a:pt x="126" y="368"/>
                  </a:lnTo>
                  <a:lnTo>
                    <a:pt x="126" y="368"/>
                  </a:lnTo>
                  <a:lnTo>
                    <a:pt x="126" y="368"/>
                  </a:lnTo>
                  <a:lnTo>
                    <a:pt x="126" y="368"/>
                  </a:lnTo>
                  <a:lnTo>
                    <a:pt x="128" y="366"/>
                  </a:lnTo>
                  <a:lnTo>
                    <a:pt x="130" y="366"/>
                  </a:lnTo>
                  <a:lnTo>
                    <a:pt x="128" y="364"/>
                  </a:lnTo>
                  <a:lnTo>
                    <a:pt x="128" y="364"/>
                  </a:lnTo>
                  <a:close/>
                  <a:moveTo>
                    <a:pt x="130" y="372"/>
                  </a:moveTo>
                  <a:lnTo>
                    <a:pt x="130" y="370"/>
                  </a:lnTo>
                  <a:lnTo>
                    <a:pt x="130" y="370"/>
                  </a:lnTo>
                  <a:lnTo>
                    <a:pt x="130" y="368"/>
                  </a:lnTo>
                  <a:lnTo>
                    <a:pt x="128" y="368"/>
                  </a:lnTo>
                  <a:lnTo>
                    <a:pt x="128" y="368"/>
                  </a:lnTo>
                  <a:lnTo>
                    <a:pt x="126" y="370"/>
                  </a:lnTo>
                  <a:lnTo>
                    <a:pt x="126" y="372"/>
                  </a:lnTo>
                  <a:lnTo>
                    <a:pt x="126" y="372"/>
                  </a:lnTo>
                  <a:lnTo>
                    <a:pt x="126" y="372"/>
                  </a:lnTo>
                  <a:lnTo>
                    <a:pt x="128" y="372"/>
                  </a:lnTo>
                  <a:lnTo>
                    <a:pt x="128" y="372"/>
                  </a:lnTo>
                  <a:lnTo>
                    <a:pt x="128" y="372"/>
                  </a:lnTo>
                  <a:lnTo>
                    <a:pt x="130" y="372"/>
                  </a:lnTo>
                  <a:close/>
                  <a:moveTo>
                    <a:pt x="84" y="357"/>
                  </a:moveTo>
                  <a:lnTo>
                    <a:pt x="82" y="357"/>
                  </a:lnTo>
                  <a:lnTo>
                    <a:pt x="82" y="357"/>
                  </a:lnTo>
                  <a:lnTo>
                    <a:pt x="80" y="357"/>
                  </a:lnTo>
                  <a:lnTo>
                    <a:pt x="80" y="357"/>
                  </a:lnTo>
                  <a:lnTo>
                    <a:pt x="80" y="357"/>
                  </a:lnTo>
                  <a:lnTo>
                    <a:pt x="82" y="360"/>
                  </a:lnTo>
                  <a:lnTo>
                    <a:pt x="80" y="360"/>
                  </a:lnTo>
                  <a:lnTo>
                    <a:pt x="80" y="360"/>
                  </a:lnTo>
                  <a:lnTo>
                    <a:pt x="82" y="360"/>
                  </a:lnTo>
                  <a:lnTo>
                    <a:pt x="82" y="360"/>
                  </a:lnTo>
                  <a:lnTo>
                    <a:pt x="82" y="362"/>
                  </a:lnTo>
                  <a:lnTo>
                    <a:pt x="82" y="362"/>
                  </a:lnTo>
                  <a:lnTo>
                    <a:pt x="82" y="362"/>
                  </a:lnTo>
                  <a:lnTo>
                    <a:pt x="82" y="360"/>
                  </a:lnTo>
                  <a:lnTo>
                    <a:pt x="84" y="360"/>
                  </a:lnTo>
                  <a:lnTo>
                    <a:pt x="84" y="360"/>
                  </a:lnTo>
                  <a:lnTo>
                    <a:pt x="84" y="360"/>
                  </a:lnTo>
                  <a:lnTo>
                    <a:pt x="84" y="360"/>
                  </a:lnTo>
                  <a:lnTo>
                    <a:pt x="84" y="360"/>
                  </a:lnTo>
                  <a:lnTo>
                    <a:pt x="86" y="360"/>
                  </a:lnTo>
                  <a:lnTo>
                    <a:pt x="86" y="360"/>
                  </a:lnTo>
                  <a:lnTo>
                    <a:pt x="86" y="360"/>
                  </a:lnTo>
                  <a:lnTo>
                    <a:pt x="84" y="357"/>
                  </a:lnTo>
                  <a:lnTo>
                    <a:pt x="84" y="357"/>
                  </a:lnTo>
                  <a:close/>
                  <a:moveTo>
                    <a:pt x="120" y="410"/>
                  </a:moveTo>
                  <a:lnTo>
                    <a:pt x="120" y="410"/>
                  </a:lnTo>
                  <a:lnTo>
                    <a:pt x="120" y="408"/>
                  </a:lnTo>
                  <a:lnTo>
                    <a:pt x="118" y="408"/>
                  </a:lnTo>
                  <a:lnTo>
                    <a:pt x="118" y="408"/>
                  </a:lnTo>
                  <a:lnTo>
                    <a:pt x="116" y="408"/>
                  </a:lnTo>
                  <a:lnTo>
                    <a:pt x="116" y="408"/>
                  </a:lnTo>
                  <a:lnTo>
                    <a:pt x="116" y="410"/>
                  </a:lnTo>
                  <a:lnTo>
                    <a:pt x="116" y="410"/>
                  </a:lnTo>
                  <a:lnTo>
                    <a:pt x="116" y="412"/>
                  </a:lnTo>
                  <a:lnTo>
                    <a:pt x="116" y="412"/>
                  </a:lnTo>
                  <a:lnTo>
                    <a:pt x="116" y="412"/>
                  </a:lnTo>
                  <a:lnTo>
                    <a:pt x="116" y="414"/>
                  </a:lnTo>
                  <a:lnTo>
                    <a:pt x="118" y="414"/>
                  </a:lnTo>
                  <a:lnTo>
                    <a:pt x="118" y="414"/>
                  </a:lnTo>
                  <a:lnTo>
                    <a:pt x="118" y="414"/>
                  </a:lnTo>
                  <a:lnTo>
                    <a:pt x="118" y="414"/>
                  </a:lnTo>
                  <a:lnTo>
                    <a:pt x="118" y="414"/>
                  </a:lnTo>
                  <a:lnTo>
                    <a:pt x="118" y="412"/>
                  </a:lnTo>
                  <a:lnTo>
                    <a:pt x="118" y="412"/>
                  </a:lnTo>
                  <a:lnTo>
                    <a:pt x="118" y="410"/>
                  </a:lnTo>
                  <a:lnTo>
                    <a:pt x="118" y="410"/>
                  </a:lnTo>
                  <a:lnTo>
                    <a:pt x="118" y="410"/>
                  </a:lnTo>
                  <a:lnTo>
                    <a:pt x="120" y="410"/>
                  </a:lnTo>
                  <a:close/>
                  <a:moveTo>
                    <a:pt x="134" y="379"/>
                  </a:moveTo>
                  <a:lnTo>
                    <a:pt x="134" y="379"/>
                  </a:lnTo>
                  <a:lnTo>
                    <a:pt x="132" y="376"/>
                  </a:lnTo>
                  <a:lnTo>
                    <a:pt x="132" y="376"/>
                  </a:lnTo>
                  <a:lnTo>
                    <a:pt x="132" y="379"/>
                  </a:lnTo>
                  <a:lnTo>
                    <a:pt x="134" y="379"/>
                  </a:lnTo>
                  <a:lnTo>
                    <a:pt x="134" y="379"/>
                  </a:lnTo>
                  <a:close/>
                  <a:moveTo>
                    <a:pt x="120" y="374"/>
                  </a:moveTo>
                  <a:lnTo>
                    <a:pt x="118" y="374"/>
                  </a:lnTo>
                  <a:lnTo>
                    <a:pt x="116" y="374"/>
                  </a:lnTo>
                  <a:lnTo>
                    <a:pt x="116" y="376"/>
                  </a:lnTo>
                  <a:lnTo>
                    <a:pt x="116" y="379"/>
                  </a:lnTo>
                  <a:lnTo>
                    <a:pt x="118" y="376"/>
                  </a:lnTo>
                  <a:lnTo>
                    <a:pt x="120" y="376"/>
                  </a:lnTo>
                  <a:lnTo>
                    <a:pt x="122" y="376"/>
                  </a:lnTo>
                  <a:lnTo>
                    <a:pt x="124" y="376"/>
                  </a:lnTo>
                  <a:lnTo>
                    <a:pt x="124" y="376"/>
                  </a:lnTo>
                  <a:lnTo>
                    <a:pt x="126" y="376"/>
                  </a:lnTo>
                  <a:lnTo>
                    <a:pt x="126" y="374"/>
                  </a:lnTo>
                  <a:lnTo>
                    <a:pt x="124" y="374"/>
                  </a:lnTo>
                  <a:lnTo>
                    <a:pt x="120" y="374"/>
                  </a:lnTo>
                  <a:close/>
                  <a:moveTo>
                    <a:pt x="118" y="431"/>
                  </a:moveTo>
                  <a:lnTo>
                    <a:pt x="118" y="431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18" y="433"/>
                  </a:lnTo>
                  <a:lnTo>
                    <a:pt x="120" y="433"/>
                  </a:lnTo>
                  <a:lnTo>
                    <a:pt x="120" y="433"/>
                  </a:lnTo>
                  <a:lnTo>
                    <a:pt x="120" y="433"/>
                  </a:lnTo>
                  <a:lnTo>
                    <a:pt x="120" y="435"/>
                  </a:lnTo>
                  <a:lnTo>
                    <a:pt x="120" y="435"/>
                  </a:lnTo>
                  <a:lnTo>
                    <a:pt x="122" y="437"/>
                  </a:lnTo>
                  <a:lnTo>
                    <a:pt x="124" y="439"/>
                  </a:lnTo>
                  <a:lnTo>
                    <a:pt x="124" y="439"/>
                  </a:lnTo>
                  <a:lnTo>
                    <a:pt x="126" y="439"/>
                  </a:lnTo>
                  <a:lnTo>
                    <a:pt x="126" y="439"/>
                  </a:lnTo>
                  <a:lnTo>
                    <a:pt x="126" y="442"/>
                  </a:lnTo>
                  <a:lnTo>
                    <a:pt x="128" y="442"/>
                  </a:lnTo>
                  <a:lnTo>
                    <a:pt x="130" y="444"/>
                  </a:lnTo>
                  <a:lnTo>
                    <a:pt x="132" y="446"/>
                  </a:lnTo>
                  <a:lnTo>
                    <a:pt x="132" y="446"/>
                  </a:lnTo>
                  <a:lnTo>
                    <a:pt x="134" y="444"/>
                  </a:lnTo>
                  <a:lnTo>
                    <a:pt x="132" y="442"/>
                  </a:lnTo>
                  <a:lnTo>
                    <a:pt x="120" y="427"/>
                  </a:lnTo>
                  <a:lnTo>
                    <a:pt x="118" y="427"/>
                  </a:lnTo>
                  <a:lnTo>
                    <a:pt x="118" y="427"/>
                  </a:lnTo>
                  <a:lnTo>
                    <a:pt x="118" y="427"/>
                  </a:lnTo>
                  <a:lnTo>
                    <a:pt x="118" y="427"/>
                  </a:lnTo>
                  <a:lnTo>
                    <a:pt x="118" y="429"/>
                  </a:lnTo>
                  <a:lnTo>
                    <a:pt x="118" y="429"/>
                  </a:lnTo>
                  <a:lnTo>
                    <a:pt x="116" y="427"/>
                  </a:lnTo>
                  <a:lnTo>
                    <a:pt x="113" y="427"/>
                  </a:lnTo>
                  <a:lnTo>
                    <a:pt x="113" y="425"/>
                  </a:lnTo>
                  <a:lnTo>
                    <a:pt x="113" y="427"/>
                  </a:lnTo>
                  <a:lnTo>
                    <a:pt x="113" y="427"/>
                  </a:lnTo>
                  <a:lnTo>
                    <a:pt x="116" y="431"/>
                  </a:lnTo>
                  <a:lnTo>
                    <a:pt x="118" y="431"/>
                  </a:lnTo>
                  <a:close/>
                  <a:moveTo>
                    <a:pt x="82" y="351"/>
                  </a:moveTo>
                  <a:lnTo>
                    <a:pt x="84" y="353"/>
                  </a:lnTo>
                  <a:lnTo>
                    <a:pt x="84" y="351"/>
                  </a:lnTo>
                  <a:lnTo>
                    <a:pt x="84" y="351"/>
                  </a:lnTo>
                  <a:lnTo>
                    <a:pt x="84" y="351"/>
                  </a:lnTo>
                  <a:lnTo>
                    <a:pt x="84" y="349"/>
                  </a:lnTo>
                  <a:lnTo>
                    <a:pt x="84" y="349"/>
                  </a:lnTo>
                  <a:lnTo>
                    <a:pt x="84" y="349"/>
                  </a:lnTo>
                  <a:lnTo>
                    <a:pt x="84" y="349"/>
                  </a:lnTo>
                  <a:lnTo>
                    <a:pt x="82" y="349"/>
                  </a:lnTo>
                  <a:lnTo>
                    <a:pt x="82" y="349"/>
                  </a:lnTo>
                  <a:lnTo>
                    <a:pt x="82" y="351"/>
                  </a:lnTo>
                  <a:lnTo>
                    <a:pt x="82" y="351"/>
                  </a:lnTo>
                  <a:close/>
                  <a:moveTo>
                    <a:pt x="0" y="341"/>
                  </a:moveTo>
                  <a:lnTo>
                    <a:pt x="0" y="341"/>
                  </a:lnTo>
                  <a:lnTo>
                    <a:pt x="0" y="341"/>
                  </a:lnTo>
                  <a:lnTo>
                    <a:pt x="0" y="343"/>
                  </a:lnTo>
                  <a:lnTo>
                    <a:pt x="0" y="343"/>
                  </a:lnTo>
                  <a:lnTo>
                    <a:pt x="0" y="343"/>
                  </a:lnTo>
                  <a:lnTo>
                    <a:pt x="0" y="343"/>
                  </a:lnTo>
                  <a:lnTo>
                    <a:pt x="2" y="343"/>
                  </a:lnTo>
                  <a:lnTo>
                    <a:pt x="2" y="341"/>
                  </a:lnTo>
                  <a:lnTo>
                    <a:pt x="2" y="341"/>
                  </a:lnTo>
                  <a:lnTo>
                    <a:pt x="0" y="341"/>
                  </a:lnTo>
                  <a:close/>
                  <a:moveTo>
                    <a:pt x="21" y="379"/>
                  </a:moveTo>
                  <a:lnTo>
                    <a:pt x="21" y="379"/>
                  </a:lnTo>
                  <a:lnTo>
                    <a:pt x="19" y="376"/>
                  </a:lnTo>
                  <a:lnTo>
                    <a:pt x="19" y="376"/>
                  </a:lnTo>
                  <a:lnTo>
                    <a:pt x="17" y="372"/>
                  </a:lnTo>
                  <a:lnTo>
                    <a:pt x="17" y="372"/>
                  </a:lnTo>
                  <a:lnTo>
                    <a:pt x="13" y="370"/>
                  </a:lnTo>
                  <a:lnTo>
                    <a:pt x="13" y="368"/>
                  </a:lnTo>
                  <a:lnTo>
                    <a:pt x="11" y="368"/>
                  </a:lnTo>
                  <a:lnTo>
                    <a:pt x="11" y="366"/>
                  </a:lnTo>
                  <a:lnTo>
                    <a:pt x="9" y="366"/>
                  </a:lnTo>
                  <a:lnTo>
                    <a:pt x="7" y="366"/>
                  </a:lnTo>
                  <a:lnTo>
                    <a:pt x="7" y="366"/>
                  </a:lnTo>
                  <a:lnTo>
                    <a:pt x="7" y="370"/>
                  </a:lnTo>
                  <a:lnTo>
                    <a:pt x="4" y="372"/>
                  </a:lnTo>
                  <a:lnTo>
                    <a:pt x="4" y="372"/>
                  </a:lnTo>
                  <a:lnTo>
                    <a:pt x="4" y="374"/>
                  </a:lnTo>
                  <a:lnTo>
                    <a:pt x="4" y="376"/>
                  </a:lnTo>
                  <a:lnTo>
                    <a:pt x="9" y="383"/>
                  </a:lnTo>
                  <a:lnTo>
                    <a:pt x="11" y="383"/>
                  </a:lnTo>
                  <a:lnTo>
                    <a:pt x="11" y="385"/>
                  </a:lnTo>
                  <a:lnTo>
                    <a:pt x="13" y="387"/>
                  </a:lnTo>
                  <a:lnTo>
                    <a:pt x="13" y="387"/>
                  </a:lnTo>
                  <a:lnTo>
                    <a:pt x="15" y="387"/>
                  </a:lnTo>
                  <a:lnTo>
                    <a:pt x="17" y="385"/>
                  </a:lnTo>
                  <a:lnTo>
                    <a:pt x="21" y="379"/>
                  </a:lnTo>
                  <a:close/>
                  <a:moveTo>
                    <a:pt x="7" y="353"/>
                  </a:moveTo>
                  <a:lnTo>
                    <a:pt x="9" y="353"/>
                  </a:lnTo>
                  <a:lnTo>
                    <a:pt x="11" y="355"/>
                  </a:lnTo>
                  <a:lnTo>
                    <a:pt x="13" y="355"/>
                  </a:lnTo>
                  <a:lnTo>
                    <a:pt x="13" y="355"/>
                  </a:lnTo>
                  <a:lnTo>
                    <a:pt x="15" y="355"/>
                  </a:lnTo>
                  <a:lnTo>
                    <a:pt x="15" y="355"/>
                  </a:lnTo>
                  <a:lnTo>
                    <a:pt x="15" y="353"/>
                  </a:lnTo>
                  <a:lnTo>
                    <a:pt x="15" y="353"/>
                  </a:lnTo>
                  <a:lnTo>
                    <a:pt x="15" y="353"/>
                  </a:lnTo>
                  <a:lnTo>
                    <a:pt x="13" y="353"/>
                  </a:lnTo>
                  <a:lnTo>
                    <a:pt x="13" y="351"/>
                  </a:lnTo>
                  <a:lnTo>
                    <a:pt x="13" y="351"/>
                  </a:lnTo>
                  <a:lnTo>
                    <a:pt x="13" y="351"/>
                  </a:lnTo>
                  <a:lnTo>
                    <a:pt x="13" y="351"/>
                  </a:lnTo>
                  <a:lnTo>
                    <a:pt x="13" y="349"/>
                  </a:lnTo>
                  <a:lnTo>
                    <a:pt x="13" y="349"/>
                  </a:lnTo>
                  <a:lnTo>
                    <a:pt x="11" y="349"/>
                  </a:lnTo>
                  <a:lnTo>
                    <a:pt x="11" y="349"/>
                  </a:lnTo>
                  <a:lnTo>
                    <a:pt x="11" y="349"/>
                  </a:lnTo>
                  <a:lnTo>
                    <a:pt x="11" y="347"/>
                  </a:lnTo>
                  <a:lnTo>
                    <a:pt x="9" y="345"/>
                  </a:lnTo>
                  <a:lnTo>
                    <a:pt x="9" y="345"/>
                  </a:lnTo>
                  <a:lnTo>
                    <a:pt x="9" y="343"/>
                  </a:lnTo>
                  <a:lnTo>
                    <a:pt x="9" y="343"/>
                  </a:lnTo>
                  <a:lnTo>
                    <a:pt x="9" y="343"/>
                  </a:lnTo>
                  <a:lnTo>
                    <a:pt x="7" y="343"/>
                  </a:lnTo>
                  <a:lnTo>
                    <a:pt x="4" y="343"/>
                  </a:lnTo>
                  <a:lnTo>
                    <a:pt x="4" y="343"/>
                  </a:lnTo>
                  <a:lnTo>
                    <a:pt x="4" y="345"/>
                  </a:lnTo>
                  <a:lnTo>
                    <a:pt x="2" y="345"/>
                  </a:lnTo>
                  <a:lnTo>
                    <a:pt x="2" y="347"/>
                  </a:lnTo>
                  <a:lnTo>
                    <a:pt x="2" y="349"/>
                  </a:lnTo>
                  <a:lnTo>
                    <a:pt x="4" y="353"/>
                  </a:lnTo>
                  <a:lnTo>
                    <a:pt x="7" y="353"/>
                  </a:lnTo>
                  <a:close/>
                  <a:moveTo>
                    <a:pt x="11" y="364"/>
                  </a:moveTo>
                  <a:lnTo>
                    <a:pt x="13" y="364"/>
                  </a:lnTo>
                  <a:lnTo>
                    <a:pt x="13" y="366"/>
                  </a:lnTo>
                  <a:lnTo>
                    <a:pt x="13" y="366"/>
                  </a:lnTo>
                  <a:lnTo>
                    <a:pt x="15" y="366"/>
                  </a:lnTo>
                  <a:lnTo>
                    <a:pt x="15" y="366"/>
                  </a:lnTo>
                  <a:lnTo>
                    <a:pt x="17" y="366"/>
                  </a:lnTo>
                  <a:lnTo>
                    <a:pt x="17" y="366"/>
                  </a:lnTo>
                  <a:lnTo>
                    <a:pt x="17" y="364"/>
                  </a:lnTo>
                  <a:lnTo>
                    <a:pt x="17" y="364"/>
                  </a:lnTo>
                  <a:lnTo>
                    <a:pt x="17" y="362"/>
                  </a:lnTo>
                  <a:lnTo>
                    <a:pt x="15" y="362"/>
                  </a:lnTo>
                  <a:lnTo>
                    <a:pt x="11" y="364"/>
                  </a:lnTo>
                  <a:lnTo>
                    <a:pt x="11" y="364"/>
                  </a:lnTo>
                  <a:close/>
                  <a:moveTo>
                    <a:pt x="11" y="341"/>
                  </a:moveTo>
                  <a:lnTo>
                    <a:pt x="11" y="341"/>
                  </a:lnTo>
                  <a:lnTo>
                    <a:pt x="11" y="341"/>
                  </a:lnTo>
                  <a:lnTo>
                    <a:pt x="9" y="339"/>
                  </a:lnTo>
                  <a:lnTo>
                    <a:pt x="9" y="341"/>
                  </a:lnTo>
                  <a:lnTo>
                    <a:pt x="9" y="343"/>
                  </a:lnTo>
                  <a:lnTo>
                    <a:pt x="11" y="341"/>
                  </a:lnTo>
                  <a:close/>
                  <a:moveTo>
                    <a:pt x="82" y="355"/>
                  </a:moveTo>
                  <a:lnTo>
                    <a:pt x="82" y="355"/>
                  </a:lnTo>
                  <a:lnTo>
                    <a:pt x="84" y="355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4" y="351"/>
                  </a:lnTo>
                  <a:lnTo>
                    <a:pt x="84" y="351"/>
                  </a:lnTo>
                  <a:lnTo>
                    <a:pt x="84" y="353"/>
                  </a:lnTo>
                  <a:lnTo>
                    <a:pt x="84" y="353"/>
                  </a:lnTo>
                  <a:lnTo>
                    <a:pt x="82" y="353"/>
                  </a:lnTo>
                  <a:lnTo>
                    <a:pt x="82" y="353"/>
                  </a:lnTo>
                  <a:lnTo>
                    <a:pt x="82" y="355"/>
                  </a:lnTo>
                  <a:lnTo>
                    <a:pt x="82" y="355"/>
                  </a:lnTo>
                  <a:lnTo>
                    <a:pt x="82" y="355"/>
                  </a:lnTo>
                  <a:close/>
                  <a:moveTo>
                    <a:pt x="57" y="341"/>
                  </a:moveTo>
                  <a:lnTo>
                    <a:pt x="57" y="341"/>
                  </a:lnTo>
                  <a:lnTo>
                    <a:pt x="57" y="341"/>
                  </a:lnTo>
                  <a:lnTo>
                    <a:pt x="57" y="341"/>
                  </a:lnTo>
                  <a:lnTo>
                    <a:pt x="55" y="341"/>
                  </a:lnTo>
                  <a:lnTo>
                    <a:pt x="57" y="341"/>
                  </a:lnTo>
                  <a:lnTo>
                    <a:pt x="57" y="341"/>
                  </a:lnTo>
                  <a:close/>
                  <a:moveTo>
                    <a:pt x="48" y="347"/>
                  </a:moveTo>
                  <a:lnTo>
                    <a:pt x="51" y="345"/>
                  </a:lnTo>
                  <a:lnTo>
                    <a:pt x="48" y="345"/>
                  </a:lnTo>
                  <a:lnTo>
                    <a:pt x="48" y="345"/>
                  </a:lnTo>
                  <a:lnTo>
                    <a:pt x="48" y="345"/>
                  </a:lnTo>
                  <a:lnTo>
                    <a:pt x="48" y="345"/>
                  </a:lnTo>
                  <a:lnTo>
                    <a:pt x="48" y="345"/>
                  </a:lnTo>
                  <a:lnTo>
                    <a:pt x="48" y="347"/>
                  </a:lnTo>
                  <a:lnTo>
                    <a:pt x="48" y="347"/>
                  </a:lnTo>
                  <a:close/>
                  <a:moveTo>
                    <a:pt x="55" y="339"/>
                  </a:moveTo>
                  <a:lnTo>
                    <a:pt x="55" y="339"/>
                  </a:lnTo>
                  <a:lnTo>
                    <a:pt x="55" y="341"/>
                  </a:lnTo>
                  <a:lnTo>
                    <a:pt x="55" y="339"/>
                  </a:lnTo>
                  <a:close/>
                  <a:moveTo>
                    <a:pt x="38" y="376"/>
                  </a:moveTo>
                  <a:lnTo>
                    <a:pt x="38" y="376"/>
                  </a:lnTo>
                  <a:lnTo>
                    <a:pt x="40" y="376"/>
                  </a:lnTo>
                  <a:lnTo>
                    <a:pt x="40" y="376"/>
                  </a:lnTo>
                  <a:lnTo>
                    <a:pt x="42" y="374"/>
                  </a:lnTo>
                  <a:lnTo>
                    <a:pt x="40" y="374"/>
                  </a:lnTo>
                  <a:lnTo>
                    <a:pt x="38" y="372"/>
                  </a:lnTo>
                  <a:lnTo>
                    <a:pt x="36" y="370"/>
                  </a:lnTo>
                  <a:lnTo>
                    <a:pt x="36" y="370"/>
                  </a:lnTo>
                  <a:lnTo>
                    <a:pt x="38" y="374"/>
                  </a:lnTo>
                  <a:lnTo>
                    <a:pt x="38" y="376"/>
                  </a:lnTo>
                  <a:close/>
                  <a:moveTo>
                    <a:pt x="107" y="410"/>
                  </a:moveTo>
                  <a:lnTo>
                    <a:pt x="107" y="412"/>
                  </a:lnTo>
                  <a:lnTo>
                    <a:pt x="109" y="412"/>
                  </a:lnTo>
                  <a:lnTo>
                    <a:pt x="107" y="410"/>
                  </a:lnTo>
                  <a:lnTo>
                    <a:pt x="107" y="410"/>
                  </a:lnTo>
                  <a:close/>
                  <a:moveTo>
                    <a:pt x="90" y="383"/>
                  </a:moveTo>
                  <a:lnTo>
                    <a:pt x="92" y="383"/>
                  </a:lnTo>
                  <a:lnTo>
                    <a:pt x="92" y="383"/>
                  </a:lnTo>
                  <a:lnTo>
                    <a:pt x="95" y="383"/>
                  </a:lnTo>
                  <a:lnTo>
                    <a:pt x="95" y="383"/>
                  </a:lnTo>
                  <a:lnTo>
                    <a:pt x="95" y="381"/>
                  </a:lnTo>
                  <a:lnTo>
                    <a:pt x="92" y="379"/>
                  </a:lnTo>
                  <a:lnTo>
                    <a:pt x="92" y="376"/>
                  </a:lnTo>
                  <a:lnTo>
                    <a:pt x="92" y="374"/>
                  </a:lnTo>
                  <a:lnTo>
                    <a:pt x="92" y="374"/>
                  </a:lnTo>
                  <a:lnTo>
                    <a:pt x="92" y="374"/>
                  </a:lnTo>
                  <a:lnTo>
                    <a:pt x="90" y="374"/>
                  </a:lnTo>
                  <a:lnTo>
                    <a:pt x="90" y="374"/>
                  </a:lnTo>
                  <a:lnTo>
                    <a:pt x="90" y="374"/>
                  </a:lnTo>
                  <a:lnTo>
                    <a:pt x="88" y="374"/>
                  </a:lnTo>
                  <a:lnTo>
                    <a:pt x="88" y="374"/>
                  </a:lnTo>
                  <a:lnTo>
                    <a:pt x="86" y="374"/>
                  </a:lnTo>
                  <a:lnTo>
                    <a:pt x="84" y="376"/>
                  </a:lnTo>
                  <a:lnTo>
                    <a:pt x="84" y="379"/>
                  </a:lnTo>
                  <a:lnTo>
                    <a:pt x="86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90" y="383"/>
                  </a:lnTo>
                  <a:close/>
                  <a:moveTo>
                    <a:pt x="95" y="435"/>
                  </a:moveTo>
                  <a:lnTo>
                    <a:pt x="95" y="435"/>
                  </a:lnTo>
                  <a:lnTo>
                    <a:pt x="95" y="437"/>
                  </a:lnTo>
                  <a:lnTo>
                    <a:pt x="97" y="435"/>
                  </a:lnTo>
                  <a:lnTo>
                    <a:pt x="97" y="437"/>
                  </a:lnTo>
                  <a:lnTo>
                    <a:pt x="97" y="437"/>
                  </a:lnTo>
                  <a:lnTo>
                    <a:pt x="99" y="437"/>
                  </a:lnTo>
                  <a:lnTo>
                    <a:pt x="99" y="439"/>
                  </a:lnTo>
                  <a:lnTo>
                    <a:pt x="99" y="439"/>
                  </a:lnTo>
                  <a:lnTo>
                    <a:pt x="99" y="437"/>
                  </a:lnTo>
                  <a:lnTo>
                    <a:pt x="97" y="435"/>
                  </a:lnTo>
                  <a:lnTo>
                    <a:pt x="95" y="433"/>
                  </a:lnTo>
                  <a:lnTo>
                    <a:pt x="95" y="433"/>
                  </a:lnTo>
                  <a:lnTo>
                    <a:pt x="95" y="433"/>
                  </a:lnTo>
                  <a:lnTo>
                    <a:pt x="95" y="433"/>
                  </a:lnTo>
                  <a:lnTo>
                    <a:pt x="95" y="435"/>
                  </a:lnTo>
                  <a:lnTo>
                    <a:pt x="95" y="435"/>
                  </a:lnTo>
                  <a:lnTo>
                    <a:pt x="95" y="435"/>
                  </a:lnTo>
                  <a:close/>
                  <a:moveTo>
                    <a:pt x="113" y="442"/>
                  </a:moveTo>
                  <a:lnTo>
                    <a:pt x="113" y="442"/>
                  </a:lnTo>
                  <a:lnTo>
                    <a:pt x="113" y="442"/>
                  </a:lnTo>
                  <a:lnTo>
                    <a:pt x="109" y="435"/>
                  </a:lnTo>
                  <a:lnTo>
                    <a:pt x="107" y="433"/>
                  </a:lnTo>
                  <a:lnTo>
                    <a:pt x="107" y="433"/>
                  </a:lnTo>
                  <a:lnTo>
                    <a:pt x="105" y="431"/>
                  </a:lnTo>
                  <a:lnTo>
                    <a:pt x="105" y="433"/>
                  </a:lnTo>
                  <a:lnTo>
                    <a:pt x="105" y="433"/>
                  </a:lnTo>
                  <a:lnTo>
                    <a:pt x="105" y="435"/>
                  </a:lnTo>
                  <a:lnTo>
                    <a:pt x="107" y="437"/>
                  </a:lnTo>
                  <a:lnTo>
                    <a:pt x="107" y="439"/>
                  </a:lnTo>
                  <a:lnTo>
                    <a:pt x="107" y="437"/>
                  </a:lnTo>
                  <a:lnTo>
                    <a:pt x="105" y="437"/>
                  </a:lnTo>
                  <a:lnTo>
                    <a:pt x="105" y="437"/>
                  </a:lnTo>
                  <a:lnTo>
                    <a:pt x="105" y="437"/>
                  </a:lnTo>
                  <a:lnTo>
                    <a:pt x="105" y="439"/>
                  </a:lnTo>
                  <a:lnTo>
                    <a:pt x="111" y="444"/>
                  </a:lnTo>
                  <a:lnTo>
                    <a:pt x="111" y="446"/>
                  </a:lnTo>
                  <a:lnTo>
                    <a:pt x="113" y="446"/>
                  </a:lnTo>
                  <a:lnTo>
                    <a:pt x="113" y="446"/>
                  </a:lnTo>
                  <a:lnTo>
                    <a:pt x="111" y="444"/>
                  </a:lnTo>
                  <a:lnTo>
                    <a:pt x="111" y="442"/>
                  </a:lnTo>
                  <a:lnTo>
                    <a:pt x="111" y="442"/>
                  </a:lnTo>
                  <a:lnTo>
                    <a:pt x="113" y="442"/>
                  </a:lnTo>
                  <a:close/>
                  <a:moveTo>
                    <a:pt x="86" y="391"/>
                  </a:moveTo>
                  <a:lnTo>
                    <a:pt x="86" y="391"/>
                  </a:lnTo>
                  <a:lnTo>
                    <a:pt x="86" y="391"/>
                  </a:lnTo>
                  <a:lnTo>
                    <a:pt x="86" y="391"/>
                  </a:lnTo>
                  <a:lnTo>
                    <a:pt x="84" y="393"/>
                  </a:lnTo>
                  <a:lnTo>
                    <a:pt x="84" y="393"/>
                  </a:lnTo>
                  <a:lnTo>
                    <a:pt x="84" y="393"/>
                  </a:lnTo>
                  <a:lnTo>
                    <a:pt x="84" y="397"/>
                  </a:lnTo>
                  <a:lnTo>
                    <a:pt x="84" y="397"/>
                  </a:lnTo>
                  <a:lnTo>
                    <a:pt x="86" y="397"/>
                  </a:lnTo>
                  <a:lnTo>
                    <a:pt x="86" y="397"/>
                  </a:lnTo>
                  <a:lnTo>
                    <a:pt x="86" y="395"/>
                  </a:lnTo>
                  <a:lnTo>
                    <a:pt x="86" y="395"/>
                  </a:lnTo>
                  <a:lnTo>
                    <a:pt x="86" y="395"/>
                  </a:lnTo>
                  <a:lnTo>
                    <a:pt x="88" y="395"/>
                  </a:lnTo>
                  <a:lnTo>
                    <a:pt x="88" y="395"/>
                  </a:lnTo>
                  <a:lnTo>
                    <a:pt x="88" y="393"/>
                  </a:lnTo>
                  <a:lnTo>
                    <a:pt x="86" y="393"/>
                  </a:lnTo>
                  <a:lnTo>
                    <a:pt x="86" y="391"/>
                  </a:lnTo>
                  <a:close/>
                  <a:moveTo>
                    <a:pt x="134" y="379"/>
                  </a:moveTo>
                  <a:lnTo>
                    <a:pt x="134" y="379"/>
                  </a:lnTo>
                  <a:lnTo>
                    <a:pt x="136" y="381"/>
                  </a:lnTo>
                  <a:lnTo>
                    <a:pt x="136" y="381"/>
                  </a:lnTo>
                  <a:lnTo>
                    <a:pt x="139" y="381"/>
                  </a:lnTo>
                  <a:lnTo>
                    <a:pt x="139" y="379"/>
                  </a:lnTo>
                  <a:lnTo>
                    <a:pt x="136" y="379"/>
                  </a:lnTo>
                  <a:lnTo>
                    <a:pt x="134" y="379"/>
                  </a:lnTo>
                  <a:close/>
                  <a:moveTo>
                    <a:pt x="95" y="385"/>
                  </a:moveTo>
                  <a:lnTo>
                    <a:pt x="95" y="385"/>
                  </a:lnTo>
                  <a:lnTo>
                    <a:pt x="95" y="385"/>
                  </a:lnTo>
                  <a:lnTo>
                    <a:pt x="95" y="385"/>
                  </a:lnTo>
                  <a:lnTo>
                    <a:pt x="95" y="385"/>
                  </a:lnTo>
                  <a:lnTo>
                    <a:pt x="95" y="385"/>
                  </a:lnTo>
                  <a:lnTo>
                    <a:pt x="95" y="385"/>
                  </a:lnTo>
                  <a:lnTo>
                    <a:pt x="95" y="385"/>
                  </a:lnTo>
                  <a:lnTo>
                    <a:pt x="95" y="383"/>
                  </a:lnTo>
                  <a:lnTo>
                    <a:pt x="95" y="383"/>
                  </a:lnTo>
                  <a:lnTo>
                    <a:pt x="95" y="383"/>
                  </a:lnTo>
                  <a:lnTo>
                    <a:pt x="92" y="383"/>
                  </a:lnTo>
                  <a:lnTo>
                    <a:pt x="92" y="385"/>
                  </a:lnTo>
                  <a:lnTo>
                    <a:pt x="92" y="385"/>
                  </a:lnTo>
                  <a:lnTo>
                    <a:pt x="95" y="385"/>
                  </a:lnTo>
                  <a:close/>
                  <a:moveTo>
                    <a:pt x="145" y="355"/>
                  </a:moveTo>
                  <a:lnTo>
                    <a:pt x="145" y="357"/>
                  </a:lnTo>
                  <a:lnTo>
                    <a:pt x="145" y="357"/>
                  </a:lnTo>
                  <a:lnTo>
                    <a:pt x="145" y="360"/>
                  </a:lnTo>
                  <a:lnTo>
                    <a:pt x="147" y="357"/>
                  </a:lnTo>
                  <a:lnTo>
                    <a:pt x="147" y="357"/>
                  </a:lnTo>
                  <a:lnTo>
                    <a:pt x="147" y="357"/>
                  </a:lnTo>
                  <a:lnTo>
                    <a:pt x="147" y="357"/>
                  </a:lnTo>
                  <a:lnTo>
                    <a:pt x="147" y="355"/>
                  </a:lnTo>
                  <a:lnTo>
                    <a:pt x="147" y="355"/>
                  </a:lnTo>
                  <a:lnTo>
                    <a:pt x="147" y="355"/>
                  </a:lnTo>
                  <a:lnTo>
                    <a:pt x="147" y="353"/>
                  </a:lnTo>
                  <a:lnTo>
                    <a:pt x="147" y="353"/>
                  </a:lnTo>
                  <a:lnTo>
                    <a:pt x="145" y="353"/>
                  </a:lnTo>
                  <a:lnTo>
                    <a:pt x="143" y="351"/>
                  </a:lnTo>
                  <a:lnTo>
                    <a:pt x="143" y="351"/>
                  </a:lnTo>
                  <a:lnTo>
                    <a:pt x="141" y="353"/>
                  </a:lnTo>
                  <a:lnTo>
                    <a:pt x="145" y="355"/>
                  </a:lnTo>
                  <a:lnTo>
                    <a:pt x="145" y="355"/>
                  </a:lnTo>
                  <a:close/>
                  <a:moveTo>
                    <a:pt x="463" y="49"/>
                  </a:moveTo>
                  <a:lnTo>
                    <a:pt x="463" y="47"/>
                  </a:lnTo>
                  <a:lnTo>
                    <a:pt x="463" y="47"/>
                  </a:lnTo>
                  <a:lnTo>
                    <a:pt x="463" y="47"/>
                  </a:lnTo>
                  <a:lnTo>
                    <a:pt x="463" y="47"/>
                  </a:lnTo>
                  <a:lnTo>
                    <a:pt x="463" y="49"/>
                  </a:lnTo>
                  <a:lnTo>
                    <a:pt x="461" y="49"/>
                  </a:lnTo>
                  <a:lnTo>
                    <a:pt x="461" y="49"/>
                  </a:lnTo>
                  <a:lnTo>
                    <a:pt x="463" y="49"/>
                  </a:lnTo>
                  <a:close/>
                  <a:moveTo>
                    <a:pt x="136" y="444"/>
                  </a:moveTo>
                  <a:lnTo>
                    <a:pt x="136" y="444"/>
                  </a:lnTo>
                  <a:lnTo>
                    <a:pt x="136" y="444"/>
                  </a:lnTo>
                  <a:lnTo>
                    <a:pt x="136" y="446"/>
                  </a:lnTo>
                  <a:lnTo>
                    <a:pt x="136" y="446"/>
                  </a:lnTo>
                  <a:lnTo>
                    <a:pt x="139" y="446"/>
                  </a:lnTo>
                  <a:lnTo>
                    <a:pt x="139" y="446"/>
                  </a:lnTo>
                  <a:lnTo>
                    <a:pt x="141" y="446"/>
                  </a:lnTo>
                  <a:lnTo>
                    <a:pt x="141" y="444"/>
                  </a:lnTo>
                  <a:lnTo>
                    <a:pt x="141" y="444"/>
                  </a:lnTo>
                  <a:lnTo>
                    <a:pt x="139" y="444"/>
                  </a:lnTo>
                  <a:lnTo>
                    <a:pt x="139" y="444"/>
                  </a:lnTo>
                  <a:lnTo>
                    <a:pt x="139" y="442"/>
                  </a:lnTo>
                  <a:lnTo>
                    <a:pt x="139" y="444"/>
                  </a:lnTo>
                  <a:lnTo>
                    <a:pt x="136" y="444"/>
                  </a:lnTo>
                  <a:close/>
                  <a:moveTo>
                    <a:pt x="524" y="162"/>
                  </a:moveTo>
                  <a:lnTo>
                    <a:pt x="524" y="164"/>
                  </a:lnTo>
                  <a:lnTo>
                    <a:pt x="524" y="164"/>
                  </a:lnTo>
                  <a:lnTo>
                    <a:pt x="524" y="164"/>
                  </a:lnTo>
                  <a:lnTo>
                    <a:pt x="524" y="164"/>
                  </a:lnTo>
                  <a:lnTo>
                    <a:pt x="526" y="164"/>
                  </a:lnTo>
                  <a:lnTo>
                    <a:pt x="526" y="162"/>
                  </a:lnTo>
                  <a:lnTo>
                    <a:pt x="526" y="162"/>
                  </a:lnTo>
                  <a:lnTo>
                    <a:pt x="526" y="162"/>
                  </a:lnTo>
                  <a:lnTo>
                    <a:pt x="526" y="162"/>
                  </a:lnTo>
                  <a:lnTo>
                    <a:pt x="526" y="160"/>
                  </a:lnTo>
                  <a:lnTo>
                    <a:pt x="526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4" y="162"/>
                  </a:lnTo>
                  <a:lnTo>
                    <a:pt x="524" y="162"/>
                  </a:lnTo>
                  <a:lnTo>
                    <a:pt x="524" y="162"/>
                  </a:lnTo>
                  <a:close/>
                  <a:moveTo>
                    <a:pt x="99" y="376"/>
                  </a:moveTo>
                  <a:lnTo>
                    <a:pt x="99" y="376"/>
                  </a:lnTo>
                  <a:lnTo>
                    <a:pt x="97" y="376"/>
                  </a:lnTo>
                  <a:lnTo>
                    <a:pt x="95" y="376"/>
                  </a:lnTo>
                  <a:lnTo>
                    <a:pt x="97" y="379"/>
                  </a:lnTo>
                  <a:lnTo>
                    <a:pt x="97" y="379"/>
                  </a:lnTo>
                  <a:lnTo>
                    <a:pt x="97" y="379"/>
                  </a:lnTo>
                  <a:lnTo>
                    <a:pt x="99" y="379"/>
                  </a:lnTo>
                  <a:lnTo>
                    <a:pt x="101" y="379"/>
                  </a:lnTo>
                  <a:lnTo>
                    <a:pt x="101" y="379"/>
                  </a:lnTo>
                  <a:lnTo>
                    <a:pt x="99" y="379"/>
                  </a:lnTo>
                  <a:lnTo>
                    <a:pt x="99" y="376"/>
                  </a:lnTo>
                  <a:close/>
                  <a:moveTo>
                    <a:pt x="145" y="452"/>
                  </a:moveTo>
                  <a:lnTo>
                    <a:pt x="145" y="454"/>
                  </a:lnTo>
                  <a:lnTo>
                    <a:pt x="147" y="454"/>
                  </a:lnTo>
                  <a:lnTo>
                    <a:pt x="147" y="454"/>
                  </a:lnTo>
                  <a:lnTo>
                    <a:pt x="149" y="456"/>
                  </a:lnTo>
                  <a:lnTo>
                    <a:pt x="149" y="456"/>
                  </a:lnTo>
                  <a:lnTo>
                    <a:pt x="149" y="454"/>
                  </a:lnTo>
                  <a:lnTo>
                    <a:pt x="149" y="454"/>
                  </a:lnTo>
                  <a:lnTo>
                    <a:pt x="149" y="454"/>
                  </a:lnTo>
                  <a:lnTo>
                    <a:pt x="147" y="454"/>
                  </a:lnTo>
                  <a:lnTo>
                    <a:pt x="147" y="454"/>
                  </a:lnTo>
                  <a:lnTo>
                    <a:pt x="147" y="452"/>
                  </a:lnTo>
                  <a:lnTo>
                    <a:pt x="145" y="452"/>
                  </a:lnTo>
                  <a:close/>
                  <a:moveTo>
                    <a:pt x="21" y="383"/>
                  </a:moveTo>
                  <a:lnTo>
                    <a:pt x="19" y="383"/>
                  </a:lnTo>
                  <a:lnTo>
                    <a:pt x="19" y="385"/>
                  </a:lnTo>
                  <a:lnTo>
                    <a:pt x="17" y="387"/>
                  </a:lnTo>
                  <a:lnTo>
                    <a:pt x="17" y="387"/>
                  </a:lnTo>
                  <a:lnTo>
                    <a:pt x="17" y="389"/>
                  </a:lnTo>
                  <a:lnTo>
                    <a:pt x="17" y="389"/>
                  </a:lnTo>
                  <a:lnTo>
                    <a:pt x="19" y="391"/>
                  </a:lnTo>
                  <a:lnTo>
                    <a:pt x="19" y="389"/>
                  </a:lnTo>
                  <a:lnTo>
                    <a:pt x="21" y="389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3"/>
                  </a:lnTo>
                  <a:lnTo>
                    <a:pt x="21" y="383"/>
                  </a:lnTo>
                  <a:lnTo>
                    <a:pt x="21" y="383"/>
                  </a:lnTo>
                  <a:close/>
                  <a:moveTo>
                    <a:pt x="116" y="437"/>
                  </a:moveTo>
                  <a:lnTo>
                    <a:pt x="116" y="437"/>
                  </a:lnTo>
                  <a:lnTo>
                    <a:pt x="116" y="437"/>
                  </a:lnTo>
                  <a:lnTo>
                    <a:pt x="116" y="437"/>
                  </a:lnTo>
                  <a:lnTo>
                    <a:pt x="116" y="435"/>
                  </a:lnTo>
                  <a:lnTo>
                    <a:pt x="116" y="435"/>
                  </a:lnTo>
                  <a:lnTo>
                    <a:pt x="116" y="435"/>
                  </a:lnTo>
                  <a:lnTo>
                    <a:pt x="113" y="435"/>
                  </a:lnTo>
                  <a:lnTo>
                    <a:pt x="113" y="435"/>
                  </a:lnTo>
                  <a:lnTo>
                    <a:pt x="113" y="435"/>
                  </a:lnTo>
                  <a:lnTo>
                    <a:pt x="113" y="435"/>
                  </a:lnTo>
                  <a:lnTo>
                    <a:pt x="113" y="437"/>
                  </a:lnTo>
                  <a:lnTo>
                    <a:pt x="113" y="437"/>
                  </a:lnTo>
                  <a:lnTo>
                    <a:pt x="116" y="437"/>
                  </a:lnTo>
                  <a:close/>
                  <a:moveTo>
                    <a:pt x="111" y="368"/>
                  </a:moveTo>
                  <a:lnTo>
                    <a:pt x="111" y="368"/>
                  </a:lnTo>
                  <a:lnTo>
                    <a:pt x="111" y="368"/>
                  </a:lnTo>
                  <a:lnTo>
                    <a:pt x="113" y="366"/>
                  </a:lnTo>
                  <a:lnTo>
                    <a:pt x="111" y="366"/>
                  </a:lnTo>
                  <a:lnTo>
                    <a:pt x="111" y="366"/>
                  </a:lnTo>
                  <a:lnTo>
                    <a:pt x="109" y="366"/>
                  </a:lnTo>
                  <a:lnTo>
                    <a:pt x="109" y="366"/>
                  </a:lnTo>
                  <a:lnTo>
                    <a:pt x="109" y="366"/>
                  </a:lnTo>
                  <a:lnTo>
                    <a:pt x="107" y="366"/>
                  </a:lnTo>
                  <a:lnTo>
                    <a:pt x="107" y="366"/>
                  </a:lnTo>
                  <a:lnTo>
                    <a:pt x="107" y="368"/>
                  </a:lnTo>
                  <a:lnTo>
                    <a:pt x="109" y="366"/>
                  </a:lnTo>
                  <a:lnTo>
                    <a:pt x="109" y="368"/>
                  </a:lnTo>
                  <a:lnTo>
                    <a:pt x="109" y="368"/>
                  </a:lnTo>
                  <a:lnTo>
                    <a:pt x="111" y="368"/>
                  </a:lnTo>
                  <a:lnTo>
                    <a:pt x="111" y="368"/>
                  </a:lnTo>
                  <a:close/>
                  <a:moveTo>
                    <a:pt x="105" y="404"/>
                  </a:moveTo>
                  <a:lnTo>
                    <a:pt x="105" y="404"/>
                  </a:lnTo>
                  <a:lnTo>
                    <a:pt x="105" y="406"/>
                  </a:lnTo>
                  <a:lnTo>
                    <a:pt x="105" y="406"/>
                  </a:lnTo>
                  <a:lnTo>
                    <a:pt x="107" y="406"/>
                  </a:lnTo>
                  <a:lnTo>
                    <a:pt x="107" y="406"/>
                  </a:lnTo>
                  <a:lnTo>
                    <a:pt x="105" y="404"/>
                  </a:lnTo>
                  <a:lnTo>
                    <a:pt x="105" y="404"/>
                  </a:lnTo>
                  <a:close/>
                  <a:moveTo>
                    <a:pt x="105" y="477"/>
                  </a:moveTo>
                  <a:lnTo>
                    <a:pt x="105" y="477"/>
                  </a:lnTo>
                  <a:lnTo>
                    <a:pt x="107" y="479"/>
                  </a:lnTo>
                  <a:lnTo>
                    <a:pt x="109" y="479"/>
                  </a:lnTo>
                  <a:lnTo>
                    <a:pt x="109" y="479"/>
                  </a:lnTo>
                  <a:lnTo>
                    <a:pt x="111" y="477"/>
                  </a:lnTo>
                  <a:lnTo>
                    <a:pt x="111" y="477"/>
                  </a:lnTo>
                  <a:lnTo>
                    <a:pt x="113" y="477"/>
                  </a:lnTo>
                  <a:lnTo>
                    <a:pt x="113" y="477"/>
                  </a:lnTo>
                  <a:lnTo>
                    <a:pt x="113" y="477"/>
                  </a:lnTo>
                  <a:lnTo>
                    <a:pt x="113" y="475"/>
                  </a:lnTo>
                  <a:lnTo>
                    <a:pt x="113" y="475"/>
                  </a:lnTo>
                  <a:lnTo>
                    <a:pt x="113" y="475"/>
                  </a:lnTo>
                  <a:lnTo>
                    <a:pt x="111" y="473"/>
                  </a:lnTo>
                  <a:lnTo>
                    <a:pt x="107" y="475"/>
                  </a:lnTo>
                  <a:lnTo>
                    <a:pt x="105" y="475"/>
                  </a:lnTo>
                  <a:lnTo>
                    <a:pt x="105" y="477"/>
                  </a:lnTo>
                  <a:close/>
                  <a:moveTo>
                    <a:pt x="101" y="370"/>
                  </a:moveTo>
                  <a:lnTo>
                    <a:pt x="101" y="370"/>
                  </a:lnTo>
                  <a:lnTo>
                    <a:pt x="101" y="368"/>
                  </a:lnTo>
                  <a:lnTo>
                    <a:pt x="101" y="368"/>
                  </a:lnTo>
                  <a:lnTo>
                    <a:pt x="101" y="370"/>
                  </a:lnTo>
                  <a:lnTo>
                    <a:pt x="101" y="372"/>
                  </a:lnTo>
                  <a:lnTo>
                    <a:pt x="101" y="372"/>
                  </a:lnTo>
                  <a:lnTo>
                    <a:pt x="101" y="370"/>
                  </a:lnTo>
                  <a:close/>
                  <a:moveTo>
                    <a:pt x="109" y="406"/>
                  </a:moveTo>
                  <a:lnTo>
                    <a:pt x="109" y="404"/>
                  </a:lnTo>
                  <a:lnTo>
                    <a:pt x="109" y="404"/>
                  </a:lnTo>
                  <a:lnTo>
                    <a:pt x="109" y="404"/>
                  </a:lnTo>
                  <a:lnTo>
                    <a:pt x="107" y="404"/>
                  </a:lnTo>
                  <a:lnTo>
                    <a:pt x="109" y="404"/>
                  </a:lnTo>
                  <a:lnTo>
                    <a:pt x="109" y="406"/>
                  </a:lnTo>
                  <a:lnTo>
                    <a:pt x="109" y="406"/>
                  </a:lnTo>
                  <a:close/>
                  <a:moveTo>
                    <a:pt x="97" y="416"/>
                  </a:moveTo>
                  <a:lnTo>
                    <a:pt x="97" y="416"/>
                  </a:lnTo>
                  <a:lnTo>
                    <a:pt x="95" y="416"/>
                  </a:lnTo>
                  <a:lnTo>
                    <a:pt x="95" y="416"/>
                  </a:lnTo>
                  <a:lnTo>
                    <a:pt x="97" y="418"/>
                  </a:lnTo>
                  <a:lnTo>
                    <a:pt x="97" y="418"/>
                  </a:lnTo>
                  <a:lnTo>
                    <a:pt x="97" y="421"/>
                  </a:lnTo>
                  <a:lnTo>
                    <a:pt x="97" y="418"/>
                  </a:lnTo>
                  <a:lnTo>
                    <a:pt x="97" y="418"/>
                  </a:lnTo>
                  <a:lnTo>
                    <a:pt x="97" y="416"/>
                  </a:lnTo>
                  <a:lnTo>
                    <a:pt x="97" y="416"/>
                  </a:lnTo>
                  <a:close/>
                  <a:moveTo>
                    <a:pt x="99" y="387"/>
                  </a:moveTo>
                  <a:lnTo>
                    <a:pt x="99" y="387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7" y="385"/>
                  </a:lnTo>
                  <a:lnTo>
                    <a:pt x="97" y="385"/>
                  </a:lnTo>
                  <a:lnTo>
                    <a:pt x="97" y="385"/>
                  </a:lnTo>
                  <a:lnTo>
                    <a:pt x="97" y="385"/>
                  </a:lnTo>
                  <a:lnTo>
                    <a:pt x="97" y="385"/>
                  </a:lnTo>
                  <a:lnTo>
                    <a:pt x="97" y="385"/>
                  </a:lnTo>
                  <a:lnTo>
                    <a:pt x="97" y="387"/>
                  </a:lnTo>
                  <a:lnTo>
                    <a:pt x="97" y="387"/>
                  </a:lnTo>
                  <a:lnTo>
                    <a:pt x="97" y="387"/>
                  </a:lnTo>
                  <a:lnTo>
                    <a:pt x="97" y="387"/>
                  </a:lnTo>
                  <a:lnTo>
                    <a:pt x="99" y="387"/>
                  </a:lnTo>
                  <a:close/>
                  <a:moveTo>
                    <a:pt x="103" y="418"/>
                  </a:moveTo>
                  <a:lnTo>
                    <a:pt x="105" y="421"/>
                  </a:lnTo>
                  <a:lnTo>
                    <a:pt x="105" y="421"/>
                  </a:lnTo>
                  <a:lnTo>
                    <a:pt x="105" y="421"/>
                  </a:lnTo>
                  <a:lnTo>
                    <a:pt x="105" y="421"/>
                  </a:lnTo>
                  <a:lnTo>
                    <a:pt x="107" y="421"/>
                  </a:lnTo>
                  <a:lnTo>
                    <a:pt x="107" y="418"/>
                  </a:lnTo>
                  <a:lnTo>
                    <a:pt x="107" y="418"/>
                  </a:lnTo>
                  <a:lnTo>
                    <a:pt x="105" y="416"/>
                  </a:lnTo>
                  <a:lnTo>
                    <a:pt x="103" y="414"/>
                  </a:lnTo>
                  <a:lnTo>
                    <a:pt x="101" y="414"/>
                  </a:lnTo>
                  <a:lnTo>
                    <a:pt x="101" y="414"/>
                  </a:lnTo>
                  <a:lnTo>
                    <a:pt x="101" y="414"/>
                  </a:lnTo>
                  <a:lnTo>
                    <a:pt x="99" y="414"/>
                  </a:lnTo>
                  <a:lnTo>
                    <a:pt x="99" y="414"/>
                  </a:lnTo>
                  <a:lnTo>
                    <a:pt x="99" y="414"/>
                  </a:lnTo>
                  <a:lnTo>
                    <a:pt x="103" y="418"/>
                  </a:lnTo>
                  <a:lnTo>
                    <a:pt x="103" y="418"/>
                  </a:lnTo>
                  <a:lnTo>
                    <a:pt x="103" y="418"/>
                  </a:lnTo>
                  <a:lnTo>
                    <a:pt x="103" y="418"/>
                  </a:lnTo>
                  <a:close/>
                  <a:moveTo>
                    <a:pt x="99" y="421"/>
                  </a:moveTo>
                  <a:lnTo>
                    <a:pt x="101" y="423"/>
                  </a:lnTo>
                  <a:lnTo>
                    <a:pt x="101" y="423"/>
                  </a:lnTo>
                  <a:lnTo>
                    <a:pt x="103" y="423"/>
                  </a:lnTo>
                  <a:lnTo>
                    <a:pt x="103" y="423"/>
                  </a:lnTo>
                  <a:lnTo>
                    <a:pt x="103" y="421"/>
                  </a:lnTo>
                  <a:lnTo>
                    <a:pt x="103" y="421"/>
                  </a:lnTo>
                  <a:lnTo>
                    <a:pt x="99" y="418"/>
                  </a:lnTo>
                  <a:lnTo>
                    <a:pt x="97" y="418"/>
                  </a:lnTo>
                  <a:lnTo>
                    <a:pt x="97" y="418"/>
                  </a:lnTo>
                  <a:lnTo>
                    <a:pt x="99" y="421"/>
                  </a:lnTo>
                  <a:lnTo>
                    <a:pt x="99" y="421"/>
                  </a:lnTo>
                  <a:lnTo>
                    <a:pt x="99" y="421"/>
                  </a:lnTo>
                  <a:lnTo>
                    <a:pt x="99" y="421"/>
                  </a:lnTo>
                  <a:close/>
                  <a:moveTo>
                    <a:pt x="95" y="400"/>
                  </a:moveTo>
                  <a:lnTo>
                    <a:pt x="95" y="400"/>
                  </a:lnTo>
                  <a:lnTo>
                    <a:pt x="95" y="400"/>
                  </a:lnTo>
                  <a:lnTo>
                    <a:pt x="95" y="400"/>
                  </a:lnTo>
                  <a:lnTo>
                    <a:pt x="95" y="402"/>
                  </a:lnTo>
                  <a:lnTo>
                    <a:pt x="95" y="404"/>
                  </a:lnTo>
                  <a:lnTo>
                    <a:pt x="95" y="404"/>
                  </a:lnTo>
                  <a:lnTo>
                    <a:pt x="95" y="402"/>
                  </a:lnTo>
                  <a:lnTo>
                    <a:pt x="95" y="402"/>
                  </a:lnTo>
                  <a:lnTo>
                    <a:pt x="95" y="402"/>
                  </a:lnTo>
                  <a:lnTo>
                    <a:pt x="95" y="402"/>
                  </a:lnTo>
                  <a:lnTo>
                    <a:pt x="95" y="400"/>
                  </a:lnTo>
                  <a:lnTo>
                    <a:pt x="95" y="400"/>
                  </a:lnTo>
                  <a:lnTo>
                    <a:pt x="95" y="400"/>
                  </a:lnTo>
                  <a:lnTo>
                    <a:pt x="95" y="400"/>
                  </a:lnTo>
                  <a:close/>
                  <a:moveTo>
                    <a:pt x="44" y="353"/>
                  </a:moveTo>
                  <a:lnTo>
                    <a:pt x="44" y="353"/>
                  </a:lnTo>
                  <a:lnTo>
                    <a:pt x="46" y="353"/>
                  </a:lnTo>
                  <a:lnTo>
                    <a:pt x="46" y="353"/>
                  </a:lnTo>
                  <a:lnTo>
                    <a:pt x="46" y="355"/>
                  </a:lnTo>
                  <a:lnTo>
                    <a:pt x="46" y="355"/>
                  </a:lnTo>
                  <a:lnTo>
                    <a:pt x="46" y="357"/>
                  </a:lnTo>
                  <a:lnTo>
                    <a:pt x="48" y="357"/>
                  </a:lnTo>
                  <a:lnTo>
                    <a:pt x="48" y="357"/>
                  </a:lnTo>
                  <a:lnTo>
                    <a:pt x="48" y="357"/>
                  </a:lnTo>
                  <a:lnTo>
                    <a:pt x="48" y="357"/>
                  </a:lnTo>
                  <a:lnTo>
                    <a:pt x="48" y="357"/>
                  </a:lnTo>
                  <a:lnTo>
                    <a:pt x="48" y="355"/>
                  </a:lnTo>
                  <a:lnTo>
                    <a:pt x="48" y="353"/>
                  </a:lnTo>
                  <a:lnTo>
                    <a:pt x="48" y="353"/>
                  </a:lnTo>
                  <a:lnTo>
                    <a:pt x="48" y="351"/>
                  </a:lnTo>
                  <a:lnTo>
                    <a:pt x="48" y="351"/>
                  </a:lnTo>
                  <a:lnTo>
                    <a:pt x="46" y="349"/>
                  </a:lnTo>
                  <a:lnTo>
                    <a:pt x="46" y="351"/>
                  </a:lnTo>
                  <a:lnTo>
                    <a:pt x="46" y="349"/>
                  </a:lnTo>
                  <a:lnTo>
                    <a:pt x="46" y="349"/>
                  </a:lnTo>
                  <a:lnTo>
                    <a:pt x="46" y="351"/>
                  </a:lnTo>
                  <a:lnTo>
                    <a:pt x="44" y="351"/>
                  </a:lnTo>
                  <a:lnTo>
                    <a:pt x="44" y="353"/>
                  </a:lnTo>
                  <a:lnTo>
                    <a:pt x="44" y="353"/>
                  </a:lnTo>
                  <a:lnTo>
                    <a:pt x="44" y="353"/>
                  </a:lnTo>
                  <a:close/>
                  <a:moveTo>
                    <a:pt x="394" y="357"/>
                  </a:moveTo>
                  <a:lnTo>
                    <a:pt x="394" y="357"/>
                  </a:lnTo>
                  <a:lnTo>
                    <a:pt x="392" y="357"/>
                  </a:lnTo>
                  <a:lnTo>
                    <a:pt x="392" y="357"/>
                  </a:lnTo>
                  <a:lnTo>
                    <a:pt x="392" y="357"/>
                  </a:lnTo>
                  <a:lnTo>
                    <a:pt x="392" y="357"/>
                  </a:lnTo>
                  <a:lnTo>
                    <a:pt x="390" y="357"/>
                  </a:lnTo>
                  <a:lnTo>
                    <a:pt x="390" y="357"/>
                  </a:lnTo>
                  <a:lnTo>
                    <a:pt x="390" y="357"/>
                  </a:lnTo>
                  <a:lnTo>
                    <a:pt x="390" y="357"/>
                  </a:lnTo>
                  <a:lnTo>
                    <a:pt x="390" y="360"/>
                  </a:lnTo>
                  <a:lnTo>
                    <a:pt x="392" y="360"/>
                  </a:lnTo>
                  <a:lnTo>
                    <a:pt x="392" y="360"/>
                  </a:lnTo>
                  <a:lnTo>
                    <a:pt x="392" y="360"/>
                  </a:lnTo>
                  <a:lnTo>
                    <a:pt x="392" y="362"/>
                  </a:lnTo>
                  <a:lnTo>
                    <a:pt x="392" y="362"/>
                  </a:lnTo>
                  <a:lnTo>
                    <a:pt x="392" y="362"/>
                  </a:lnTo>
                  <a:lnTo>
                    <a:pt x="394" y="362"/>
                  </a:lnTo>
                  <a:lnTo>
                    <a:pt x="394" y="360"/>
                  </a:lnTo>
                  <a:lnTo>
                    <a:pt x="394" y="360"/>
                  </a:lnTo>
                  <a:lnTo>
                    <a:pt x="394" y="360"/>
                  </a:lnTo>
                  <a:lnTo>
                    <a:pt x="394" y="360"/>
                  </a:lnTo>
                  <a:lnTo>
                    <a:pt x="394" y="357"/>
                  </a:lnTo>
                  <a:lnTo>
                    <a:pt x="394" y="357"/>
                  </a:lnTo>
                  <a:close/>
                  <a:moveTo>
                    <a:pt x="388" y="343"/>
                  </a:moveTo>
                  <a:lnTo>
                    <a:pt x="388" y="343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8" y="345"/>
                  </a:lnTo>
                  <a:lnTo>
                    <a:pt x="388" y="343"/>
                  </a:lnTo>
                  <a:close/>
                  <a:moveTo>
                    <a:pt x="373" y="435"/>
                  </a:moveTo>
                  <a:lnTo>
                    <a:pt x="371" y="435"/>
                  </a:lnTo>
                  <a:lnTo>
                    <a:pt x="371" y="437"/>
                  </a:lnTo>
                  <a:lnTo>
                    <a:pt x="369" y="437"/>
                  </a:lnTo>
                  <a:lnTo>
                    <a:pt x="369" y="437"/>
                  </a:lnTo>
                  <a:lnTo>
                    <a:pt x="369" y="437"/>
                  </a:lnTo>
                  <a:lnTo>
                    <a:pt x="369" y="437"/>
                  </a:lnTo>
                  <a:lnTo>
                    <a:pt x="369" y="437"/>
                  </a:lnTo>
                  <a:lnTo>
                    <a:pt x="369" y="437"/>
                  </a:lnTo>
                  <a:lnTo>
                    <a:pt x="369" y="439"/>
                  </a:lnTo>
                  <a:lnTo>
                    <a:pt x="371" y="439"/>
                  </a:lnTo>
                  <a:lnTo>
                    <a:pt x="371" y="439"/>
                  </a:lnTo>
                  <a:lnTo>
                    <a:pt x="371" y="439"/>
                  </a:lnTo>
                  <a:lnTo>
                    <a:pt x="371" y="439"/>
                  </a:lnTo>
                  <a:lnTo>
                    <a:pt x="371" y="437"/>
                  </a:lnTo>
                  <a:lnTo>
                    <a:pt x="371" y="437"/>
                  </a:lnTo>
                  <a:lnTo>
                    <a:pt x="371" y="437"/>
                  </a:lnTo>
                  <a:lnTo>
                    <a:pt x="371" y="437"/>
                  </a:lnTo>
                  <a:lnTo>
                    <a:pt x="373" y="435"/>
                  </a:lnTo>
                  <a:lnTo>
                    <a:pt x="373" y="435"/>
                  </a:lnTo>
                  <a:lnTo>
                    <a:pt x="373" y="435"/>
                  </a:lnTo>
                  <a:lnTo>
                    <a:pt x="373" y="435"/>
                  </a:lnTo>
                  <a:close/>
                  <a:moveTo>
                    <a:pt x="296" y="152"/>
                  </a:moveTo>
                  <a:lnTo>
                    <a:pt x="296" y="152"/>
                  </a:lnTo>
                  <a:lnTo>
                    <a:pt x="294" y="152"/>
                  </a:lnTo>
                  <a:lnTo>
                    <a:pt x="294" y="154"/>
                  </a:lnTo>
                  <a:lnTo>
                    <a:pt x="294" y="154"/>
                  </a:lnTo>
                  <a:lnTo>
                    <a:pt x="294" y="154"/>
                  </a:lnTo>
                  <a:lnTo>
                    <a:pt x="296" y="154"/>
                  </a:lnTo>
                  <a:lnTo>
                    <a:pt x="296" y="154"/>
                  </a:lnTo>
                  <a:lnTo>
                    <a:pt x="296" y="154"/>
                  </a:lnTo>
                  <a:lnTo>
                    <a:pt x="296" y="152"/>
                  </a:lnTo>
                  <a:lnTo>
                    <a:pt x="296" y="152"/>
                  </a:lnTo>
                  <a:lnTo>
                    <a:pt x="296" y="152"/>
                  </a:lnTo>
                  <a:close/>
                  <a:moveTo>
                    <a:pt x="241" y="168"/>
                  </a:moveTo>
                  <a:lnTo>
                    <a:pt x="241" y="168"/>
                  </a:lnTo>
                  <a:lnTo>
                    <a:pt x="241" y="168"/>
                  </a:lnTo>
                  <a:lnTo>
                    <a:pt x="237" y="166"/>
                  </a:lnTo>
                  <a:lnTo>
                    <a:pt x="237" y="166"/>
                  </a:lnTo>
                  <a:lnTo>
                    <a:pt x="237" y="166"/>
                  </a:lnTo>
                  <a:lnTo>
                    <a:pt x="237" y="166"/>
                  </a:lnTo>
                  <a:lnTo>
                    <a:pt x="237" y="166"/>
                  </a:lnTo>
                  <a:lnTo>
                    <a:pt x="237" y="166"/>
                  </a:lnTo>
                  <a:lnTo>
                    <a:pt x="237" y="166"/>
                  </a:lnTo>
                  <a:lnTo>
                    <a:pt x="237" y="166"/>
                  </a:lnTo>
                  <a:lnTo>
                    <a:pt x="237" y="168"/>
                  </a:lnTo>
                  <a:lnTo>
                    <a:pt x="235" y="168"/>
                  </a:lnTo>
                  <a:lnTo>
                    <a:pt x="235" y="168"/>
                  </a:lnTo>
                  <a:lnTo>
                    <a:pt x="235" y="168"/>
                  </a:lnTo>
                  <a:lnTo>
                    <a:pt x="233" y="168"/>
                  </a:lnTo>
                  <a:lnTo>
                    <a:pt x="233" y="168"/>
                  </a:lnTo>
                  <a:lnTo>
                    <a:pt x="233" y="168"/>
                  </a:lnTo>
                  <a:lnTo>
                    <a:pt x="233" y="168"/>
                  </a:lnTo>
                  <a:lnTo>
                    <a:pt x="231" y="168"/>
                  </a:lnTo>
                  <a:lnTo>
                    <a:pt x="231" y="166"/>
                  </a:lnTo>
                  <a:lnTo>
                    <a:pt x="231" y="164"/>
                  </a:lnTo>
                  <a:lnTo>
                    <a:pt x="231" y="164"/>
                  </a:lnTo>
                  <a:lnTo>
                    <a:pt x="231" y="164"/>
                  </a:lnTo>
                  <a:lnTo>
                    <a:pt x="231" y="164"/>
                  </a:lnTo>
                  <a:lnTo>
                    <a:pt x="231" y="164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0"/>
                  </a:lnTo>
                  <a:lnTo>
                    <a:pt x="229" y="160"/>
                  </a:lnTo>
                  <a:lnTo>
                    <a:pt x="229" y="160"/>
                  </a:lnTo>
                  <a:lnTo>
                    <a:pt x="227" y="160"/>
                  </a:lnTo>
                  <a:lnTo>
                    <a:pt x="227" y="162"/>
                  </a:lnTo>
                  <a:lnTo>
                    <a:pt x="227" y="164"/>
                  </a:lnTo>
                  <a:lnTo>
                    <a:pt x="227" y="164"/>
                  </a:lnTo>
                  <a:lnTo>
                    <a:pt x="227" y="166"/>
                  </a:lnTo>
                  <a:lnTo>
                    <a:pt x="227" y="166"/>
                  </a:lnTo>
                  <a:lnTo>
                    <a:pt x="227" y="166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29" y="168"/>
                  </a:lnTo>
                  <a:lnTo>
                    <a:pt x="229" y="173"/>
                  </a:lnTo>
                  <a:lnTo>
                    <a:pt x="229" y="175"/>
                  </a:lnTo>
                  <a:lnTo>
                    <a:pt x="227" y="177"/>
                  </a:lnTo>
                  <a:lnTo>
                    <a:pt x="227" y="177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31" y="181"/>
                  </a:lnTo>
                  <a:lnTo>
                    <a:pt x="233" y="181"/>
                  </a:lnTo>
                  <a:lnTo>
                    <a:pt x="233" y="181"/>
                  </a:lnTo>
                  <a:lnTo>
                    <a:pt x="233" y="181"/>
                  </a:lnTo>
                  <a:lnTo>
                    <a:pt x="233" y="181"/>
                  </a:lnTo>
                  <a:lnTo>
                    <a:pt x="233" y="179"/>
                  </a:lnTo>
                  <a:lnTo>
                    <a:pt x="233" y="179"/>
                  </a:lnTo>
                  <a:lnTo>
                    <a:pt x="233" y="179"/>
                  </a:lnTo>
                  <a:lnTo>
                    <a:pt x="231" y="179"/>
                  </a:lnTo>
                  <a:lnTo>
                    <a:pt x="231" y="179"/>
                  </a:lnTo>
                  <a:lnTo>
                    <a:pt x="231" y="179"/>
                  </a:lnTo>
                  <a:lnTo>
                    <a:pt x="231" y="177"/>
                  </a:lnTo>
                  <a:lnTo>
                    <a:pt x="231" y="177"/>
                  </a:lnTo>
                  <a:lnTo>
                    <a:pt x="235" y="177"/>
                  </a:lnTo>
                  <a:lnTo>
                    <a:pt x="235" y="175"/>
                  </a:lnTo>
                  <a:lnTo>
                    <a:pt x="235" y="175"/>
                  </a:lnTo>
                  <a:lnTo>
                    <a:pt x="237" y="177"/>
                  </a:lnTo>
                  <a:lnTo>
                    <a:pt x="237" y="177"/>
                  </a:lnTo>
                  <a:lnTo>
                    <a:pt x="237" y="177"/>
                  </a:lnTo>
                  <a:lnTo>
                    <a:pt x="237" y="175"/>
                  </a:lnTo>
                  <a:lnTo>
                    <a:pt x="239" y="168"/>
                  </a:lnTo>
                  <a:lnTo>
                    <a:pt x="241" y="168"/>
                  </a:lnTo>
                  <a:lnTo>
                    <a:pt x="241" y="168"/>
                  </a:lnTo>
                  <a:lnTo>
                    <a:pt x="241" y="168"/>
                  </a:lnTo>
                  <a:lnTo>
                    <a:pt x="241" y="168"/>
                  </a:lnTo>
                  <a:lnTo>
                    <a:pt x="241" y="168"/>
                  </a:lnTo>
                  <a:lnTo>
                    <a:pt x="241" y="168"/>
                  </a:lnTo>
                  <a:lnTo>
                    <a:pt x="241" y="168"/>
                  </a:lnTo>
                  <a:lnTo>
                    <a:pt x="241" y="168"/>
                  </a:lnTo>
                  <a:close/>
                  <a:moveTo>
                    <a:pt x="426" y="164"/>
                  </a:moveTo>
                  <a:lnTo>
                    <a:pt x="426" y="164"/>
                  </a:lnTo>
                  <a:lnTo>
                    <a:pt x="423" y="164"/>
                  </a:lnTo>
                  <a:lnTo>
                    <a:pt x="421" y="166"/>
                  </a:lnTo>
                  <a:lnTo>
                    <a:pt x="419" y="168"/>
                  </a:lnTo>
                  <a:lnTo>
                    <a:pt x="421" y="168"/>
                  </a:lnTo>
                  <a:lnTo>
                    <a:pt x="421" y="168"/>
                  </a:lnTo>
                  <a:lnTo>
                    <a:pt x="421" y="168"/>
                  </a:lnTo>
                  <a:lnTo>
                    <a:pt x="426" y="168"/>
                  </a:lnTo>
                  <a:lnTo>
                    <a:pt x="426" y="168"/>
                  </a:lnTo>
                  <a:lnTo>
                    <a:pt x="426" y="168"/>
                  </a:lnTo>
                  <a:lnTo>
                    <a:pt x="428" y="166"/>
                  </a:lnTo>
                  <a:lnTo>
                    <a:pt x="426" y="164"/>
                  </a:lnTo>
                  <a:lnTo>
                    <a:pt x="426" y="164"/>
                  </a:lnTo>
                  <a:close/>
                  <a:moveTo>
                    <a:pt x="281" y="145"/>
                  </a:moveTo>
                  <a:lnTo>
                    <a:pt x="279" y="145"/>
                  </a:lnTo>
                  <a:lnTo>
                    <a:pt x="279" y="145"/>
                  </a:lnTo>
                  <a:lnTo>
                    <a:pt x="277" y="145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5" y="145"/>
                  </a:lnTo>
                  <a:lnTo>
                    <a:pt x="275" y="147"/>
                  </a:lnTo>
                  <a:lnTo>
                    <a:pt x="277" y="152"/>
                  </a:lnTo>
                  <a:lnTo>
                    <a:pt x="277" y="154"/>
                  </a:lnTo>
                  <a:lnTo>
                    <a:pt x="277" y="154"/>
                  </a:lnTo>
                  <a:lnTo>
                    <a:pt x="277" y="154"/>
                  </a:lnTo>
                  <a:lnTo>
                    <a:pt x="275" y="154"/>
                  </a:lnTo>
                  <a:lnTo>
                    <a:pt x="275" y="154"/>
                  </a:lnTo>
                  <a:lnTo>
                    <a:pt x="277" y="154"/>
                  </a:lnTo>
                  <a:lnTo>
                    <a:pt x="277" y="156"/>
                  </a:lnTo>
                  <a:lnTo>
                    <a:pt x="279" y="156"/>
                  </a:lnTo>
                  <a:lnTo>
                    <a:pt x="279" y="156"/>
                  </a:lnTo>
                  <a:lnTo>
                    <a:pt x="279" y="156"/>
                  </a:lnTo>
                  <a:lnTo>
                    <a:pt x="281" y="158"/>
                  </a:lnTo>
                  <a:lnTo>
                    <a:pt x="281" y="158"/>
                  </a:lnTo>
                  <a:lnTo>
                    <a:pt x="281" y="158"/>
                  </a:lnTo>
                  <a:lnTo>
                    <a:pt x="283" y="158"/>
                  </a:lnTo>
                  <a:lnTo>
                    <a:pt x="283" y="150"/>
                  </a:lnTo>
                  <a:lnTo>
                    <a:pt x="281" y="147"/>
                  </a:lnTo>
                  <a:lnTo>
                    <a:pt x="281" y="145"/>
                  </a:lnTo>
                  <a:close/>
                  <a:moveTo>
                    <a:pt x="275" y="135"/>
                  </a:moveTo>
                  <a:lnTo>
                    <a:pt x="275" y="135"/>
                  </a:lnTo>
                  <a:lnTo>
                    <a:pt x="275" y="137"/>
                  </a:lnTo>
                  <a:lnTo>
                    <a:pt x="275" y="137"/>
                  </a:lnTo>
                  <a:lnTo>
                    <a:pt x="277" y="137"/>
                  </a:lnTo>
                  <a:lnTo>
                    <a:pt x="277" y="135"/>
                  </a:lnTo>
                  <a:lnTo>
                    <a:pt x="277" y="133"/>
                  </a:lnTo>
                  <a:lnTo>
                    <a:pt x="277" y="133"/>
                  </a:lnTo>
                  <a:lnTo>
                    <a:pt x="277" y="133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7" y="128"/>
                  </a:lnTo>
                  <a:lnTo>
                    <a:pt x="277" y="128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5" y="139"/>
                  </a:lnTo>
                  <a:lnTo>
                    <a:pt x="275" y="139"/>
                  </a:lnTo>
                  <a:lnTo>
                    <a:pt x="275" y="137"/>
                  </a:lnTo>
                  <a:lnTo>
                    <a:pt x="275" y="135"/>
                  </a:lnTo>
                  <a:lnTo>
                    <a:pt x="275" y="135"/>
                  </a:lnTo>
                  <a:close/>
                  <a:moveTo>
                    <a:pt x="254" y="162"/>
                  </a:moveTo>
                  <a:lnTo>
                    <a:pt x="254" y="160"/>
                  </a:lnTo>
                  <a:lnTo>
                    <a:pt x="254" y="160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4" y="158"/>
                  </a:lnTo>
                  <a:lnTo>
                    <a:pt x="252" y="160"/>
                  </a:lnTo>
                  <a:lnTo>
                    <a:pt x="252" y="160"/>
                  </a:lnTo>
                  <a:lnTo>
                    <a:pt x="252" y="160"/>
                  </a:lnTo>
                  <a:lnTo>
                    <a:pt x="252" y="162"/>
                  </a:lnTo>
                  <a:lnTo>
                    <a:pt x="252" y="162"/>
                  </a:lnTo>
                  <a:lnTo>
                    <a:pt x="252" y="162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4" y="164"/>
                  </a:lnTo>
                  <a:lnTo>
                    <a:pt x="254" y="164"/>
                  </a:lnTo>
                  <a:lnTo>
                    <a:pt x="254" y="164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lnTo>
                    <a:pt x="254" y="162"/>
                  </a:lnTo>
                  <a:close/>
                  <a:moveTo>
                    <a:pt x="283" y="133"/>
                  </a:moveTo>
                  <a:lnTo>
                    <a:pt x="283" y="133"/>
                  </a:lnTo>
                  <a:lnTo>
                    <a:pt x="283" y="133"/>
                  </a:lnTo>
                  <a:lnTo>
                    <a:pt x="281" y="133"/>
                  </a:lnTo>
                  <a:lnTo>
                    <a:pt x="279" y="135"/>
                  </a:lnTo>
                  <a:lnTo>
                    <a:pt x="279" y="135"/>
                  </a:lnTo>
                  <a:lnTo>
                    <a:pt x="279" y="135"/>
                  </a:lnTo>
                  <a:lnTo>
                    <a:pt x="279" y="135"/>
                  </a:lnTo>
                  <a:lnTo>
                    <a:pt x="279" y="135"/>
                  </a:lnTo>
                  <a:lnTo>
                    <a:pt x="279" y="137"/>
                  </a:lnTo>
                  <a:lnTo>
                    <a:pt x="279" y="139"/>
                  </a:lnTo>
                  <a:lnTo>
                    <a:pt x="279" y="141"/>
                  </a:lnTo>
                  <a:lnTo>
                    <a:pt x="277" y="141"/>
                  </a:lnTo>
                  <a:lnTo>
                    <a:pt x="277" y="143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3" y="143"/>
                  </a:lnTo>
                  <a:lnTo>
                    <a:pt x="283" y="143"/>
                  </a:lnTo>
                  <a:lnTo>
                    <a:pt x="281" y="143"/>
                  </a:lnTo>
                  <a:lnTo>
                    <a:pt x="281" y="143"/>
                  </a:lnTo>
                  <a:lnTo>
                    <a:pt x="281" y="143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39"/>
                  </a:lnTo>
                  <a:lnTo>
                    <a:pt x="281" y="141"/>
                  </a:lnTo>
                  <a:lnTo>
                    <a:pt x="283" y="141"/>
                  </a:lnTo>
                  <a:lnTo>
                    <a:pt x="283" y="141"/>
                  </a:lnTo>
                  <a:lnTo>
                    <a:pt x="283" y="141"/>
                  </a:lnTo>
                  <a:lnTo>
                    <a:pt x="283" y="141"/>
                  </a:lnTo>
                  <a:lnTo>
                    <a:pt x="283" y="141"/>
                  </a:lnTo>
                  <a:lnTo>
                    <a:pt x="283" y="141"/>
                  </a:lnTo>
                  <a:lnTo>
                    <a:pt x="283" y="137"/>
                  </a:lnTo>
                  <a:lnTo>
                    <a:pt x="283" y="133"/>
                  </a:lnTo>
                  <a:lnTo>
                    <a:pt x="283" y="133"/>
                  </a:lnTo>
                  <a:close/>
                  <a:moveTo>
                    <a:pt x="277" y="185"/>
                  </a:moveTo>
                  <a:lnTo>
                    <a:pt x="277" y="183"/>
                  </a:lnTo>
                  <a:lnTo>
                    <a:pt x="277" y="183"/>
                  </a:lnTo>
                  <a:lnTo>
                    <a:pt x="277" y="183"/>
                  </a:lnTo>
                  <a:lnTo>
                    <a:pt x="277" y="183"/>
                  </a:lnTo>
                  <a:lnTo>
                    <a:pt x="275" y="183"/>
                  </a:lnTo>
                  <a:lnTo>
                    <a:pt x="275" y="185"/>
                  </a:lnTo>
                  <a:lnTo>
                    <a:pt x="275" y="185"/>
                  </a:lnTo>
                  <a:lnTo>
                    <a:pt x="275" y="187"/>
                  </a:lnTo>
                  <a:lnTo>
                    <a:pt x="277" y="189"/>
                  </a:lnTo>
                  <a:lnTo>
                    <a:pt x="277" y="189"/>
                  </a:lnTo>
                  <a:lnTo>
                    <a:pt x="277" y="192"/>
                  </a:lnTo>
                  <a:lnTo>
                    <a:pt x="277" y="192"/>
                  </a:lnTo>
                  <a:lnTo>
                    <a:pt x="279" y="192"/>
                  </a:lnTo>
                  <a:lnTo>
                    <a:pt x="279" y="192"/>
                  </a:lnTo>
                  <a:lnTo>
                    <a:pt x="279" y="192"/>
                  </a:lnTo>
                  <a:lnTo>
                    <a:pt x="279" y="192"/>
                  </a:lnTo>
                  <a:lnTo>
                    <a:pt x="279" y="192"/>
                  </a:lnTo>
                  <a:lnTo>
                    <a:pt x="279" y="189"/>
                  </a:lnTo>
                  <a:lnTo>
                    <a:pt x="279" y="185"/>
                  </a:lnTo>
                  <a:lnTo>
                    <a:pt x="277" y="185"/>
                  </a:lnTo>
                  <a:close/>
                  <a:moveTo>
                    <a:pt x="432" y="57"/>
                  </a:moveTo>
                  <a:lnTo>
                    <a:pt x="430" y="57"/>
                  </a:lnTo>
                  <a:lnTo>
                    <a:pt x="430" y="59"/>
                  </a:lnTo>
                  <a:lnTo>
                    <a:pt x="430" y="59"/>
                  </a:lnTo>
                  <a:lnTo>
                    <a:pt x="430" y="59"/>
                  </a:lnTo>
                  <a:lnTo>
                    <a:pt x="430" y="59"/>
                  </a:lnTo>
                  <a:lnTo>
                    <a:pt x="430" y="61"/>
                  </a:lnTo>
                  <a:lnTo>
                    <a:pt x="430" y="61"/>
                  </a:lnTo>
                  <a:lnTo>
                    <a:pt x="430" y="61"/>
                  </a:lnTo>
                  <a:lnTo>
                    <a:pt x="430" y="61"/>
                  </a:lnTo>
                  <a:lnTo>
                    <a:pt x="430" y="61"/>
                  </a:lnTo>
                  <a:lnTo>
                    <a:pt x="430" y="61"/>
                  </a:lnTo>
                  <a:lnTo>
                    <a:pt x="432" y="59"/>
                  </a:lnTo>
                  <a:lnTo>
                    <a:pt x="432" y="59"/>
                  </a:lnTo>
                  <a:lnTo>
                    <a:pt x="432" y="57"/>
                  </a:lnTo>
                  <a:lnTo>
                    <a:pt x="432" y="57"/>
                  </a:lnTo>
                  <a:lnTo>
                    <a:pt x="432" y="57"/>
                  </a:lnTo>
                  <a:lnTo>
                    <a:pt x="432" y="57"/>
                  </a:lnTo>
                  <a:close/>
                  <a:moveTo>
                    <a:pt x="407" y="353"/>
                  </a:moveTo>
                  <a:lnTo>
                    <a:pt x="407" y="353"/>
                  </a:lnTo>
                  <a:lnTo>
                    <a:pt x="405" y="351"/>
                  </a:lnTo>
                  <a:lnTo>
                    <a:pt x="405" y="351"/>
                  </a:lnTo>
                  <a:lnTo>
                    <a:pt x="402" y="351"/>
                  </a:lnTo>
                  <a:lnTo>
                    <a:pt x="402" y="351"/>
                  </a:lnTo>
                  <a:lnTo>
                    <a:pt x="400" y="351"/>
                  </a:lnTo>
                  <a:lnTo>
                    <a:pt x="400" y="351"/>
                  </a:lnTo>
                  <a:lnTo>
                    <a:pt x="400" y="353"/>
                  </a:lnTo>
                  <a:lnTo>
                    <a:pt x="400" y="353"/>
                  </a:lnTo>
                  <a:lnTo>
                    <a:pt x="400" y="353"/>
                  </a:lnTo>
                  <a:lnTo>
                    <a:pt x="400" y="353"/>
                  </a:lnTo>
                  <a:lnTo>
                    <a:pt x="400" y="353"/>
                  </a:lnTo>
                  <a:lnTo>
                    <a:pt x="400" y="353"/>
                  </a:lnTo>
                  <a:lnTo>
                    <a:pt x="402" y="353"/>
                  </a:lnTo>
                  <a:lnTo>
                    <a:pt x="402" y="353"/>
                  </a:lnTo>
                  <a:lnTo>
                    <a:pt x="402" y="355"/>
                  </a:lnTo>
                  <a:lnTo>
                    <a:pt x="402" y="355"/>
                  </a:lnTo>
                  <a:lnTo>
                    <a:pt x="402" y="355"/>
                  </a:lnTo>
                  <a:lnTo>
                    <a:pt x="402" y="357"/>
                  </a:lnTo>
                  <a:lnTo>
                    <a:pt x="402" y="357"/>
                  </a:lnTo>
                  <a:lnTo>
                    <a:pt x="402" y="357"/>
                  </a:lnTo>
                  <a:lnTo>
                    <a:pt x="402" y="357"/>
                  </a:lnTo>
                  <a:lnTo>
                    <a:pt x="405" y="355"/>
                  </a:lnTo>
                  <a:lnTo>
                    <a:pt x="407" y="353"/>
                  </a:lnTo>
                  <a:lnTo>
                    <a:pt x="407" y="353"/>
                  </a:lnTo>
                  <a:lnTo>
                    <a:pt x="407" y="353"/>
                  </a:lnTo>
                  <a:close/>
                  <a:moveTo>
                    <a:pt x="528" y="175"/>
                  </a:moveTo>
                  <a:lnTo>
                    <a:pt x="528" y="173"/>
                  </a:lnTo>
                  <a:lnTo>
                    <a:pt x="528" y="171"/>
                  </a:lnTo>
                  <a:lnTo>
                    <a:pt x="528" y="168"/>
                  </a:lnTo>
                  <a:lnTo>
                    <a:pt x="528" y="168"/>
                  </a:lnTo>
                  <a:lnTo>
                    <a:pt x="528" y="168"/>
                  </a:lnTo>
                  <a:lnTo>
                    <a:pt x="528" y="168"/>
                  </a:lnTo>
                  <a:lnTo>
                    <a:pt x="528" y="166"/>
                  </a:lnTo>
                  <a:lnTo>
                    <a:pt x="526" y="166"/>
                  </a:lnTo>
                  <a:lnTo>
                    <a:pt x="524" y="166"/>
                  </a:lnTo>
                  <a:lnTo>
                    <a:pt x="524" y="168"/>
                  </a:lnTo>
                  <a:lnTo>
                    <a:pt x="524" y="171"/>
                  </a:lnTo>
                  <a:lnTo>
                    <a:pt x="524" y="171"/>
                  </a:lnTo>
                  <a:lnTo>
                    <a:pt x="522" y="173"/>
                  </a:lnTo>
                  <a:lnTo>
                    <a:pt x="522" y="175"/>
                  </a:lnTo>
                  <a:lnTo>
                    <a:pt x="520" y="175"/>
                  </a:lnTo>
                  <a:lnTo>
                    <a:pt x="518" y="177"/>
                  </a:lnTo>
                  <a:lnTo>
                    <a:pt x="518" y="177"/>
                  </a:lnTo>
                  <a:lnTo>
                    <a:pt x="518" y="177"/>
                  </a:lnTo>
                  <a:lnTo>
                    <a:pt x="518" y="177"/>
                  </a:lnTo>
                  <a:lnTo>
                    <a:pt x="518" y="177"/>
                  </a:lnTo>
                  <a:lnTo>
                    <a:pt x="518" y="177"/>
                  </a:lnTo>
                  <a:lnTo>
                    <a:pt x="518" y="177"/>
                  </a:lnTo>
                  <a:lnTo>
                    <a:pt x="520" y="179"/>
                  </a:lnTo>
                  <a:lnTo>
                    <a:pt x="522" y="179"/>
                  </a:lnTo>
                  <a:lnTo>
                    <a:pt x="522" y="181"/>
                  </a:lnTo>
                  <a:lnTo>
                    <a:pt x="522" y="181"/>
                  </a:lnTo>
                  <a:lnTo>
                    <a:pt x="522" y="181"/>
                  </a:lnTo>
                  <a:lnTo>
                    <a:pt x="522" y="181"/>
                  </a:lnTo>
                  <a:lnTo>
                    <a:pt x="522" y="181"/>
                  </a:lnTo>
                  <a:lnTo>
                    <a:pt x="524" y="181"/>
                  </a:lnTo>
                  <a:lnTo>
                    <a:pt x="524" y="181"/>
                  </a:lnTo>
                  <a:lnTo>
                    <a:pt x="524" y="179"/>
                  </a:lnTo>
                  <a:lnTo>
                    <a:pt x="524" y="179"/>
                  </a:lnTo>
                  <a:lnTo>
                    <a:pt x="524" y="179"/>
                  </a:lnTo>
                  <a:lnTo>
                    <a:pt x="526" y="179"/>
                  </a:lnTo>
                  <a:lnTo>
                    <a:pt x="526" y="179"/>
                  </a:lnTo>
                  <a:lnTo>
                    <a:pt x="528" y="177"/>
                  </a:lnTo>
                  <a:lnTo>
                    <a:pt x="528" y="177"/>
                  </a:lnTo>
                  <a:lnTo>
                    <a:pt x="528" y="175"/>
                  </a:lnTo>
                  <a:close/>
                  <a:moveTo>
                    <a:pt x="532" y="187"/>
                  </a:moveTo>
                  <a:lnTo>
                    <a:pt x="530" y="187"/>
                  </a:lnTo>
                  <a:lnTo>
                    <a:pt x="530" y="189"/>
                  </a:lnTo>
                  <a:lnTo>
                    <a:pt x="530" y="189"/>
                  </a:lnTo>
                  <a:lnTo>
                    <a:pt x="530" y="189"/>
                  </a:lnTo>
                  <a:lnTo>
                    <a:pt x="528" y="192"/>
                  </a:lnTo>
                  <a:lnTo>
                    <a:pt x="528" y="192"/>
                  </a:lnTo>
                  <a:lnTo>
                    <a:pt x="528" y="192"/>
                  </a:lnTo>
                  <a:lnTo>
                    <a:pt x="528" y="192"/>
                  </a:lnTo>
                  <a:lnTo>
                    <a:pt x="530" y="192"/>
                  </a:lnTo>
                  <a:lnTo>
                    <a:pt x="530" y="189"/>
                  </a:lnTo>
                  <a:lnTo>
                    <a:pt x="532" y="189"/>
                  </a:lnTo>
                  <a:lnTo>
                    <a:pt x="532" y="189"/>
                  </a:lnTo>
                  <a:lnTo>
                    <a:pt x="532" y="187"/>
                  </a:lnTo>
                  <a:lnTo>
                    <a:pt x="532" y="187"/>
                  </a:lnTo>
                  <a:close/>
                  <a:moveTo>
                    <a:pt x="499" y="196"/>
                  </a:moveTo>
                  <a:lnTo>
                    <a:pt x="497" y="196"/>
                  </a:lnTo>
                  <a:lnTo>
                    <a:pt x="497" y="196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497" y="198"/>
                  </a:lnTo>
                  <a:lnTo>
                    <a:pt x="499" y="198"/>
                  </a:lnTo>
                  <a:lnTo>
                    <a:pt x="499" y="196"/>
                  </a:lnTo>
                  <a:lnTo>
                    <a:pt x="499" y="194"/>
                  </a:lnTo>
                  <a:lnTo>
                    <a:pt x="499" y="196"/>
                  </a:lnTo>
                  <a:lnTo>
                    <a:pt x="499" y="196"/>
                  </a:lnTo>
                  <a:close/>
                  <a:moveTo>
                    <a:pt x="549" y="210"/>
                  </a:moveTo>
                  <a:lnTo>
                    <a:pt x="547" y="210"/>
                  </a:lnTo>
                  <a:lnTo>
                    <a:pt x="547" y="210"/>
                  </a:lnTo>
                  <a:lnTo>
                    <a:pt x="543" y="210"/>
                  </a:lnTo>
                  <a:lnTo>
                    <a:pt x="543" y="210"/>
                  </a:lnTo>
                  <a:lnTo>
                    <a:pt x="543" y="210"/>
                  </a:lnTo>
                  <a:lnTo>
                    <a:pt x="541" y="208"/>
                  </a:lnTo>
                  <a:lnTo>
                    <a:pt x="541" y="208"/>
                  </a:lnTo>
                  <a:lnTo>
                    <a:pt x="539" y="208"/>
                  </a:lnTo>
                  <a:lnTo>
                    <a:pt x="539" y="208"/>
                  </a:lnTo>
                  <a:lnTo>
                    <a:pt x="539" y="208"/>
                  </a:lnTo>
                  <a:lnTo>
                    <a:pt x="539" y="208"/>
                  </a:lnTo>
                  <a:lnTo>
                    <a:pt x="539" y="208"/>
                  </a:lnTo>
                  <a:lnTo>
                    <a:pt x="537" y="208"/>
                  </a:lnTo>
                  <a:lnTo>
                    <a:pt x="537" y="208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7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41" y="210"/>
                  </a:lnTo>
                  <a:lnTo>
                    <a:pt x="541" y="213"/>
                  </a:lnTo>
                  <a:lnTo>
                    <a:pt x="541" y="213"/>
                  </a:lnTo>
                  <a:lnTo>
                    <a:pt x="541" y="215"/>
                  </a:lnTo>
                  <a:lnTo>
                    <a:pt x="541" y="215"/>
                  </a:lnTo>
                  <a:lnTo>
                    <a:pt x="541" y="215"/>
                  </a:lnTo>
                  <a:lnTo>
                    <a:pt x="541" y="215"/>
                  </a:lnTo>
                  <a:lnTo>
                    <a:pt x="543" y="215"/>
                  </a:lnTo>
                  <a:lnTo>
                    <a:pt x="545" y="215"/>
                  </a:lnTo>
                  <a:lnTo>
                    <a:pt x="547" y="213"/>
                  </a:lnTo>
                  <a:lnTo>
                    <a:pt x="549" y="213"/>
                  </a:lnTo>
                  <a:lnTo>
                    <a:pt x="549" y="210"/>
                  </a:lnTo>
                  <a:lnTo>
                    <a:pt x="549" y="210"/>
                  </a:lnTo>
                  <a:close/>
                  <a:moveTo>
                    <a:pt x="482" y="82"/>
                  </a:moveTo>
                  <a:lnTo>
                    <a:pt x="482" y="84"/>
                  </a:lnTo>
                  <a:lnTo>
                    <a:pt x="482" y="84"/>
                  </a:lnTo>
                  <a:lnTo>
                    <a:pt x="480" y="82"/>
                  </a:lnTo>
                  <a:lnTo>
                    <a:pt x="480" y="82"/>
                  </a:lnTo>
                  <a:lnTo>
                    <a:pt x="478" y="82"/>
                  </a:lnTo>
                  <a:lnTo>
                    <a:pt x="478" y="82"/>
                  </a:lnTo>
                  <a:lnTo>
                    <a:pt x="480" y="80"/>
                  </a:lnTo>
                  <a:lnTo>
                    <a:pt x="482" y="80"/>
                  </a:lnTo>
                  <a:lnTo>
                    <a:pt x="482" y="78"/>
                  </a:lnTo>
                  <a:lnTo>
                    <a:pt x="482" y="78"/>
                  </a:lnTo>
                  <a:lnTo>
                    <a:pt x="482" y="74"/>
                  </a:lnTo>
                  <a:lnTo>
                    <a:pt x="482" y="74"/>
                  </a:lnTo>
                  <a:lnTo>
                    <a:pt x="482" y="72"/>
                  </a:lnTo>
                  <a:lnTo>
                    <a:pt x="482" y="72"/>
                  </a:lnTo>
                  <a:lnTo>
                    <a:pt x="480" y="72"/>
                  </a:lnTo>
                  <a:lnTo>
                    <a:pt x="478" y="72"/>
                  </a:lnTo>
                  <a:lnTo>
                    <a:pt x="474" y="63"/>
                  </a:lnTo>
                  <a:lnTo>
                    <a:pt x="472" y="63"/>
                  </a:lnTo>
                  <a:lnTo>
                    <a:pt x="470" y="61"/>
                  </a:lnTo>
                  <a:lnTo>
                    <a:pt x="470" y="61"/>
                  </a:lnTo>
                  <a:lnTo>
                    <a:pt x="470" y="59"/>
                  </a:lnTo>
                  <a:lnTo>
                    <a:pt x="467" y="57"/>
                  </a:lnTo>
                  <a:lnTo>
                    <a:pt x="467" y="53"/>
                  </a:lnTo>
                  <a:lnTo>
                    <a:pt x="467" y="51"/>
                  </a:lnTo>
                  <a:lnTo>
                    <a:pt x="467" y="51"/>
                  </a:lnTo>
                  <a:lnTo>
                    <a:pt x="467" y="51"/>
                  </a:lnTo>
                  <a:lnTo>
                    <a:pt x="465" y="51"/>
                  </a:lnTo>
                  <a:lnTo>
                    <a:pt x="465" y="49"/>
                  </a:lnTo>
                  <a:lnTo>
                    <a:pt x="465" y="49"/>
                  </a:lnTo>
                  <a:lnTo>
                    <a:pt x="465" y="49"/>
                  </a:lnTo>
                  <a:lnTo>
                    <a:pt x="463" y="51"/>
                  </a:lnTo>
                  <a:lnTo>
                    <a:pt x="463" y="51"/>
                  </a:lnTo>
                  <a:lnTo>
                    <a:pt x="461" y="53"/>
                  </a:lnTo>
                  <a:lnTo>
                    <a:pt x="461" y="55"/>
                  </a:lnTo>
                  <a:lnTo>
                    <a:pt x="453" y="63"/>
                  </a:lnTo>
                  <a:lnTo>
                    <a:pt x="453" y="63"/>
                  </a:lnTo>
                  <a:lnTo>
                    <a:pt x="453" y="63"/>
                  </a:lnTo>
                  <a:lnTo>
                    <a:pt x="451" y="65"/>
                  </a:lnTo>
                  <a:lnTo>
                    <a:pt x="451" y="65"/>
                  </a:lnTo>
                  <a:lnTo>
                    <a:pt x="449" y="65"/>
                  </a:lnTo>
                  <a:lnTo>
                    <a:pt x="449" y="65"/>
                  </a:lnTo>
                  <a:lnTo>
                    <a:pt x="446" y="65"/>
                  </a:lnTo>
                  <a:lnTo>
                    <a:pt x="446" y="65"/>
                  </a:lnTo>
                  <a:lnTo>
                    <a:pt x="444" y="70"/>
                  </a:lnTo>
                  <a:lnTo>
                    <a:pt x="444" y="70"/>
                  </a:lnTo>
                  <a:lnTo>
                    <a:pt x="444" y="70"/>
                  </a:lnTo>
                  <a:lnTo>
                    <a:pt x="442" y="70"/>
                  </a:lnTo>
                  <a:lnTo>
                    <a:pt x="442" y="72"/>
                  </a:lnTo>
                  <a:lnTo>
                    <a:pt x="442" y="72"/>
                  </a:lnTo>
                  <a:lnTo>
                    <a:pt x="442" y="72"/>
                  </a:lnTo>
                  <a:lnTo>
                    <a:pt x="442" y="72"/>
                  </a:lnTo>
                  <a:lnTo>
                    <a:pt x="444" y="72"/>
                  </a:lnTo>
                  <a:lnTo>
                    <a:pt x="444" y="72"/>
                  </a:lnTo>
                  <a:lnTo>
                    <a:pt x="444" y="72"/>
                  </a:lnTo>
                  <a:lnTo>
                    <a:pt x="444" y="74"/>
                  </a:lnTo>
                  <a:lnTo>
                    <a:pt x="444" y="76"/>
                  </a:lnTo>
                  <a:lnTo>
                    <a:pt x="444" y="76"/>
                  </a:lnTo>
                  <a:lnTo>
                    <a:pt x="444" y="76"/>
                  </a:lnTo>
                  <a:lnTo>
                    <a:pt x="444" y="76"/>
                  </a:lnTo>
                  <a:lnTo>
                    <a:pt x="446" y="78"/>
                  </a:lnTo>
                  <a:lnTo>
                    <a:pt x="446" y="78"/>
                  </a:lnTo>
                  <a:lnTo>
                    <a:pt x="446" y="78"/>
                  </a:lnTo>
                  <a:lnTo>
                    <a:pt x="446" y="78"/>
                  </a:lnTo>
                  <a:lnTo>
                    <a:pt x="446" y="78"/>
                  </a:lnTo>
                  <a:lnTo>
                    <a:pt x="446" y="80"/>
                  </a:lnTo>
                  <a:lnTo>
                    <a:pt x="446" y="80"/>
                  </a:lnTo>
                  <a:lnTo>
                    <a:pt x="449" y="84"/>
                  </a:lnTo>
                  <a:lnTo>
                    <a:pt x="449" y="84"/>
                  </a:lnTo>
                  <a:lnTo>
                    <a:pt x="451" y="86"/>
                  </a:lnTo>
                  <a:lnTo>
                    <a:pt x="451" y="86"/>
                  </a:lnTo>
                  <a:lnTo>
                    <a:pt x="451" y="86"/>
                  </a:lnTo>
                  <a:lnTo>
                    <a:pt x="455" y="86"/>
                  </a:lnTo>
                  <a:lnTo>
                    <a:pt x="457" y="89"/>
                  </a:lnTo>
                  <a:lnTo>
                    <a:pt x="461" y="91"/>
                  </a:lnTo>
                  <a:lnTo>
                    <a:pt x="461" y="91"/>
                  </a:lnTo>
                  <a:lnTo>
                    <a:pt x="463" y="91"/>
                  </a:lnTo>
                  <a:lnTo>
                    <a:pt x="467" y="91"/>
                  </a:lnTo>
                  <a:lnTo>
                    <a:pt x="467" y="91"/>
                  </a:lnTo>
                  <a:lnTo>
                    <a:pt x="467" y="91"/>
                  </a:lnTo>
                  <a:lnTo>
                    <a:pt x="467" y="91"/>
                  </a:lnTo>
                  <a:lnTo>
                    <a:pt x="470" y="91"/>
                  </a:lnTo>
                  <a:lnTo>
                    <a:pt x="470" y="91"/>
                  </a:lnTo>
                  <a:lnTo>
                    <a:pt x="470" y="91"/>
                  </a:lnTo>
                  <a:lnTo>
                    <a:pt x="470" y="93"/>
                  </a:lnTo>
                  <a:lnTo>
                    <a:pt x="470" y="93"/>
                  </a:lnTo>
                  <a:lnTo>
                    <a:pt x="470" y="97"/>
                  </a:lnTo>
                  <a:lnTo>
                    <a:pt x="470" y="97"/>
                  </a:lnTo>
                  <a:lnTo>
                    <a:pt x="472" y="97"/>
                  </a:lnTo>
                  <a:lnTo>
                    <a:pt x="470" y="97"/>
                  </a:lnTo>
                  <a:lnTo>
                    <a:pt x="470" y="97"/>
                  </a:lnTo>
                  <a:lnTo>
                    <a:pt x="467" y="93"/>
                  </a:lnTo>
                  <a:lnTo>
                    <a:pt x="465" y="93"/>
                  </a:lnTo>
                  <a:lnTo>
                    <a:pt x="465" y="93"/>
                  </a:lnTo>
                  <a:lnTo>
                    <a:pt x="465" y="93"/>
                  </a:lnTo>
                  <a:lnTo>
                    <a:pt x="463" y="93"/>
                  </a:lnTo>
                  <a:lnTo>
                    <a:pt x="463" y="93"/>
                  </a:lnTo>
                  <a:lnTo>
                    <a:pt x="463" y="93"/>
                  </a:lnTo>
                  <a:lnTo>
                    <a:pt x="461" y="93"/>
                  </a:lnTo>
                  <a:lnTo>
                    <a:pt x="461" y="93"/>
                  </a:lnTo>
                  <a:lnTo>
                    <a:pt x="461" y="95"/>
                  </a:lnTo>
                  <a:lnTo>
                    <a:pt x="459" y="95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57" y="95"/>
                  </a:lnTo>
                  <a:lnTo>
                    <a:pt x="457" y="97"/>
                  </a:lnTo>
                  <a:lnTo>
                    <a:pt x="455" y="97"/>
                  </a:lnTo>
                  <a:lnTo>
                    <a:pt x="455" y="99"/>
                  </a:lnTo>
                  <a:lnTo>
                    <a:pt x="453" y="101"/>
                  </a:lnTo>
                  <a:lnTo>
                    <a:pt x="453" y="101"/>
                  </a:lnTo>
                  <a:lnTo>
                    <a:pt x="453" y="101"/>
                  </a:lnTo>
                  <a:lnTo>
                    <a:pt x="455" y="101"/>
                  </a:lnTo>
                  <a:lnTo>
                    <a:pt x="457" y="103"/>
                  </a:lnTo>
                  <a:lnTo>
                    <a:pt x="461" y="105"/>
                  </a:lnTo>
                  <a:lnTo>
                    <a:pt x="461" y="105"/>
                  </a:lnTo>
                  <a:lnTo>
                    <a:pt x="463" y="105"/>
                  </a:lnTo>
                  <a:lnTo>
                    <a:pt x="465" y="103"/>
                  </a:lnTo>
                  <a:lnTo>
                    <a:pt x="467" y="103"/>
                  </a:lnTo>
                  <a:lnTo>
                    <a:pt x="467" y="103"/>
                  </a:lnTo>
                  <a:lnTo>
                    <a:pt x="472" y="103"/>
                  </a:lnTo>
                  <a:lnTo>
                    <a:pt x="472" y="103"/>
                  </a:lnTo>
                  <a:lnTo>
                    <a:pt x="474" y="101"/>
                  </a:lnTo>
                  <a:lnTo>
                    <a:pt x="476" y="101"/>
                  </a:lnTo>
                  <a:lnTo>
                    <a:pt x="476" y="99"/>
                  </a:lnTo>
                  <a:lnTo>
                    <a:pt x="476" y="97"/>
                  </a:lnTo>
                  <a:lnTo>
                    <a:pt x="476" y="95"/>
                  </a:lnTo>
                  <a:lnTo>
                    <a:pt x="480" y="91"/>
                  </a:lnTo>
                  <a:lnTo>
                    <a:pt x="480" y="89"/>
                  </a:lnTo>
                  <a:lnTo>
                    <a:pt x="482" y="84"/>
                  </a:lnTo>
                  <a:lnTo>
                    <a:pt x="482" y="82"/>
                  </a:lnTo>
                  <a:lnTo>
                    <a:pt x="482" y="82"/>
                  </a:lnTo>
                  <a:lnTo>
                    <a:pt x="482" y="82"/>
                  </a:lnTo>
                  <a:close/>
                  <a:moveTo>
                    <a:pt x="532" y="215"/>
                  </a:moveTo>
                  <a:lnTo>
                    <a:pt x="532" y="215"/>
                  </a:lnTo>
                  <a:lnTo>
                    <a:pt x="532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4" y="213"/>
                  </a:lnTo>
                  <a:lnTo>
                    <a:pt x="534" y="213"/>
                  </a:lnTo>
                  <a:lnTo>
                    <a:pt x="532" y="213"/>
                  </a:lnTo>
                  <a:lnTo>
                    <a:pt x="532" y="215"/>
                  </a:lnTo>
                  <a:close/>
                  <a:moveTo>
                    <a:pt x="444" y="5"/>
                  </a:moveTo>
                  <a:lnTo>
                    <a:pt x="444" y="2"/>
                  </a:lnTo>
                  <a:lnTo>
                    <a:pt x="444" y="2"/>
                  </a:lnTo>
                  <a:lnTo>
                    <a:pt x="444" y="0"/>
                  </a:lnTo>
                  <a:lnTo>
                    <a:pt x="446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42" y="0"/>
                  </a:lnTo>
                  <a:lnTo>
                    <a:pt x="442" y="2"/>
                  </a:lnTo>
                  <a:lnTo>
                    <a:pt x="442" y="2"/>
                  </a:lnTo>
                  <a:lnTo>
                    <a:pt x="440" y="5"/>
                  </a:lnTo>
                  <a:lnTo>
                    <a:pt x="440" y="5"/>
                  </a:lnTo>
                  <a:lnTo>
                    <a:pt x="438" y="7"/>
                  </a:lnTo>
                  <a:lnTo>
                    <a:pt x="438" y="7"/>
                  </a:lnTo>
                  <a:lnTo>
                    <a:pt x="438" y="7"/>
                  </a:lnTo>
                  <a:lnTo>
                    <a:pt x="438" y="7"/>
                  </a:lnTo>
                  <a:lnTo>
                    <a:pt x="438" y="7"/>
                  </a:lnTo>
                  <a:lnTo>
                    <a:pt x="438" y="7"/>
                  </a:lnTo>
                  <a:lnTo>
                    <a:pt x="440" y="9"/>
                  </a:lnTo>
                  <a:lnTo>
                    <a:pt x="440" y="9"/>
                  </a:lnTo>
                  <a:lnTo>
                    <a:pt x="442" y="9"/>
                  </a:lnTo>
                  <a:lnTo>
                    <a:pt x="442" y="9"/>
                  </a:lnTo>
                  <a:lnTo>
                    <a:pt x="442" y="9"/>
                  </a:lnTo>
                  <a:lnTo>
                    <a:pt x="442" y="9"/>
                  </a:lnTo>
                  <a:lnTo>
                    <a:pt x="444" y="7"/>
                  </a:lnTo>
                  <a:lnTo>
                    <a:pt x="444" y="5"/>
                  </a:lnTo>
                  <a:close/>
                  <a:moveTo>
                    <a:pt x="436" y="80"/>
                  </a:moveTo>
                  <a:lnTo>
                    <a:pt x="436" y="80"/>
                  </a:lnTo>
                  <a:lnTo>
                    <a:pt x="434" y="80"/>
                  </a:lnTo>
                  <a:lnTo>
                    <a:pt x="434" y="82"/>
                  </a:lnTo>
                  <a:lnTo>
                    <a:pt x="436" y="82"/>
                  </a:lnTo>
                  <a:lnTo>
                    <a:pt x="436" y="82"/>
                  </a:lnTo>
                  <a:lnTo>
                    <a:pt x="436" y="82"/>
                  </a:lnTo>
                  <a:lnTo>
                    <a:pt x="436" y="82"/>
                  </a:lnTo>
                  <a:lnTo>
                    <a:pt x="436" y="80"/>
                  </a:lnTo>
                  <a:lnTo>
                    <a:pt x="436" y="80"/>
                  </a:lnTo>
                  <a:close/>
                  <a:moveTo>
                    <a:pt x="449" y="93"/>
                  </a:moveTo>
                  <a:lnTo>
                    <a:pt x="446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4" y="91"/>
                  </a:lnTo>
                  <a:lnTo>
                    <a:pt x="444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93"/>
                  </a:lnTo>
                  <a:lnTo>
                    <a:pt x="446" y="93"/>
                  </a:lnTo>
                  <a:lnTo>
                    <a:pt x="446" y="93"/>
                  </a:lnTo>
                  <a:lnTo>
                    <a:pt x="446" y="93"/>
                  </a:lnTo>
                  <a:lnTo>
                    <a:pt x="446" y="93"/>
                  </a:lnTo>
                  <a:lnTo>
                    <a:pt x="446" y="95"/>
                  </a:lnTo>
                  <a:lnTo>
                    <a:pt x="446" y="95"/>
                  </a:lnTo>
                  <a:lnTo>
                    <a:pt x="449" y="93"/>
                  </a:lnTo>
                  <a:lnTo>
                    <a:pt x="449" y="93"/>
                  </a:lnTo>
                  <a:close/>
                  <a:moveTo>
                    <a:pt x="455" y="105"/>
                  </a:moveTo>
                  <a:lnTo>
                    <a:pt x="453" y="105"/>
                  </a:lnTo>
                  <a:lnTo>
                    <a:pt x="453" y="107"/>
                  </a:lnTo>
                  <a:lnTo>
                    <a:pt x="453" y="107"/>
                  </a:lnTo>
                  <a:lnTo>
                    <a:pt x="451" y="110"/>
                  </a:lnTo>
                  <a:lnTo>
                    <a:pt x="451" y="110"/>
                  </a:lnTo>
                  <a:lnTo>
                    <a:pt x="451" y="110"/>
                  </a:lnTo>
                  <a:lnTo>
                    <a:pt x="453" y="110"/>
                  </a:lnTo>
                  <a:lnTo>
                    <a:pt x="453" y="110"/>
                  </a:lnTo>
                  <a:lnTo>
                    <a:pt x="453" y="110"/>
                  </a:lnTo>
                  <a:lnTo>
                    <a:pt x="455" y="110"/>
                  </a:lnTo>
                  <a:lnTo>
                    <a:pt x="457" y="107"/>
                  </a:lnTo>
                  <a:lnTo>
                    <a:pt x="455" y="107"/>
                  </a:lnTo>
                  <a:lnTo>
                    <a:pt x="455" y="105"/>
                  </a:lnTo>
                  <a:close/>
                  <a:moveTo>
                    <a:pt x="449" y="110"/>
                  </a:moveTo>
                  <a:lnTo>
                    <a:pt x="449" y="110"/>
                  </a:lnTo>
                  <a:lnTo>
                    <a:pt x="449" y="112"/>
                  </a:lnTo>
                  <a:lnTo>
                    <a:pt x="449" y="112"/>
                  </a:lnTo>
                  <a:lnTo>
                    <a:pt x="449" y="112"/>
                  </a:lnTo>
                  <a:lnTo>
                    <a:pt x="449" y="114"/>
                  </a:lnTo>
                  <a:lnTo>
                    <a:pt x="449" y="112"/>
                  </a:lnTo>
                  <a:lnTo>
                    <a:pt x="449" y="110"/>
                  </a:lnTo>
                  <a:lnTo>
                    <a:pt x="449" y="110"/>
                  </a:lnTo>
                  <a:close/>
                  <a:moveTo>
                    <a:pt x="453" y="105"/>
                  </a:moveTo>
                  <a:lnTo>
                    <a:pt x="453" y="105"/>
                  </a:lnTo>
                  <a:lnTo>
                    <a:pt x="453" y="105"/>
                  </a:lnTo>
                  <a:lnTo>
                    <a:pt x="453" y="103"/>
                  </a:lnTo>
                  <a:lnTo>
                    <a:pt x="451" y="103"/>
                  </a:lnTo>
                  <a:lnTo>
                    <a:pt x="451" y="103"/>
                  </a:lnTo>
                  <a:lnTo>
                    <a:pt x="449" y="103"/>
                  </a:lnTo>
                  <a:lnTo>
                    <a:pt x="449" y="105"/>
                  </a:lnTo>
                  <a:lnTo>
                    <a:pt x="451" y="105"/>
                  </a:lnTo>
                  <a:lnTo>
                    <a:pt x="451" y="105"/>
                  </a:lnTo>
                  <a:lnTo>
                    <a:pt x="451" y="105"/>
                  </a:lnTo>
                  <a:lnTo>
                    <a:pt x="453" y="105"/>
                  </a:lnTo>
                  <a:close/>
                  <a:moveTo>
                    <a:pt x="88" y="479"/>
                  </a:moveTo>
                  <a:lnTo>
                    <a:pt x="88" y="479"/>
                  </a:lnTo>
                  <a:lnTo>
                    <a:pt x="88" y="481"/>
                  </a:lnTo>
                  <a:lnTo>
                    <a:pt x="88" y="481"/>
                  </a:lnTo>
                  <a:lnTo>
                    <a:pt x="88" y="481"/>
                  </a:lnTo>
                  <a:lnTo>
                    <a:pt x="88" y="481"/>
                  </a:lnTo>
                  <a:lnTo>
                    <a:pt x="90" y="481"/>
                  </a:lnTo>
                  <a:lnTo>
                    <a:pt x="88" y="479"/>
                  </a:lnTo>
                  <a:lnTo>
                    <a:pt x="88" y="479"/>
                  </a:lnTo>
                  <a:close/>
                  <a:moveTo>
                    <a:pt x="51" y="370"/>
                  </a:moveTo>
                  <a:lnTo>
                    <a:pt x="48" y="368"/>
                  </a:lnTo>
                  <a:lnTo>
                    <a:pt x="46" y="366"/>
                  </a:lnTo>
                  <a:lnTo>
                    <a:pt x="44" y="366"/>
                  </a:lnTo>
                  <a:lnTo>
                    <a:pt x="44" y="366"/>
                  </a:lnTo>
                  <a:lnTo>
                    <a:pt x="42" y="364"/>
                  </a:lnTo>
                  <a:lnTo>
                    <a:pt x="42" y="366"/>
                  </a:lnTo>
                  <a:lnTo>
                    <a:pt x="42" y="368"/>
                  </a:lnTo>
                  <a:lnTo>
                    <a:pt x="42" y="372"/>
                  </a:lnTo>
                  <a:lnTo>
                    <a:pt x="44" y="372"/>
                  </a:lnTo>
                  <a:lnTo>
                    <a:pt x="48" y="374"/>
                  </a:lnTo>
                  <a:lnTo>
                    <a:pt x="51" y="376"/>
                  </a:lnTo>
                  <a:lnTo>
                    <a:pt x="51" y="376"/>
                  </a:lnTo>
                  <a:lnTo>
                    <a:pt x="51" y="376"/>
                  </a:lnTo>
                  <a:lnTo>
                    <a:pt x="53" y="376"/>
                  </a:lnTo>
                  <a:lnTo>
                    <a:pt x="53" y="374"/>
                  </a:lnTo>
                  <a:lnTo>
                    <a:pt x="51" y="372"/>
                  </a:lnTo>
                  <a:lnTo>
                    <a:pt x="51" y="370"/>
                  </a:lnTo>
                  <a:close/>
                  <a:moveTo>
                    <a:pt x="57" y="368"/>
                  </a:moveTo>
                  <a:lnTo>
                    <a:pt x="55" y="366"/>
                  </a:lnTo>
                  <a:lnTo>
                    <a:pt x="51" y="366"/>
                  </a:lnTo>
                  <a:lnTo>
                    <a:pt x="51" y="366"/>
                  </a:lnTo>
                  <a:lnTo>
                    <a:pt x="53" y="368"/>
                  </a:lnTo>
                  <a:lnTo>
                    <a:pt x="53" y="370"/>
                  </a:lnTo>
                  <a:lnTo>
                    <a:pt x="53" y="370"/>
                  </a:lnTo>
                  <a:lnTo>
                    <a:pt x="57" y="372"/>
                  </a:lnTo>
                  <a:lnTo>
                    <a:pt x="57" y="372"/>
                  </a:lnTo>
                  <a:lnTo>
                    <a:pt x="59" y="374"/>
                  </a:lnTo>
                  <a:lnTo>
                    <a:pt x="59" y="376"/>
                  </a:lnTo>
                  <a:lnTo>
                    <a:pt x="61" y="376"/>
                  </a:lnTo>
                  <a:lnTo>
                    <a:pt x="61" y="376"/>
                  </a:lnTo>
                  <a:lnTo>
                    <a:pt x="61" y="374"/>
                  </a:lnTo>
                  <a:lnTo>
                    <a:pt x="59" y="372"/>
                  </a:lnTo>
                  <a:lnTo>
                    <a:pt x="57" y="368"/>
                  </a:lnTo>
                  <a:close/>
                  <a:moveTo>
                    <a:pt x="74" y="355"/>
                  </a:moveTo>
                  <a:lnTo>
                    <a:pt x="74" y="355"/>
                  </a:lnTo>
                  <a:lnTo>
                    <a:pt x="76" y="355"/>
                  </a:lnTo>
                  <a:lnTo>
                    <a:pt x="76" y="355"/>
                  </a:lnTo>
                  <a:lnTo>
                    <a:pt x="76" y="355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3"/>
                  </a:lnTo>
                  <a:lnTo>
                    <a:pt x="76" y="351"/>
                  </a:lnTo>
                  <a:lnTo>
                    <a:pt x="78" y="351"/>
                  </a:lnTo>
                  <a:lnTo>
                    <a:pt x="78" y="351"/>
                  </a:lnTo>
                  <a:lnTo>
                    <a:pt x="78" y="351"/>
                  </a:lnTo>
                  <a:lnTo>
                    <a:pt x="78" y="349"/>
                  </a:lnTo>
                  <a:lnTo>
                    <a:pt x="78" y="349"/>
                  </a:lnTo>
                  <a:lnTo>
                    <a:pt x="78" y="349"/>
                  </a:lnTo>
                  <a:lnTo>
                    <a:pt x="78" y="349"/>
                  </a:lnTo>
                  <a:lnTo>
                    <a:pt x="80" y="349"/>
                  </a:lnTo>
                  <a:lnTo>
                    <a:pt x="82" y="343"/>
                  </a:lnTo>
                  <a:lnTo>
                    <a:pt x="82" y="341"/>
                  </a:lnTo>
                  <a:lnTo>
                    <a:pt x="80" y="339"/>
                  </a:lnTo>
                  <a:lnTo>
                    <a:pt x="80" y="339"/>
                  </a:lnTo>
                  <a:lnTo>
                    <a:pt x="80" y="339"/>
                  </a:lnTo>
                  <a:lnTo>
                    <a:pt x="80" y="336"/>
                  </a:lnTo>
                  <a:lnTo>
                    <a:pt x="78" y="336"/>
                  </a:lnTo>
                  <a:lnTo>
                    <a:pt x="76" y="336"/>
                  </a:lnTo>
                  <a:lnTo>
                    <a:pt x="76" y="336"/>
                  </a:lnTo>
                  <a:lnTo>
                    <a:pt x="74" y="336"/>
                  </a:lnTo>
                  <a:lnTo>
                    <a:pt x="76" y="339"/>
                  </a:lnTo>
                  <a:lnTo>
                    <a:pt x="76" y="341"/>
                  </a:lnTo>
                  <a:lnTo>
                    <a:pt x="76" y="341"/>
                  </a:lnTo>
                  <a:lnTo>
                    <a:pt x="76" y="343"/>
                  </a:lnTo>
                  <a:lnTo>
                    <a:pt x="74" y="341"/>
                  </a:lnTo>
                  <a:lnTo>
                    <a:pt x="72" y="336"/>
                  </a:lnTo>
                  <a:lnTo>
                    <a:pt x="69" y="336"/>
                  </a:lnTo>
                  <a:lnTo>
                    <a:pt x="69" y="339"/>
                  </a:lnTo>
                  <a:lnTo>
                    <a:pt x="67" y="341"/>
                  </a:lnTo>
                  <a:lnTo>
                    <a:pt x="67" y="343"/>
                  </a:lnTo>
                  <a:lnTo>
                    <a:pt x="65" y="343"/>
                  </a:lnTo>
                  <a:lnTo>
                    <a:pt x="63" y="341"/>
                  </a:lnTo>
                  <a:lnTo>
                    <a:pt x="63" y="341"/>
                  </a:lnTo>
                  <a:lnTo>
                    <a:pt x="61" y="343"/>
                  </a:lnTo>
                  <a:lnTo>
                    <a:pt x="61" y="343"/>
                  </a:lnTo>
                  <a:lnTo>
                    <a:pt x="61" y="343"/>
                  </a:lnTo>
                  <a:lnTo>
                    <a:pt x="63" y="345"/>
                  </a:lnTo>
                  <a:lnTo>
                    <a:pt x="63" y="345"/>
                  </a:lnTo>
                  <a:lnTo>
                    <a:pt x="63" y="347"/>
                  </a:lnTo>
                  <a:lnTo>
                    <a:pt x="63" y="347"/>
                  </a:lnTo>
                  <a:lnTo>
                    <a:pt x="61" y="347"/>
                  </a:lnTo>
                  <a:lnTo>
                    <a:pt x="59" y="345"/>
                  </a:lnTo>
                  <a:lnTo>
                    <a:pt x="59" y="345"/>
                  </a:lnTo>
                  <a:lnTo>
                    <a:pt x="57" y="347"/>
                  </a:lnTo>
                  <a:lnTo>
                    <a:pt x="59" y="347"/>
                  </a:lnTo>
                  <a:lnTo>
                    <a:pt x="59" y="349"/>
                  </a:lnTo>
                  <a:lnTo>
                    <a:pt x="63" y="353"/>
                  </a:lnTo>
                  <a:lnTo>
                    <a:pt x="63" y="353"/>
                  </a:lnTo>
                  <a:lnTo>
                    <a:pt x="63" y="353"/>
                  </a:lnTo>
                  <a:lnTo>
                    <a:pt x="65" y="353"/>
                  </a:lnTo>
                  <a:lnTo>
                    <a:pt x="67" y="353"/>
                  </a:lnTo>
                  <a:lnTo>
                    <a:pt x="69" y="355"/>
                  </a:lnTo>
                  <a:lnTo>
                    <a:pt x="72" y="355"/>
                  </a:lnTo>
                  <a:lnTo>
                    <a:pt x="74" y="355"/>
                  </a:lnTo>
                  <a:close/>
                  <a:moveTo>
                    <a:pt x="63" y="355"/>
                  </a:moveTo>
                  <a:lnTo>
                    <a:pt x="61" y="355"/>
                  </a:lnTo>
                  <a:lnTo>
                    <a:pt x="59" y="353"/>
                  </a:lnTo>
                  <a:lnTo>
                    <a:pt x="57" y="353"/>
                  </a:lnTo>
                  <a:lnTo>
                    <a:pt x="55" y="351"/>
                  </a:lnTo>
                  <a:lnTo>
                    <a:pt x="55" y="353"/>
                  </a:lnTo>
                  <a:lnTo>
                    <a:pt x="55" y="353"/>
                  </a:lnTo>
                  <a:lnTo>
                    <a:pt x="53" y="353"/>
                  </a:lnTo>
                  <a:lnTo>
                    <a:pt x="53" y="353"/>
                  </a:lnTo>
                  <a:lnTo>
                    <a:pt x="53" y="353"/>
                  </a:lnTo>
                  <a:lnTo>
                    <a:pt x="53" y="355"/>
                  </a:lnTo>
                  <a:lnTo>
                    <a:pt x="53" y="357"/>
                  </a:lnTo>
                  <a:lnTo>
                    <a:pt x="53" y="357"/>
                  </a:lnTo>
                  <a:lnTo>
                    <a:pt x="59" y="360"/>
                  </a:lnTo>
                  <a:lnTo>
                    <a:pt x="59" y="362"/>
                  </a:lnTo>
                  <a:lnTo>
                    <a:pt x="61" y="362"/>
                  </a:lnTo>
                  <a:lnTo>
                    <a:pt x="61" y="360"/>
                  </a:lnTo>
                  <a:lnTo>
                    <a:pt x="63" y="360"/>
                  </a:lnTo>
                  <a:lnTo>
                    <a:pt x="63" y="360"/>
                  </a:lnTo>
                  <a:lnTo>
                    <a:pt x="63" y="357"/>
                  </a:lnTo>
                  <a:lnTo>
                    <a:pt x="63" y="357"/>
                  </a:lnTo>
                  <a:lnTo>
                    <a:pt x="63" y="355"/>
                  </a:lnTo>
                  <a:close/>
                  <a:moveTo>
                    <a:pt x="74" y="360"/>
                  </a:moveTo>
                  <a:lnTo>
                    <a:pt x="74" y="357"/>
                  </a:lnTo>
                  <a:lnTo>
                    <a:pt x="74" y="357"/>
                  </a:lnTo>
                  <a:lnTo>
                    <a:pt x="72" y="357"/>
                  </a:lnTo>
                  <a:lnTo>
                    <a:pt x="72" y="357"/>
                  </a:lnTo>
                  <a:lnTo>
                    <a:pt x="72" y="357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4" y="362"/>
                  </a:lnTo>
                  <a:lnTo>
                    <a:pt x="74" y="362"/>
                  </a:lnTo>
                  <a:lnTo>
                    <a:pt x="74" y="360"/>
                  </a:lnTo>
                  <a:lnTo>
                    <a:pt x="74" y="360"/>
                  </a:lnTo>
                  <a:close/>
                  <a:moveTo>
                    <a:pt x="72" y="362"/>
                  </a:moveTo>
                  <a:lnTo>
                    <a:pt x="72" y="362"/>
                  </a:lnTo>
                  <a:lnTo>
                    <a:pt x="72" y="364"/>
                  </a:lnTo>
                  <a:lnTo>
                    <a:pt x="72" y="364"/>
                  </a:lnTo>
                  <a:lnTo>
                    <a:pt x="69" y="364"/>
                  </a:lnTo>
                  <a:lnTo>
                    <a:pt x="72" y="364"/>
                  </a:lnTo>
                  <a:lnTo>
                    <a:pt x="72" y="366"/>
                  </a:lnTo>
                  <a:lnTo>
                    <a:pt x="72" y="366"/>
                  </a:lnTo>
                  <a:lnTo>
                    <a:pt x="72" y="364"/>
                  </a:lnTo>
                  <a:lnTo>
                    <a:pt x="72" y="364"/>
                  </a:lnTo>
                  <a:lnTo>
                    <a:pt x="72" y="364"/>
                  </a:lnTo>
                  <a:lnTo>
                    <a:pt x="72" y="364"/>
                  </a:lnTo>
                  <a:lnTo>
                    <a:pt x="72" y="362"/>
                  </a:lnTo>
                  <a:lnTo>
                    <a:pt x="72" y="362"/>
                  </a:lnTo>
                  <a:lnTo>
                    <a:pt x="72" y="362"/>
                  </a:lnTo>
                  <a:close/>
                  <a:moveTo>
                    <a:pt x="42" y="379"/>
                  </a:moveTo>
                  <a:lnTo>
                    <a:pt x="40" y="381"/>
                  </a:lnTo>
                  <a:lnTo>
                    <a:pt x="38" y="381"/>
                  </a:lnTo>
                  <a:lnTo>
                    <a:pt x="38" y="381"/>
                  </a:lnTo>
                  <a:lnTo>
                    <a:pt x="38" y="381"/>
                  </a:lnTo>
                  <a:lnTo>
                    <a:pt x="38" y="381"/>
                  </a:lnTo>
                  <a:lnTo>
                    <a:pt x="38" y="383"/>
                  </a:lnTo>
                  <a:lnTo>
                    <a:pt x="40" y="383"/>
                  </a:lnTo>
                  <a:lnTo>
                    <a:pt x="42" y="383"/>
                  </a:lnTo>
                  <a:lnTo>
                    <a:pt x="42" y="385"/>
                  </a:lnTo>
                  <a:lnTo>
                    <a:pt x="42" y="383"/>
                  </a:lnTo>
                  <a:lnTo>
                    <a:pt x="42" y="383"/>
                  </a:lnTo>
                  <a:lnTo>
                    <a:pt x="42" y="381"/>
                  </a:lnTo>
                  <a:lnTo>
                    <a:pt x="42" y="381"/>
                  </a:lnTo>
                  <a:lnTo>
                    <a:pt x="42" y="381"/>
                  </a:lnTo>
                  <a:lnTo>
                    <a:pt x="44" y="381"/>
                  </a:lnTo>
                  <a:lnTo>
                    <a:pt x="44" y="379"/>
                  </a:lnTo>
                  <a:lnTo>
                    <a:pt x="42" y="379"/>
                  </a:lnTo>
                  <a:lnTo>
                    <a:pt x="42" y="379"/>
                  </a:lnTo>
                  <a:close/>
                  <a:moveTo>
                    <a:pt x="23" y="374"/>
                  </a:moveTo>
                  <a:lnTo>
                    <a:pt x="23" y="374"/>
                  </a:lnTo>
                  <a:lnTo>
                    <a:pt x="23" y="374"/>
                  </a:lnTo>
                  <a:lnTo>
                    <a:pt x="23" y="374"/>
                  </a:lnTo>
                  <a:lnTo>
                    <a:pt x="23" y="376"/>
                  </a:lnTo>
                  <a:lnTo>
                    <a:pt x="23" y="379"/>
                  </a:lnTo>
                  <a:lnTo>
                    <a:pt x="23" y="376"/>
                  </a:lnTo>
                  <a:lnTo>
                    <a:pt x="25" y="376"/>
                  </a:lnTo>
                  <a:lnTo>
                    <a:pt x="25" y="376"/>
                  </a:lnTo>
                  <a:lnTo>
                    <a:pt x="25" y="374"/>
                  </a:lnTo>
                  <a:lnTo>
                    <a:pt x="23" y="374"/>
                  </a:lnTo>
                  <a:close/>
                  <a:moveTo>
                    <a:pt x="30" y="400"/>
                  </a:moveTo>
                  <a:lnTo>
                    <a:pt x="30" y="400"/>
                  </a:lnTo>
                  <a:lnTo>
                    <a:pt x="28" y="397"/>
                  </a:lnTo>
                  <a:lnTo>
                    <a:pt x="28" y="397"/>
                  </a:lnTo>
                  <a:lnTo>
                    <a:pt x="28" y="395"/>
                  </a:lnTo>
                  <a:lnTo>
                    <a:pt x="25" y="397"/>
                  </a:lnTo>
                  <a:lnTo>
                    <a:pt x="25" y="397"/>
                  </a:lnTo>
                  <a:lnTo>
                    <a:pt x="28" y="400"/>
                  </a:lnTo>
                  <a:lnTo>
                    <a:pt x="30" y="402"/>
                  </a:lnTo>
                  <a:lnTo>
                    <a:pt x="30" y="402"/>
                  </a:lnTo>
                  <a:lnTo>
                    <a:pt x="32" y="402"/>
                  </a:lnTo>
                  <a:lnTo>
                    <a:pt x="32" y="402"/>
                  </a:lnTo>
                  <a:lnTo>
                    <a:pt x="30" y="400"/>
                  </a:lnTo>
                  <a:lnTo>
                    <a:pt x="30" y="400"/>
                  </a:lnTo>
                  <a:close/>
                  <a:moveTo>
                    <a:pt x="38" y="389"/>
                  </a:moveTo>
                  <a:lnTo>
                    <a:pt x="36" y="389"/>
                  </a:lnTo>
                  <a:lnTo>
                    <a:pt x="36" y="389"/>
                  </a:lnTo>
                  <a:lnTo>
                    <a:pt x="36" y="389"/>
                  </a:lnTo>
                  <a:lnTo>
                    <a:pt x="36" y="389"/>
                  </a:lnTo>
                  <a:lnTo>
                    <a:pt x="36" y="389"/>
                  </a:lnTo>
                  <a:lnTo>
                    <a:pt x="36" y="389"/>
                  </a:lnTo>
                  <a:lnTo>
                    <a:pt x="36" y="391"/>
                  </a:lnTo>
                  <a:lnTo>
                    <a:pt x="36" y="391"/>
                  </a:lnTo>
                  <a:lnTo>
                    <a:pt x="36" y="391"/>
                  </a:lnTo>
                  <a:lnTo>
                    <a:pt x="38" y="391"/>
                  </a:lnTo>
                  <a:lnTo>
                    <a:pt x="38" y="391"/>
                  </a:lnTo>
                  <a:lnTo>
                    <a:pt x="38" y="391"/>
                  </a:lnTo>
                  <a:lnTo>
                    <a:pt x="38" y="391"/>
                  </a:lnTo>
                  <a:lnTo>
                    <a:pt x="38" y="391"/>
                  </a:lnTo>
                  <a:lnTo>
                    <a:pt x="40" y="389"/>
                  </a:lnTo>
                  <a:lnTo>
                    <a:pt x="38" y="389"/>
                  </a:lnTo>
                  <a:lnTo>
                    <a:pt x="38" y="389"/>
                  </a:lnTo>
                  <a:close/>
                  <a:moveTo>
                    <a:pt x="76" y="389"/>
                  </a:moveTo>
                  <a:lnTo>
                    <a:pt x="76" y="387"/>
                  </a:lnTo>
                  <a:lnTo>
                    <a:pt x="76" y="387"/>
                  </a:lnTo>
                  <a:lnTo>
                    <a:pt x="74" y="389"/>
                  </a:lnTo>
                  <a:lnTo>
                    <a:pt x="76" y="389"/>
                  </a:lnTo>
                  <a:lnTo>
                    <a:pt x="76" y="389"/>
                  </a:lnTo>
                  <a:lnTo>
                    <a:pt x="76" y="391"/>
                  </a:lnTo>
                  <a:lnTo>
                    <a:pt x="76" y="391"/>
                  </a:lnTo>
                  <a:lnTo>
                    <a:pt x="76" y="391"/>
                  </a:lnTo>
                  <a:lnTo>
                    <a:pt x="76" y="391"/>
                  </a:lnTo>
                  <a:lnTo>
                    <a:pt x="76" y="389"/>
                  </a:lnTo>
                  <a:lnTo>
                    <a:pt x="78" y="389"/>
                  </a:lnTo>
                  <a:lnTo>
                    <a:pt x="76" y="389"/>
                  </a:lnTo>
                  <a:lnTo>
                    <a:pt x="76" y="389"/>
                  </a:lnTo>
                  <a:close/>
                  <a:moveTo>
                    <a:pt x="36" y="381"/>
                  </a:moveTo>
                  <a:lnTo>
                    <a:pt x="36" y="381"/>
                  </a:lnTo>
                  <a:lnTo>
                    <a:pt x="36" y="381"/>
                  </a:lnTo>
                  <a:lnTo>
                    <a:pt x="38" y="381"/>
                  </a:lnTo>
                  <a:lnTo>
                    <a:pt x="36" y="379"/>
                  </a:lnTo>
                  <a:lnTo>
                    <a:pt x="36" y="379"/>
                  </a:lnTo>
                  <a:lnTo>
                    <a:pt x="34" y="379"/>
                  </a:lnTo>
                  <a:lnTo>
                    <a:pt x="36" y="381"/>
                  </a:lnTo>
                  <a:lnTo>
                    <a:pt x="36" y="381"/>
                  </a:lnTo>
                  <a:lnTo>
                    <a:pt x="36" y="381"/>
                  </a:lnTo>
                  <a:lnTo>
                    <a:pt x="36" y="381"/>
                  </a:lnTo>
                  <a:lnTo>
                    <a:pt x="36" y="381"/>
                  </a:lnTo>
                  <a:close/>
                  <a:moveTo>
                    <a:pt x="21" y="372"/>
                  </a:moveTo>
                  <a:lnTo>
                    <a:pt x="21" y="370"/>
                  </a:lnTo>
                  <a:lnTo>
                    <a:pt x="21" y="370"/>
                  </a:lnTo>
                  <a:lnTo>
                    <a:pt x="19" y="370"/>
                  </a:lnTo>
                  <a:lnTo>
                    <a:pt x="19" y="370"/>
                  </a:lnTo>
                  <a:lnTo>
                    <a:pt x="13" y="368"/>
                  </a:lnTo>
                  <a:lnTo>
                    <a:pt x="13" y="366"/>
                  </a:lnTo>
                  <a:lnTo>
                    <a:pt x="13" y="368"/>
                  </a:lnTo>
                  <a:lnTo>
                    <a:pt x="15" y="370"/>
                  </a:lnTo>
                  <a:lnTo>
                    <a:pt x="17" y="370"/>
                  </a:lnTo>
                  <a:lnTo>
                    <a:pt x="19" y="372"/>
                  </a:lnTo>
                  <a:lnTo>
                    <a:pt x="21" y="376"/>
                  </a:lnTo>
                  <a:lnTo>
                    <a:pt x="21" y="374"/>
                  </a:lnTo>
                  <a:lnTo>
                    <a:pt x="21" y="372"/>
                  </a:lnTo>
                  <a:lnTo>
                    <a:pt x="21" y="372"/>
                  </a:lnTo>
                  <a:close/>
                  <a:moveTo>
                    <a:pt x="88" y="397"/>
                  </a:moveTo>
                  <a:lnTo>
                    <a:pt x="88" y="395"/>
                  </a:lnTo>
                  <a:lnTo>
                    <a:pt x="88" y="395"/>
                  </a:lnTo>
                  <a:lnTo>
                    <a:pt x="88" y="397"/>
                  </a:lnTo>
                  <a:lnTo>
                    <a:pt x="88" y="397"/>
                  </a:lnTo>
                  <a:lnTo>
                    <a:pt x="88" y="397"/>
                  </a:lnTo>
                  <a:lnTo>
                    <a:pt x="88" y="397"/>
                  </a:lnTo>
                  <a:lnTo>
                    <a:pt x="88" y="397"/>
                  </a:lnTo>
                  <a:lnTo>
                    <a:pt x="88" y="397"/>
                  </a:lnTo>
                  <a:lnTo>
                    <a:pt x="90" y="400"/>
                  </a:lnTo>
                  <a:lnTo>
                    <a:pt x="90" y="400"/>
                  </a:lnTo>
                  <a:lnTo>
                    <a:pt x="90" y="397"/>
                  </a:lnTo>
                  <a:lnTo>
                    <a:pt x="88" y="397"/>
                  </a:lnTo>
                  <a:close/>
                  <a:moveTo>
                    <a:pt x="92" y="389"/>
                  </a:moveTo>
                  <a:lnTo>
                    <a:pt x="92" y="389"/>
                  </a:lnTo>
                  <a:lnTo>
                    <a:pt x="95" y="387"/>
                  </a:lnTo>
                  <a:lnTo>
                    <a:pt x="92" y="385"/>
                  </a:lnTo>
                  <a:lnTo>
                    <a:pt x="90" y="383"/>
                  </a:lnTo>
                  <a:lnTo>
                    <a:pt x="88" y="383"/>
                  </a:lnTo>
                  <a:lnTo>
                    <a:pt x="88" y="383"/>
                  </a:lnTo>
                  <a:lnTo>
                    <a:pt x="90" y="385"/>
                  </a:lnTo>
                  <a:lnTo>
                    <a:pt x="92" y="389"/>
                  </a:lnTo>
                  <a:lnTo>
                    <a:pt x="92" y="389"/>
                  </a:lnTo>
                  <a:close/>
                  <a:moveTo>
                    <a:pt x="120" y="486"/>
                  </a:moveTo>
                  <a:lnTo>
                    <a:pt x="118" y="486"/>
                  </a:lnTo>
                  <a:lnTo>
                    <a:pt x="118" y="484"/>
                  </a:lnTo>
                  <a:lnTo>
                    <a:pt x="116" y="484"/>
                  </a:lnTo>
                  <a:lnTo>
                    <a:pt x="116" y="484"/>
                  </a:lnTo>
                  <a:lnTo>
                    <a:pt x="113" y="481"/>
                  </a:lnTo>
                  <a:lnTo>
                    <a:pt x="113" y="481"/>
                  </a:lnTo>
                  <a:lnTo>
                    <a:pt x="111" y="479"/>
                  </a:lnTo>
                  <a:lnTo>
                    <a:pt x="107" y="484"/>
                  </a:lnTo>
                  <a:lnTo>
                    <a:pt x="103" y="486"/>
                  </a:lnTo>
                  <a:lnTo>
                    <a:pt x="101" y="486"/>
                  </a:lnTo>
                  <a:lnTo>
                    <a:pt x="101" y="486"/>
                  </a:lnTo>
                  <a:lnTo>
                    <a:pt x="101" y="488"/>
                  </a:lnTo>
                  <a:lnTo>
                    <a:pt x="99" y="488"/>
                  </a:lnTo>
                  <a:lnTo>
                    <a:pt x="99" y="488"/>
                  </a:lnTo>
                  <a:lnTo>
                    <a:pt x="99" y="486"/>
                  </a:lnTo>
                  <a:lnTo>
                    <a:pt x="99" y="484"/>
                  </a:lnTo>
                  <a:lnTo>
                    <a:pt x="99" y="481"/>
                  </a:lnTo>
                  <a:lnTo>
                    <a:pt x="99" y="481"/>
                  </a:lnTo>
                  <a:lnTo>
                    <a:pt x="97" y="484"/>
                  </a:lnTo>
                  <a:lnTo>
                    <a:pt x="97" y="484"/>
                  </a:lnTo>
                  <a:lnTo>
                    <a:pt x="95" y="486"/>
                  </a:lnTo>
                  <a:lnTo>
                    <a:pt x="92" y="488"/>
                  </a:lnTo>
                  <a:lnTo>
                    <a:pt x="92" y="490"/>
                  </a:lnTo>
                  <a:lnTo>
                    <a:pt x="90" y="492"/>
                  </a:lnTo>
                  <a:lnTo>
                    <a:pt x="90" y="494"/>
                  </a:lnTo>
                  <a:lnTo>
                    <a:pt x="97" y="498"/>
                  </a:lnTo>
                  <a:lnTo>
                    <a:pt x="99" y="498"/>
                  </a:lnTo>
                  <a:lnTo>
                    <a:pt x="99" y="500"/>
                  </a:lnTo>
                  <a:lnTo>
                    <a:pt x="99" y="502"/>
                  </a:lnTo>
                  <a:lnTo>
                    <a:pt x="101" y="511"/>
                  </a:lnTo>
                  <a:lnTo>
                    <a:pt x="103" y="511"/>
                  </a:lnTo>
                  <a:lnTo>
                    <a:pt x="103" y="511"/>
                  </a:lnTo>
                  <a:lnTo>
                    <a:pt x="105" y="507"/>
                  </a:lnTo>
                  <a:lnTo>
                    <a:pt x="107" y="502"/>
                  </a:lnTo>
                  <a:lnTo>
                    <a:pt x="109" y="505"/>
                  </a:lnTo>
                  <a:lnTo>
                    <a:pt x="111" y="507"/>
                  </a:lnTo>
                  <a:lnTo>
                    <a:pt x="116" y="507"/>
                  </a:lnTo>
                  <a:lnTo>
                    <a:pt x="116" y="505"/>
                  </a:lnTo>
                  <a:lnTo>
                    <a:pt x="118" y="500"/>
                  </a:lnTo>
                  <a:lnTo>
                    <a:pt x="118" y="498"/>
                  </a:lnTo>
                  <a:lnTo>
                    <a:pt x="122" y="496"/>
                  </a:lnTo>
                  <a:lnTo>
                    <a:pt x="122" y="494"/>
                  </a:lnTo>
                  <a:lnTo>
                    <a:pt x="124" y="492"/>
                  </a:lnTo>
                  <a:lnTo>
                    <a:pt x="124" y="490"/>
                  </a:lnTo>
                  <a:lnTo>
                    <a:pt x="120" y="486"/>
                  </a:lnTo>
                  <a:close/>
                  <a:moveTo>
                    <a:pt x="197" y="189"/>
                  </a:moveTo>
                  <a:lnTo>
                    <a:pt x="197" y="189"/>
                  </a:lnTo>
                  <a:lnTo>
                    <a:pt x="197" y="189"/>
                  </a:lnTo>
                  <a:lnTo>
                    <a:pt x="197" y="189"/>
                  </a:lnTo>
                  <a:close/>
                  <a:moveTo>
                    <a:pt x="149" y="465"/>
                  </a:moveTo>
                  <a:lnTo>
                    <a:pt x="147" y="463"/>
                  </a:lnTo>
                  <a:lnTo>
                    <a:pt x="145" y="463"/>
                  </a:lnTo>
                  <a:lnTo>
                    <a:pt x="145" y="465"/>
                  </a:lnTo>
                  <a:lnTo>
                    <a:pt x="145" y="467"/>
                  </a:lnTo>
                  <a:lnTo>
                    <a:pt x="143" y="467"/>
                  </a:lnTo>
                  <a:lnTo>
                    <a:pt x="141" y="467"/>
                  </a:lnTo>
                  <a:lnTo>
                    <a:pt x="139" y="467"/>
                  </a:lnTo>
                  <a:lnTo>
                    <a:pt x="139" y="465"/>
                  </a:lnTo>
                  <a:lnTo>
                    <a:pt x="136" y="460"/>
                  </a:lnTo>
                  <a:lnTo>
                    <a:pt x="134" y="458"/>
                  </a:lnTo>
                  <a:lnTo>
                    <a:pt x="132" y="456"/>
                  </a:lnTo>
                  <a:lnTo>
                    <a:pt x="132" y="456"/>
                  </a:lnTo>
                  <a:lnTo>
                    <a:pt x="130" y="458"/>
                  </a:lnTo>
                  <a:lnTo>
                    <a:pt x="130" y="458"/>
                  </a:lnTo>
                  <a:lnTo>
                    <a:pt x="130" y="458"/>
                  </a:lnTo>
                  <a:lnTo>
                    <a:pt x="128" y="456"/>
                  </a:lnTo>
                  <a:lnTo>
                    <a:pt x="128" y="456"/>
                  </a:lnTo>
                  <a:lnTo>
                    <a:pt x="128" y="456"/>
                  </a:lnTo>
                  <a:lnTo>
                    <a:pt x="132" y="454"/>
                  </a:lnTo>
                  <a:lnTo>
                    <a:pt x="130" y="454"/>
                  </a:lnTo>
                  <a:lnTo>
                    <a:pt x="126" y="450"/>
                  </a:lnTo>
                  <a:lnTo>
                    <a:pt x="122" y="448"/>
                  </a:lnTo>
                  <a:lnTo>
                    <a:pt x="122" y="448"/>
                  </a:lnTo>
                  <a:lnTo>
                    <a:pt x="120" y="446"/>
                  </a:lnTo>
                  <a:lnTo>
                    <a:pt x="120" y="446"/>
                  </a:lnTo>
                  <a:lnTo>
                    <a:pt x="120" y="448"/>
                  </a:lnTo>
                  <a:lnTo>
                    <a:pt x="120" y="448"/>
                  </a:lnTo>
                  <a:lnTo>
                    <a:pt x="118" y="446"/>
                  </a:lnTo>
                  <a:lnTo>
                    <a:pt x="116" y="450"/>
                  </a:lnTo>
                  <a:lnTo>
                    <a:pt x="116" y="456"/>
                  </a:lnTo>
                  <a:lnTo>
                    <a:pt x="116" y="458"/>
                  </a:lnTo>
                  <a:lnTo>
                    <a:pt x="113" y="460"/>
                  </a:lnTo>
                  <a:lnTo>
                    <a:pt x="109" y="465"/>
                  </a:lnTo>
                  <a:lnTo>
                    <a:pt x="109" y="465"/>
                  </a:lnTo>
                  <a:lnTo>
                    <a:pt x="109" y="465"/>
                  </a:lnTo>
                  <a:lnTo>
                    <a:pt x="107" y="467"/>
                  </a:lnTo>
                  <a:lnTo>
                    <a:pt x="107" y="467"/>
                  </a:lnTo>
                  <a:lnTo>
                    <a:pt x="109" y="469"/>
                  </a:lnTo>
                  <a:lnTo>
                    <a:pt x="109" y="469"/>
                  </a:lnTo>
                  <a:lnTo>
                    <a:pt x="111" y="469"/>
                  </a:lnTo>
                  <a:lnTo>
                    <a:pt x="113" y="469"/>
                  </a:lnTo>
                  <a:lnTo>
                    <a:pt x="113" y="471"/>
                  </a:lnTo>
                  <a:lnTo>
                    <a:pt x="116" y="471"/>
                  </a:lnTo>
                  <a:lnTo>
                    <a:pt x="116" y="473"/>
                  </a:lnTo>
                  <a:lnTo>
                    <a:pt x="116" y="473"/>
                  </a:lnTo>
                  <a:lnTo>
                    <a:pt x="116" y="473"/>
                  </a:lnTo>
                  <a:lnTo>
                    <a:pt x="118" y="473"/>
                  </a:lnTo>
                  <a:lnTo>
                    <a:pt x="118" y="473"/>
                  </a:lnTo>
                  <a:lnTo>
                    <a:pt x="120" y="473"/>
                  </a:lnTo>
                  <a:lnTo>
                    <a:pt x="120" y="473"/>
                  </a:lnTo>
                  <a:lnTo>
                    <a:pt x="122" y="471"/>
                  </a:lnTo>
                  <a:lnTo>
                    <a:pt x="122" y="471"/>
                  </a:lnTo>
                  <a:lnTo>
                    <a:pt x="122" y="471"/>
                  </a:lnTo>
                  <a:lnTo>
                    <a:pt x="124" y="471"/>
                  </a:lnTo>
                  <a:lnTo>
                    <a:pt x="124" y="471"/>
                  </a:lnTo>
                  <a:lnTo>
                    <a:pt x="126" y="471"/>
                  </a:lnTo>
                  <a:lnTo>
                    <a:pt x="128" y="469"/>
                  </a:lnTo>
                  <a:lnTo>
                    <a:pt x="128" y="469"/>
                  </a:lnTo>
                  <a:lnTo>
                    <a:pt x="130" y="469"/>
                  </a:lnTo>
                  <a:lnTo>
                    <a:pt x="134" y="469"/>
                  </a:lnTo>
                  <a:lnTo>
                    <a:pt x="136" y="469"/>
                  </a:lnTo>
                  <a:lnTo>
                    <a:pt x="139" y="469"/>
                  </a:lnTo>
                  <a:lnTo>
                    <a:pt x="139" y="471"/>
                  </a:lnTo>
                  <a:lnTo>
                    <a:pt x="141" y="473"/>
                  </a:lnTo>
                  <a:lnTo>
                    <a:pt x="145" y="475"/>
                  </a:lnTo>
                  <a:lnTo>
                    <a:pt x="147" y="477"/>
                  </a:lnTo>
                  <a:lnTo>
                    <a:pt x="149" y="477"/>
                  </a:lnTo>
                  <a:lnTo>
                    <a:pt x="151" y="477"/>
                  </a:lnTo>
                  <a:lnTo>
                    <a:pt x="155" y="479"/>
                  </a:lnTo>
                  <a:lnTo>
                    <a:pt x="155" y="477"/>
                  </a:lnTo>
                  <a:lnTo>
                    <a:pt x="153" y="477"/>
                  </a:lnTo>
                  <a:lnTo>
                    <a:pt x="153" y="475"/>
                  </a:lnTo>
                  <a:lnTo>
                    <a:pt x="155" y="475"/>
                  </a:lnTo>
                  <a:lnTo>
                    <a:pt x="157" y="475"/>
                  </a:lnTo>
                  <a:lnTo>
                    <a:pt x="159" y="475"/>
                  </a:lnTo>
                  <a:lnTo>
                    <a:pt x="162" y="477"/>
                  </a:lnTo>
                  <a:lnTo>
                    <a:pt x="162" y="475"/>
                  </a:lnTo>
                  <a:lnTo>
                    <a:pt x="155" y="471"/>
                  </a:lnTo>
                  <a:lnTo>
                    <a:pt x="149" y="465"/>
                  </a:lnTo>
                  <a:close/>
                  <a:moveTo>
                    <a:pt x="222" y="154"/>
                  </a:moveTo>
                  <a:lnTo>
                    <a:pt x="222" y="156"/>
                  </a:lnTo>
                  <a:lnTo>
                    <a:pt x="222" y="156"/>
                  </a:lnTo>
                  <a:lnTo>
                    <a:pt x="222" y="156"/>
                  </a:lnTo>
                  <a:lnTo>
                    <a:pt x="222" y="156"/>
                  </a:lnTo>
                  <a:lnTo>
                    <a:pt x="222" y="156"/>
                  </a:lnTo>
                  <a:lnTo>
                    <a:pt x="222" y="158"/>
                  </a:lnTo>
                  <a:lnTo>
                    <a:pt x="222" y="158"/>
                  </a:lnTo>
                  <a:lnTo>
                    <a:pt x="222" y="158"/>
                  </a:lnTo>
                  <a:lnTo>
                    <a:pt x="222" y="156"/>
                  </a:lnTo>
                  <a:lnTo>
                    <a:pt x="224" y="158"/>
                  </a:lnTo>
                  <a:lnTo>
                    <a:pt x="224" y="156"/>
                  </a:lnTo>
                  <a:lnTo>
                    <a:pt x="222" y="156"/>
                  </a:lnTo>
                  <a:lnTo>
                    <a:pt x="222" y="154"/>
                  </a:lnTo>
                  <a:close/>
                  <a:moveTo>
                    <a:pt x="88" y="486"/>
                  </a:moveTo>
                  <a:lnTo>
                    <a:pt x="86" y="486"/>
                  </a:lnTo>
                  <a:lnTo>
                    <a:pt x="86" y="486"/>
                  </a:lnTo>
                  <a:lnTo>
                    <a:pt x="86" y="486"/>
                  </a:lnTo>
                  <a:lnTo>
                    <a:pt x="84" y="486"/>
                  </a:lnTo>
                  <a:lnTo>
                    <a:pt x="84" y="486"/>
                  </a:lnTo>
                  <a:lnTo>
                    <a:pt x="86" y="488"/>
                  </a:lnTo>
                  <a:lnTo>
                    <a:pt x="86" y="488"/>
                  </a:lnTo>
                  <a:lnTo>
                    <a:pt x="88" y="490"/>
                  </a:lnTo>
                  <a:lnTo>
                    <a:pt x="88" y="488"/>
                  </a:lnTo>
                  <a:lnTo>
                    <a:pt x="88" y="486"/>
                  </a:lnTo>
                  <a:lnTo>
                    <a:pt x="88" y="486"/>
                  </a:lnTo>
                  <a:lnTo>
                    <a:pt x="88" y="486"/>
                  </a:lnTo>
                  <a:close/>
                  <a:moveTo>
                    <a:pt x="82" y="481"/>
                  </a:moveTo>
                  <a:lnTo>
                    <a:pt x="80" y="481"/>
                  </a:lnTo>
                  <a:lnTo>
                    <a:pt x="80" y="481"/>
                  </a:lnTo>
                  <a:lnTo>
                    <a:pt x="80" y="484"/>
                  </a:lnTo>
                  <a:lnTo>
                    <a:pt x="82" y="484"/>
                  </a:lnTo>
                  <a:lnTo>
                    <a:pt x="82" y="481"/>
                  </a:lnTo>
                  <a:lnTo>
                    <a:pt x="82" y="481"/>
                  </a:lnTo>
                  <a:lnTo>
                    <a:pt x="84" y="481"/>
                  </a:lnTo>
                  <a:lnTo>
                    <a:pt x="82" y="479"/>
                  </a:lnTo>
                  <a:lnTo>
                    <a:pt x="82" y="481"/>
                  </a:lnTo>
                  <a:close/>
                  <a:moveTo>
                    <a:pt x="82" y="368"/>
                  </a:moveTo>
                  <a:lnTo>
                    <a:pt x="82" y="372"/>
                  </a:lnTo>
                  <a:lnTo>
                    <a:pt x="82" y="372"/>
                  </a:lnTo>
                  <a:lnTo>
                    <a:pt x="84" y="374"/>
                  </a:lnTo>
                  <a:lnTo>
                    <a:pt x="84" y="374"/>
                  </a:lnTo>
                  <a:lnTo>
                    <a:pt x="90" y="372"/>
                  </a:lnTo>
                  <a:lnTo>
                    <a:pt x="90" y="370"/>
                  </a:lnTo>
                  <a:lnTo>
                    <a:pt x="90" y="370"/>
                  </a:lnTo>
                  <a:lnTo>
                    <a:pt x="92" y="368"/>
                  </a:lnTo>
                  <a:lnTo>
                    <a:pt x="90" y="366"/>
                  </a:lnTo>
                  <a:lnTo>
                    <a:pt x="90" y="366"/>
                  </a:lnTo>
                  <a:lnTo>
                    <a:pt x="88" y="366"/>
                  </a:lnTo>
                  <a:lnTo>
                    <a:pt x="84" y="366"/>
                  </a:lnTo>
                  <a:lnTo>
                    <a:pt x="84" y="366"/>
                  </a:lnTo>
                  <a:lnTo>
                    <a:pt x="82" y="364"/>
                  </a:lnTo>
                  <a:lnTo>
                    <a:pt x="82" y="364"/>
                  </a:lnTo>
                  <a:lnTo>
                    <a:pt x="82" y="364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6" y="360"/>
                  </a:lnTo>
                  <a:lnTo>
                    <a:pt x="76" y="362"/>
                  </a:lnTo>
                  <a:lnTo>
                    <a:pt x="76" y="364"/>
                  </a:lnTo>
                  <a:lnTo>
                    <a:pt x="76" y="366"/>
                  </a:lnTo>
                  <a:lnTo>
                    <a:pt x="78" y="366"/>
                  </a:lnTo>
                  <a:lnTo>
                    <a:pt x="80" y="368"/>
                  </a:lnTo>
                  <a:lnTo>
                    <a:pt x="80" y="368"/>
                  </a:lnTo>
                  <a:lnTo>
                    <a:pt x="82" y="368"/>
                  </a:lnTo>
                  <a:close/>
                  <a:moveTo>
                    <a:pt x="88" y="484"/>
                  </a:moveTo>
                  <a:lnTo>
                    <a:pt x="86" y="484"/>
                  </a:lnTo>
                  <a:lnTo>
                    <a:pt x="86" y="484"/>
                  </a:lnTo>
                  <a:lnTo>
                    <a:pt x="86" y="484"/>
                  </a:lnTo>
                  <a:lnTo>
                    <a:pt x="86" y="484"/>
                  </a:lnTo>
                  <a:lnTo>
                    <a:pt x="84" y="484"/>
                  </a:lnTo>
                  <a:lnTo>
                    <a:pt x="84" y="484"/>
                  </a:lnTo>
                  <a:lnTo>
                    <a:pt x="84" y="484"/>
                  </a:lnTo>
                  <a:lnTo>
                    <a:pt x="84" y="484"/>
                  </a:lnTo>
                  <a:lnTo>
                    <a:pt x="84" y="486"/>
                  </a:lnTo>
                  <a:lnTo>
                    <a:pt x="84" y="486"/>
                  </a:lnTo>
                  <a:lnTo>
                    <a:pt x="86" y="486"/>
                  </a:lnTo>
                  <a:lnTo>
                    <a:pt x="88" y="486"/>
                  </a:lnTo>
                  <a:lnTo>
                    <a:pt x="88" y="486"/>
                  </a:lnTo>
                  <a:lnTo>
                    <a:pt x="88" y="484"/>
                  </a:lnTo>
                  <a:lnTo>
                    <a:pt x="88" y="484"/>
                  </a:lnTo>
                  <a:lnTo>
                    <a:pt x="88" y="484"/>
                  </a:lnTo>
                  <a:close/>
                  <a:moveTo>
                    <a:pt x="88" y="429"/>
                  </a:moveTo>
                  <a:lnTo>
                    <a:pt x="88" y="431"/>
                  </a:lnTo>
                  <a:lnTo>
                    <a:pt x="86" y="433"/>
                  </a:lnTo>
                  <a:lnTo>
                    <a:pt x="88" y="433"/>
                  </a:lnTo>
                  <a:lnTo>
                    <a:pt x="88" y="433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88" y="429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2" name="Freeform 103">
              <a:extLst>
                <a:ext uri="{FF2B5EF4-FFF2-40B4-BE49-F238E27FC236}">
                  <a16:creationId xmlns:a16="http://schemas.microsoft.com/office/drawing/2014/main" id="{956F6F3A-00C7-408A-8384-B5E3EE00E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8725" y="783843"/>
              <a:ext cx="417910" cy="408384"/>
            </a:xfrm>
            <a:custGeom>
              <a:avLst/>
              <a:gdLst>
                <a:gd name="T0" fmla="*/ 282 w 351"/>
                <a:gd name="T1" fmla="*/ 187 h 343"/>
                <a:gd name="T2" fmla="*/ 222 w 351"/>
                <a:gd name="T3" fmla="*/ 154 h 343"/>
                <a:gd name="T4" fmla="*/ 266 w 351"/>
                <a:gd name="T5" fmla="*/ 166 h 343"/>
                <a:gd name="T6" fmla="*/ 280 w 351"/>
                <a:gd name="T7" fmla="*/ 166 h 343"/>
                <a:gd name="T8" fmla="*/ 245 w 351"/>
                <a:gd name="T9" fmla="*/ 147 h 343"/>
                <a:gd name="T10" fmla="*/ 287 w 351"/>
                <a:gd name="T11" fmla="*/ 171 h 343"/>
                <a:gd name="T12" fmla="*/ 284 w 351"/>
                <a:gd name="T13" fmla="*/ 173 h 343"/>
                <a:gd name="T14" fmla="*/ 266 w 351"/>
                <a:gd name="T15" fmla="*/ 149 h 343"/>
                <a:gd name="T16" fmla="*/ 266 w 351"/>
                <a:gd name="T17" fmla="*/ 135 h 343"/>
                <a:gd name="T18" fmla="*/ 205 w 351"/>
                <a:gd name="T19" fmla="*/ 139 h 343"/>
                <a:gd name="T20" fmla="*/ 224 w 351"/>
                <a:gd name="T21" fmla="*/ 141 h 343"/>
                <a:gd name="T22" fmla="*/ 203 w 351"/>
                <a:gd name="T23" fmla="*/ 107 h 343"/>
                <a:gd name="T24" fmla="*/ 203 w 351"/>
                <a:gd name="T25" fmla="*/ 135 h 343"/>
                <a:gd name="T26" fmla="*/ 293 w 351"/>
                <a:gd name="T27" fmla="*/ 192 h 343"/>
                <a:gd name="T28" fmla="*/ 293 w 351"/>
                <a:gd name="T29" fmla="*/ 175 h 343"/>
                <a:gd name="T30" fmla="*/ 320 w 351"/>
                <a:gd name="T31" fmla="*/ 271 h 343"/>
                <a:gd name="T32" fmla="*/ 341 w 351"/>
                <a:gd name="T33" fmla="*/ 273 h 343"/>
                <a:gd name="T34" fmla="*/ 341 w 351"/>
                <a:gd name="T35" fmla="*/ 210 h 343"/>
                <a:gd name="T36" fmla="*/ 310 w 351"/>
                <a:gd name="T37" fmla="*/ 189 h 343"/>
                <a:gd name="T38" fmla="*/ 276 w 351"/>
                <a:gd name="T39" fmla="*/ 210 h 343"/>
                <a:gd name="T40" fmla="*/ 240 w 351"/>
                <a:gd name="T41" fmla="*/ 223 h 343"/>
                <a:gd name="T42" fmla="*/ 222 w 351"/>
                <a:gd name="T43" fmla="*/ 217 h 343"/>
                <a:gd name="T44" fmla="*/ 251 w 351"/>
                <a:gd name="T45" fmla="*/ 215 h 343"/>
                <a:gd name="T46" fmla="*/ 263 w 351"/>
                <a:gd name="T47" fmla="*/ 173 h 343"/>
                <a:gd name="T48" fmla="*/ 201 w 351"/>
                <a:gd name="T49" fmla="*/ 145 h 343"/>
                <a:gd name="T50" fmla="*/ 184 w 351"/>
                <a:gd name="T51" fmla="*/ 105 h 343"/>
                <a:gd name="T52" fmla="*/ 117 w 351"/>
                <a:gd name="T53" fmla="*/ 61 h 343"/>
                <a:gd name="T54" fmla="*/ 73 w 351"/>
                <a:gd name="T55" fmla="*/ 26 h 343"/>
                <a:gd name="T56" fmla="*/ 81 w 351"/>
                <a:gd name="T57" fmla="*/ 70 h 343"/>
                <a:gd name="T58" fmla="*/ 52 w 351"/>
                <a:gd name="T59" fmla="*/ 40 h 343"/>
                <a:gd name="T60" fmla="*/ 21 w 351"/>
                <a:gd name="T61" fmla="*/ 30 h 343"/>
                <a:gd name="T62" fmla="*/ 29 w 351"/>
                <a:gd name="T63" fmla="*/ 70 h 343"/>
                <a:gd name="T64" fmla="*/ 2 w 351"/>
                <a:gd name="T65" fmla="*/ 110 h 343"/>
                <a:gd name="T66" fmla="*/ 6 w 351"/>
                <a:gd name="T67" fmla="*/ 124 h 343"/>
                <a:gd name="T68" fmla="*/ 14 w 351"/>
                <a:gd name="T69" fmla="*/ 145 h 343"/>
                <a:gd name="T70" fmla="*/ 10 w 351"/>
                <a:gd name="T71" fmla="*/ 168 h 343"/>
                <a:gd name="T72" fmla="*/ 14 w 351"/>
                <a:gd name="T73" fmla="*/ 189 h 343"/>
                <a:gd name="T74" fmla="*/ 44 w 351"/>
                <a:gd name="T75" fmla="*/ 200 h 343"/>
                <a:gd name="T76" fmla="*/ 69 w 351"/>
                <a:gd name="T77" fmla="*/ 217 h 343"/>
                <a:gd name="T78" fmla="*/ 71 w 351"/>
                <a:gd name="T79" fmla="*/ 246 h 343"/>
                <a:gd name="T80" fmla="*/ 69 w 351"/>
                <a:gd name="T81" fmla="*/ 263 h 343"/>
                <a:gd name="T82" fmla="*/ 150 w 351"/>
                <a:gd name="T83" fmla="*/ 332 h 343"/>
                <a:gd name="T84" fmla="*/ 173 w 351"/>
                <a:gd name="T85" fmla="*/ 330 h 343"/>
                <a:gd name="T86" fmla="*/ 199 w 351"/>
                <a:gd name="T87" fmla="*/ 322 h 343"/>
                <a:gd name="T88" fmla="*/ 215 w 351"/>
                <a:gd name="T89" fmla="*/ 334 h 343"/>
                <a:gd name="T90" fmla="*/ 238 w 351"/>
                <a:gd name="T91" fmla="*/ 334 h 343"/>
                <a:gd name="T92" fmla="*/ 255 w 351"/>
                <a:gd name="T93" fmla="*/ 315 h 343"/>
                <a:gd name="T94" fmla="*/ 312 w 351"/>
                <a:gd name="T95" fmla="*/ 305 h 343"/>
                <a:gd name="T96" fmla="*/ 314 w 351"/>
                <a:gd name="T97" fmla="*/ 288 h 343"/>
                <a:gd name="T98" fmla="*/ 322 w 351"/>
                <a:gd name="T99" fmla="*/ 276 h 343"/>
                <a:gd name="T100" fmla="*/ 322 w 351"/>
                <a:gd name="T101" fmla="*/ 263 h 343"/>
                <a:gd name="T102" fmla="*/ 318 w 351"/>
                <a:gd name="T103" fmla="*/ 259 h 343"/>
                <a:gd name="T104" fmla="*/ 331 w 351"/>
                <a:gd name="T105" fmla="*/ 244 h 343"/>
                <a:gd name="T106" fmla="*/ 335 w 351"/>
                <a:gd name="T107" fmla="*/ 244 h 343"/>
                <a:gd name="T108" fmla="*/ 52 w 351"/>
                <a:gd name="T109" fmla="*/ 34 h 343"/>
                <a:gd name="T110" fmla="*/ 261 w 351"/>
                <a:gd name="T111" fmla="*/ 215 h 343"/>
                <a:gd name="T112" fmla="*/ 217 w 351"/>
                <a:gd name="T113" fmla="*/ 114 h 343"/>
                <a:gd name="T114" fmla="*/ 213 w 351"/>
                <a:gd name="T115" fmla="*/ 95 h 343"/>
                <a:gd name="T116" fmla="*/ 127 w 351"/>
                <a:gd name="T117" fmla="*/ 65 h 343"/>
                <a:gd name="T118" fmla="*/ 157 w 351"/>
                <a:gd name="T119" fmla="*/ 72 h 343"/>
                <a:gd name="T120" fmla="*/ 140 w 351"/>
                <a:gd name="T121" fmla="*/ 47 h 343"/>
                <a:gd name="T122" fmla="*/ 90 w 351"/>
                <a:gd name="T123" fmla="*/ 23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1" h="343">
                  <a:moveTo>
                    <a:pt x="282" y="181"/>
                  </a:moveTo>
                  <a:lnTo>
                    <a:pt x="282" y="179"/>
                  </a:lnTo>
                  <a:lnTo>
                    <a:pt x="280" y="179"/>
                  </a:lnTo>
                  <a:lnTo>
                    <a:pt x="280" y="179"/>
                  </a:lnTo>
                  <a:lnTo>
                    <a:pt x="278" y="179"/>
                  </a:lnTo>
                  <a:lnTo>
                    <a:pt x="278" y="179"/>
                  </a:lnTo>
                  <a:lnTo>
                    <a:pt x="280" y="179"/>
                  </a:lnTo>
                  <a:lnTo>
                    <a:pt x="280" y="181"/>
                  </a:lnTo>
                  <a:lnTo>
                    <a:pt x="280" y="181"/>
                  </a:lnTo>
                  <a:lnTo>
                    <a:pt x="280" y="185"/>
                  </a:lnTo>
                  <a:lnTo>
                    <a:pt x="282" y="185"/>
                  </a:lnTo>
                  <a:lnTo>
                    <a:pt x="282" y="187"/>
                  </a:lnTo>
                  <a:lnTo>
                    <a:pt x="282" y="187"/>
                  </a:lnTo>
                  <a:lnTo>
                    <a:pt x="282" y="185"/>
                  </a:lnTo>
                  <a:lnTo>
                    <a:pt x="284" y="185"/>
                  </a:lnTo>
                  <a:lnTo>
                    <a:pt x="284" y="183"/>
                  </a:lnTo>
                  <a:lnTo>
                    <a:pt x="284" y="183"/>
                  </a:lnTo>
                  <a:lnTo>
                    <a:pt x="282" y="181"/>
                  </a:lnTo>
                  <a:lnTo>
                    <a:pt x="282" y="181"/>
                  </a:lnTo>
                  <a:close/>
                  <a:moveTo>
                    <a:pt x="226" y="137"/>
                  </a:moveTo>
                  <a:lnTo>
                    <a:pt x="226" y="141"/>
                  </a:lnTo>
                  <a:lnTo>
                    <a:pt x="228" y="149"/>
                  </a:lnTo>
                  <a:lnTo>
                    <a:pt x="228" y="152"/>
                  </a:lnTo>
                  <a:lnTo>
                    <a:pt x="228" y="152"/>
                  </a:lnTo>
                  <a:lnTo>
                    <a:pt x="224" y="154"/>
                  </a:lnTo>
                  <a:lnTo>
                    <a:pt x="222" y="154"/>
                  </a:lnTo>
                  <a:lnTo>
                    <a:pt x="220" y="156"/>
                  </a:lnTo>
                  <a:lnTo>
                    <a:pt x="220" y="158"/>
                  </a:lnTo>
                  <a:lnTo>
                    <a:pt x="224" y="162"/>
                  </a:lnTo>
                  <a:lnTo>
                    <a:pt x="226" y="162"/>
                  </a:lnTo>
                  <a:lnTo>
                    <a:pt x="230" y="166"/>
                  </a:lnTo>
                  <a:lnTo>
                    <a:pt x="234" y="166"/>
                  </a:lnTo>
                  <a:lnTo>
                    <a:pt x="238" y="166"/>
                  </a:lnTo>
                  <a:lnTo>
                    <a:pt x="245" y="164"/>
                  </a:lnTo>
                  <a:lnTo>
                    <a:pt x="247" y="164"/>
                  </a:lnTo>
                  <a:lnTo>
                    <a:pt x="251" y="166"/>
                  </a:lnTo>
                  <a:lnTo>
                    <a:pt x="253" y="166"/>
                  </a:lnTo>
                  <a:lnTo>
                    <a:pt x="261" y="166"/>
                  </a:lnTo>
                  <a:lnTo>
                    <a:pt x="266" y="166"/>
                  </a:lnTo>
                  <a:lnTo>
                    <a:pt x="270" y="168"/>
                  </a:lnTo>
                  <a:lnTo>
                    <a:pt x="274" y="173"/>
                  </a:lnTo>
                  <a:lnTo>
                    <a:pt x="276" y="175"/>
                  </a:lnTo>
                  <a:lnTo>
                    <a:pt x="276" y="175"/>
                  </a:lnTo>
                  <a:lnTo>
                    <a:pt x="276" y="175"/>
                  </a:lnTo>
                  <a:lnTo>
                    <a:pt x="278" y="175"/>
                  </a:lnTo>
                  <a:lnTo>
                    <a:pt x="278" y="175"/>
                  </a:lnTo>
                  <a:lnTo>
                    <a:pt x="278" y="175"/>
                  </a:lnTo>
                  <a:lnTo>
                    <a:pt x="280" y="173"/>
                  </a:lnTo>
                  <a:lnTo>
                    <a:pt x="280" y="168"/>
                  </a:lnTo>
                  <a:lnTo>
                    <a:pt x="280" y="168"/>
                  </a:lnTo>
                  <a:lnTo>
                    <a:pt x="280" y="168"/>
                  </a:lnTo>
                  <a:lnTo>
                    <a:pt x="280" y="166"/>
                  </a:lnTo>
                  <a:lnTo>
                    <a:pt x="280" y="166"/>
                  </a:lnTo>
                  <a:lnTo>
                    <a:pt x="280" y="164"/>
                  </a:lnTo>
                  <a:lnTo>
                    <a:pt x="278" y="162"/>
                  </a:lnTo>
                  <a:lnTo>
                    <a:pt x="278" y="162"/>
                  </a:lnTo>
                  <a:lnTo>
                    <a:pt x="268" y="154"/>
                  </a:lnTo>
                  <a:lnTo>
                    <a:pt x="259" y="149"/>
                  </a:lnTo>
                  <a:lnTo>
                    <a:pt x="255" y="147"/>
                  </a:lnTo>
                  <a:lnTo>
                    <a:pt x="253" y="145"/>
                  </a:lnTo>
                  <a:lnTo>
                    <a:pt x="251" y="145"/>
                  </a:lnTo>
                  <a:lnTo>
                    <a:pt x="249" y="145"/>
                  </a:lnTo>
                  <a:lnTo>
                    <a:pt x="249" y="145"/>
                  </a:lnTo>
                  <a:lnTo>
                    <a:pt x="245" y="147"/>
                  </a:lnTo>
                  <a:lnTo>
                    <a:pt x="245" y="147"/>
                  </a:lnTo>
                  <a:lnTo>
                    <a:pt x="243" y="147"/>
                  </a:lnTo>
                  <a:lnTo>
                    <a:pt x="240" y="147"/>
                  </a:lnTo>
                  <a:lnTo>
                    <a:pt x="238" y="145"/>
                  </a:lnTo>
                  <a:lnTo>
                    <a:pt x="238" y="143"/>
                  </a:lnTo>
                  <a:lnTo>
                    <a:pt x="240" y="143"/>
                  </a:lnTo>
                  <a:lnTo>
                    <a:pt x="240" y="141"/>
                  </a:lnTo>
                  <a:lnTo>
                    <a:pt x="238" y="141"/>
                  </a:lnTo>
                  <a:lnTo>
                    <a:pt x="234" y="135"/>
                  </a:lnTo>
                  <a:lnTo>
                    <a:pt x="232" y="133"/>
                  </a:lnTo>
                  <a:lnTo>
                    <a:pt x="228" y="135"/>
                  </a:lnTo>
                  <a:lnTo>
                    <a:pt x="226" y="137"/>
                  </a:lnTo>
                  <a:close/>
                  <a:moveTo>
                    <a:pt x="284" y="173"/>
                  </a:moveTo>
                  <a:lnTo>
                    <a:pt x="287" y="171"/>
                  </a:lnTo>
                  <a:lnTo>
                    <a:pt x="287" y="168"/>
                  </a:lnTo>
                  <a:lnTo>
                    <a:pt x="287" y="166"/>
                  </a:lnTo>
                  <a:lnTo>
                    <a:pt x="287" y="166"/>
                  </a:lnTo>
                  <a:lnTo>
                    <a:pt x="287" y="166"/>
                  </a:lnTo>
                  <a:lnTo>
                    <a:pt x="284" y="166"/>
                  </a:lnTo>
                  <a:lnTo>
                    <a:pt x="284" y="166"/>
                  </a:lnTo>
                  <a:lnTo>
                    <a:pt x="284" y="168"/>
                  </a:lnTo>
                  <a:lnTo>
                    <a:pt x="282" y="168"/>
                  </a:lnTo>
                  <a:lnTo>
                    <a:pt x="282" y="168"/>
                  </a:lnTo>
                  <a:lnTo>
                    <a:pt x="282" y="171"/>
                  </a:lnTo>
                  <a:lnTo>
                    <a:pt x="282" y="171"/>
                  </a:lnTo>
                  <a:lnTo>
                    <a:pt x="282" y="171"/>
                  </a:lnTo>
                  <a:lnTo>
                    <a:pt x="284" y="173"/>
                  </a:lnTo>
                  <a:lnTo>
                    <a:pt x="284" y="173"/>
                  </a:lnTo>
                  <a:close/>
                  <a:moveTo>
                    <a:pt x="243" y="145"/>
                  </a:moveTo>
                  <a:lnTo>
                    <a:pt x="245" y="145"/>
                  </a:lnTo>
                  <a:lnTo>
                    <a:pt x="247" y="143"/>
                  </a:lnTo>
                  <a:lnTo>
                    <a:pt x="249" y="143"/>
                  </a:lnTo>
                  <a:lnTo>
                    <a:pt x="255" y="143"/>
                  </a:lnTo>
                  <a:lnTo>
                    <a:pt x="255" y="143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9" y="147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6" y="149"/>
                  </a:lnTo>
                  <a:lnTo>
                    <a:pt x="268" y="149"/>
                  </a:lnTo>
                  <a:lnTo>
                    <a:pt x="272" y="154"/>
                  </a:lnTo>
                  <a:lnTo>
                    <a:pt x="272" y="154"/>
                  </a:lnTo>
                  <a:lnTo>
                    <a:pt x="284" y="162"/>
                  </a:lnTo>
                  <a:lnTo>
                    <a:pt x="289" y="162"/>
                  </a:lnTo>
                  <a:lnTo>
                    <a:pt x="291" y="160"/>
                  </a:lnTo>
                  <a:lnTo>
                    <a:pt x="293" y="158"/>
                  </a:lnTo>
                  <a:lnTo>
                    <a:pt x="291" y="156"/>
                  </a:lnTo>
                  <a:lnTo>
                    <a:pt x="289" y="154"/>
                  </a:lnTo>
                  <a:lnTo>
                    <a:pt x="282" y="145"/>
                  </a:lnTo>
                  <a:lnTo>
                    <a:pt x="278" y="143"/>
                  </a:lnTo>
                  <a:lnTo>
                    <a:pt x="272" y="139"/>
                  </a:lnTo>
                  <a:lnTo>
                    <a:pt x="266" y="135"/>
                  </a:lnTo>
                  <a:lnTo>
                    <a:pt x="257" y="131"/>
                  </a:lnTo>
                  <a:lnTo>
                    <a:pt x="253" y="131"/>
                  </a:lnTo>
                  <a:lnTo>
                    <a:pt x="249" y="133"/>
                  </a:lnTo>
                  <a:lnTo>
                    <a:pt x="247" y="133"/>
                  </a:lnTo>
                  <a:lnTo>
                    <a:pt x="247" y="137"/>
                  </a:lnTo>
                  <a:lnTo>
                    <a:pt x="245" y="139"/>
                  </a:lnTo>
                  <a:lnTo>
                    <a:pt x="240" y="143"/>
                  </a:lnTo>
                  <a:lnTo>
                    <a:pt x="240" y="145"/>
                  </a:lnTo>
                  <a:lnTo>
                    <a:pt x="240" y="145"/>
                  </a:lnTo>
                  <a:lnTo>
                    <a:pt x="243" y="145"/>
                  </a:lnTo>
                  <a:close/>
                  <a:moveTo>
                    <a:pt x="203" y="135"/>
                  </a:moveTo>
                  <a:lnTo>
                    <a:pt x="203" y="137"/>
                  </a:lnTo>
                  <a:lnTo>
                    <a:pt x="205" y="139"/>
                  </a:lnTo>
                  <a:lnTo>
                    <a:pt x="205" y="141"/>
                  </a:lnTo>
                  <a:lnTo>
                    <a:pt x="207" y="143"/>
                  </a:lnTo>
                  <a:lnTo>
                    <a:pt x="213" y="149"/>
                  </a:lnTo>
                  <a:lnTo>
                    <a:pt x="215" y="152"/>
                  </a:lnTo>
                  <a:lnTo>
                    <a:pt x="220" y="154"/>
                  </a:lnTo>
                  <a:lnTo>
                    <a:pt x="220" y="154"/>
                  </a:lnTo>
                  <a:lnTo>
                    <a:pt x="222" y="149"/>
                  </a:lnTo>
                  <a:lnTo>
                    <a:pt x="224" y="149"/>
                  </a:lnTo>
                  <a:lnTo>
                    <a:pt x="224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7"/>
                  </a:lnTo>
                  <a:lnTo>
                    <a:pt x="224" y="141"/>
                  </a:lnTo>
                  <a:lnTo>
                    <a:pt x="224" y="139"/>
                  </a:lnTo>
                  <a:lnTo>
                    <a:pt x="224" y="137"/>
                  </a:lnTo>
                  <a:lnTo>
                    <a:pt x="226" y="128"/>
                  </a:lnTo>
                  <a:lnTo>
                    <a:pt x="226" y="126"/>
                  </a:lnTo>
                  <a:lnTo>
                    <a:pt x="226" y="124"/>
                  </a:lnTo>
                  <a:lnTo>
                    <a:pt x="226" y="122"/>
                  </a:lnTo>
                  <a:lnTo>
                    <a:pt x="224" y="122"/>
                  </a:lnTo>
                  <a:lnTo>
                    <a:pt x="217" y="116"/>
                  </a:lnTo>
                  <a:lnTo>
                    <a:pt x="211" y="112"/>
                  </a:lnTo>
                  <a:lnTo>
                    <a:pt x="209" y="110"/>
                  </a:lnTo>
                  <a:lnTo>
                    <a:pt x="205" y="107"/>
                  </a:lnTo>
                  <a:lnTo>
                    <a:pt x="203" y="107"/>
                  </a:lnTo>
                  <a:lnTo>
                    <a:pt x="203" y="107"/>
                  </a:lnTo>
                  <a:lnTo>
                    <a:pt x="201" y="110"/>
                  </a:lnTo>
                  <a:lnTo>
                    <a:pt x="201" y="112"/>
                  </a:lnTo>
                  <a:lnTo>
                    <a:pt x="201" y="116"/>
                  </a:lnTo>
                  <a:lnTo>
                    <a:pt x="201" y="116"/>
                  </a:lnTo>
                  <a:lnTo>
                    <a:pt x="201" y="118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2"/>
                  </a:lnTo>
                  <a:lnTo>
                    <a:pt x="203" y="124"/>
                  </a:lnTo>
                  <a:lnTo>
                    <a:pt x="205" y="126"/>
                  </a:lnTo>
                  <a:lnTo>
                    <a:pt x="205" y="126"/>
                  </a:lnTo>
                  <a:lnTo>
                    <a:pt x="205" y="131"/>
                  </a:lnTo>
                  <a:lnTo>
                    <a:pt x="203" y="135"/>
                  </a:lnTo>
                  <a:close/>
                  <a:moveTo>
                    <a:pt x="328" y="202"/>
                  </a:moveTo>
                  <a:lnTo>
                    <a:pt x="331" y="202"/>
                  </a:lnTo>
                  <a:lnTo>
                    <a:pt x="331" y="200"/>
                  </a:lnTo>
                  <a:lnTo>
                    <a:pt x="331" y="200"/>
                  </a:lnTo>
                  <a:lnTo>
                    <a:pt x="326" y="198"/>
                  </a:lnTo>
                  <a:lnTo>
                    <a:pt x="328" y="200"/>
                  </a:lnTo>
                  <a:lnTo>
                    <a:pt x="328" y="202"/>
                  </a:lnTo>
                  <a:close/>
                  <a:moveTo>
                    <a:pt x="289" y="187"/>
                  </a:moveTo>
                  <a:lnTo>
                    <a:pt x="289" y="187"/>
                  </a:lnTo>
                  <a:lnTo>
                    <a:pt x="289" y="189"/>
                  </a:lnTo>
                  <a:lnTo>
                    <a:pt x="291" y="192"/>
                  </a:lnTo>
                  <a:lnTo>
                    <a:pt x="291" y="192"/>
                  </a:lnTo>
                  <a:lnTo>
                    <a:pt x="293" y="192"/>
                  </a:lnTo>
                  <a:lnTo>
                    <a:pt x="295" y="192"/>
                  </a:lnTo>
                  <a:lnTo>
                    <a:pt x="301" y="189"/>
                  </a:lnTo>
                  <a:lnTo>
                    <a:pt x="303" y="189"/>
                  </a:lnTo>
                  <a:lnTo>
                    <a:pt x="303" y="187"/>
                  </a:lnTo>
                  <a:lnTo>
                    <a:pt x="303" y="183"/>
                  </a:lnTo>
                  <a:lnTo>
                    <a:pt x="303" y="181"/>
                  </a:lnTo>
                  <a:lnTo>
                    <a:pt x="303" y="179"/>
                  </a:lnTo>
                  <a:lnTo>
                    <a:pt x="301" y="179"/>
                  </a:lnTo>
                  <a:lnTo>
                    <a:pt x="301" y="177"/>
                  </a:lnTo>
                  <a:lnTo>
                    <a:pt x="299" y="175"/>
                  </a:lnTo>
                  <a:lnTo>
                    <a:pt x="297" y="175"/>
                  </a:lnTo>
                  <a:lnTo>
                    <a:pt x="295" y="175"/>
                  </a:lnTo>
                  <a:lnTo>
                    <a:pt x="293" y="175"/>
                  </a:lnTo>
                  <a:lnTo>
                    <a:pt x="291" y="179"/>
                  </a:lnTo>
                  <a:lnTo>
                    <a:pt x="289" y="187"/>
                  </a:lnTo>
                  <a:close/>
                  <a:moveTo>
                    <a:pt x="345" y="267"/>
                  </a:moveTo>
                  <a:lnTo>
                    <a:pt x="343" y="265"/>
                  </a:lnTo>
                  <a:lnTo>
                    <a:pt x="339" y="265"/>
                  </a:lnTo>
                  <a:lnTo>
                    <a:pt x="337" y="265"/>
                  </a:lnTo>
                  <a:lnTo>
                    <a:pt x="337" y="263"/>
                  </a:lnTo>
                  <a:lnTo>
                    <a:pt x="335" y="263"/>
                  </a:lnTo>
                  <a:lnTo>
                    <a:pt x="331" y="261"/>
                  </a:lnTo>
                  <a:lnTo>
                    <a:pt x="328" y="261"/>
                  </a:lnTo>
                  <a:lnTo>
                    <a:pt x="324" y="263"/>
                  </a:lnTo>
                  <a:lnTo>
                    <a:pt x="322" y="267"/>
                  </a:lnTo>
                  <a:lnTo>
                    <a:pt x="320" y="271"/>
                  </a:lnTo>
                  <a:lnTo>
                    <a:pt x="320" y="276"/>
                  </a:lnTo>
                  <a:lnTo>
                    <a:pt x="322" y="273"/>
                  </a:lnTo>
                  <a:lnTo>
                    <a:pt x="326" y="276"/>
                  </a:lnTo>
                  <a:lnTo>
                    <a:pt x="328" y="276"/>
                  </a:lnTo>
                  <a:lnTo>
                    <a:pt x="331" y="276"/>
                  </a:lnTo>
                  <a:lnTo>
                    <a:pt x="331" y="276"/>
                  </a:lnTo>
                  <a:lnTo>
                    <a:pt x="333" y="276"/>
                  </a:lnTo>
                  <a:lnTo>
                    <a:pt x="333" y="278"/>
                  </a:lnTo>
                  <a:lnTo>
                    <a:pt x="335" y="278"/>
                  </a:lnTo>
                  <a:lnTo>
                    <a:pt x="337" y="276"/>
                  </a:lnTo>
                  <a:lnTo>
                    <a:pt x="337" y="276"/>
                  </a:lnTo>
                  <a:lnTo>
                    <a:pt x="339" y="276"/>
                  </a:lnTo>
                  <a:lnTo>
                    <a:pt x="341" y="273"/>
                  </a:lnTo>
                  <a:lnTo>
                    <a:pt x="343" y="273"/>
                  </a:lnTo>
                  <a:lnTo>
                    <a:pt x="347" y="273"/>
                  </a:lnTo>
                  <a:lnTo>
                    <a:pt x="347" y="273"/>
                  </a:lnTo>
                  <a:lnTo>
                    <a:pt x="347" y="271"/>
                  </a:lnTo>
                  <a:lnTo>
                    <a:pt x="347" y="269"/>
                  </a:lnTo>
                  <a:lnTo>
                    <a:pt x="345" y="267"/>
                  </a:lnTo>
                  <a:close/>
                  <a:moveTo>
                    <a:pt x="351" y="238"/>
                  </a:moveTo>
                  <a:lnTo>
                    <a:pt x="351" y="238"/>
                  </a:lnTo>
                  <a:lnTo>
                    <a:pt x="347" y="219"/>
                  </a:lnTo>
                  <a:lnTo>
                    <a:pt x="345" y="215"/>
                  </a:lnTo>
                  <a:lnTo>
                    <a:pt x="345" y="213"/>
                  </a:lnTo>
                  <a:lnTo>
                    <a:pt x="343" y="210"/>
                  </a:lnTo>
                  <a:lnTo>
                    <a:pt x="341" y="210"/>
                  </a:lnTo>
                  <a:lnTo>
                    <a:pt x="339" y="208"/>
                  </a:lnTo>
                  <a:lnTo>
                    <a:pt x="337" y="208"/>
                  </a:lnTo>
                  <a:lnTo>
                    <a:pt x="337" y="208"/>
                  </a:lnTo>
                  <a:lnTo>
                    <a:pt x="335" y="208"/>
                  </a:lnTo>
                  <a:lnTo>
                    <a:pt x="335" y="208"/>
                  </a:lnTo>
                  <a:lnTo>
                    <a:pt x="335" y="210"/>
                  </a:lnTo>
                  <a:lnTo>
                    <a:pt x="333" y="210"/>
                  </a:lnTo>
                  <a:lnTo>
                    <a:pt x="331" y="204"/>
                  </a:lnTo>
                  <a:lnTo>
                    <a:pt x="326" y="200"/>
                  </a:lnTo>
                  <a:lnTo>
                    <a:pt x="320" y="196"/>
                  </a:lnTo>
                  <a:lnTo>
                    <a:pt x="316" y="192"/>
                  </a:lnTo>
                  <a:lnTo>
                    <a:pt x="312" y="192"/>
                  </a:lnTo>
                  <a:lnTo>
                    <a:pt x="310" y="189"/>
                  </a:lnTo>
                  <a:lnTo>
                    <a:pt x="307" y="192"/>
                  </a:lnTo>
                  <a:lnTo>
                    <a:pt x="305" y="192"/>
                  </a:lnTo>
                  <a:lnTo>
                    <a:pt x="301" y="194"/>
                  </a:lnTo>
                  <a:lnTo>
                    <a:pt x="297" y="194"/>
                  </a:lnTo>
                  <a:lnTo>
                    <a:pt x="295" y="196"/>
                  </a:lnTo>
                  <a:lnTo>
                    <a:pt x="293" y="200"/>
                  </a:lnTo>
                  <a:lnTo>
                    <a:pt x="291" y="202"/>
                  </a:lnTo>
                  <a:lnTo>
                    <a:pt x="289" y="202"/>
                  </a:lnTo>
                  <a:lnTo>
                    <a:pt x="287" y="204"/>
                  </a:lnTo>
                  <a:lnTo>
                    <a:pt x="284" y="204"/>
                  </a:lnTo>
                  <a:lnTo>
                    <a:pt x="282" y="204"/>
                  </a:lnTo>
                  <a:lnTo>
                    <a:pt x="280" y="206"/>
                  </a:lnTo>
                  <a:lnTo>
                    <a:pt x="276" y="210"/>
                  </a:lnTo>
                  <a:lnTo>
                    <a:pt x="274" y="210"/>
                  </a:lnTo>
                  <a:lnTo>
                    <a:pt x="274" y="210"/>
                  </a:lnTo>
                  <a:lnTo>
                    <a:pt x="266" y="215"/>
                  </a:lnTo>
                  <a:lnTo>
                    <a:pt x="266" y="217"/>
                  </a:lnTo>
                  <a:lnTo>
                    <a:pt x="259" y="217"/>
                  </a:lnTo>
                  <a:lnTo>
                    <a:pt x="253" y="219"/>
                  </a:lnTo>
                  <a:lnTo>
                    <a:pt x="251" y="219"/>
                  </a:lnTo>
                  <a:lnTo>
                    <a:pt x="247" y="219"/>
                  </a:lnTo>
                  <a:lnTo>
                    <a:pt x="245" y="219"/>
                  </a:lnTo>
                  <a:lnTo>
                    <a:pt x="245" y="221"/>
                  </a:lnTo>
                  <a:lnTo>
                    <a:pt x="243" y="221"/>
                  </a:lnTo>
                  <a:lnTo>
                    <a:pt x="240" y="221"/>
                  </a:lnTo>
                  <a:lnTo>
                    <a:pt x="240" y="223"/>
                  </a:lnTo>
                  <a:lnTo>
                    <a:pt x="240" y="223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2" y="225"/>
                  </a:lnTo>
                  <a:lnTo>
                    <a:pt x="230" y="223"/>
                  </a:lnTo>
                  <a:lnTo>
                    <a:pt x="228" y="221"/>
                  </a:lnTo>
                  <a:lnTo>
                    <a:pt x="228" y="219"/>
                  </a:lnTo>
                  <a:lnTo>
                    <a:pt x="226" y="219"/>
                  </a:lnTo>
                  <a:lnTo>
                    <a:pt x="226" y="219"/>
                  </a:lnTo>
                  <a:lnTo>
                    <a:pt x="224" y="219"/>
                  </a:lnTo>
                  <a:lnTo>
                    <a:pt x="224" y="219"/>
                  </a:lnTo>
                  <a:lnTo>
                    <a:pt x="222" y="217"/>
                  </a:lnTo>
                  <a:lnTo>
                    <a:pt x="222" y="217"/>
                  </a:lnTo>
                  <a:lnTo>
                    <a:pt x="224" y="217"/>
                  </a:lnTo>
                  <a:lnTo>
                    <a:pt x="228" y="217"/>
                  </a:lnTo>
                  <a:lnTo>
                    <a:pt x="228" y="219"/>
                  </a:lnTo>
                  <a:lnTo>
                    <a:pt x="232" y="221"/>
                  </a:lnTo>
                  <a:lnTo>
                    <a:pt x="234" y="223"/>
                  </a:lnTo>
                  <a:lnTo>
                    <a:pt x="236" y="223"/>
                  </a:lnTo>
                  <a:lnTo>
                    <a:pt x="236" y="223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0" y="219"/>
                  </a:lnTo>
                  <a:lnTo>
                    <a:pt x="243" y="217"/>
                  </a:lnTo>
                  <a:lnTo>
                    <a:pt x="249" y="217"/>
                  </a:lnTo>
                  <a:lnTo>
                    <a:pt x="251" y="215"/>
                  </a:lnTo>
                  <a:lnTo>
                    <a:pt x="251" y="215"/>
                  </a:lnTo>
                  <a:lnTo>
                    <a:pt x="263" y="208"/>
                  </a:lnTo>
                  <a:lnTo>
                    <a:pt x="266" y="208"/>
                  </a:lnTo>
                  <a:lnTo>
                    <a:pt x="268" y="206"/>
                  </a:lnTo>
                  <a:lnTo>
                    <a:pt x="272" y="204"/>
                  </a:lnTo>
                  <a:lnTo>
                    <a:pt x="278" y="202"/>
                  </a:lnTo>
                  <a:lnTo>
                    <a:pt x="282" y="200"/>
                  </a:lnTo>
                  <a:lnTo>
                    <a:pt x="284" y="196"/>
                  </a:lnTo>
                  <a:lnTo>
                    <a:pt x="284" y="192"/>
                  </a:lnTo>
                  <a:lnTo>
                    <a:pt x="280" y="187"/>
                  </a:lnTo>
                  <a:lnTo>
                    <a:pt x="272" y="177"/>
                  </a:lnTo>
                  <a:lnTo>
                    <a:pt x="268" y="175"/>
                  </a:lnTo>
                  <a:lnTo>
                    <a:pt x="263" y="173"/>
                  </a:lnTo>
                  <a:lnTo>
                    <a:pt x="255" y="173"/>
                  </a:lnTo>
                  <a:lnTo>
                    <a:pt x="245" y="171"/>
                  </a:lnTo>
                  <a:lnTo>
                    <a:pt x="243" y="171"/>
                  </a:lnTo>
                  <a:lnTo>
                    <a:pt x="240" y="171"/>
                  </a:lnTo>
                  <a:lnTo>
                    <a:pt x="238" y="171"/>
                  </a:lnTo>
                  <a:lnTo>
                    <a:pt x="234" y="171"/>
                  </a:lnTo>
                  <a:lnTo>
                    <a:pt x="232" y="171"/>
                  </a:lnTo>
                  <a:lnTo>
                    <a:pt x="230" y="171"/>
                  </a:lnTo>
                  <a:lnTo>
                    <a:pt x="226" y="168"/>
                  </a:lnTo>
                  <a:lnTo>
                    <a:pt x="222" y="164"/>
                  </a:lnTo>
                  <a:lnTo>
                    <a:pt x="211" y="154"/>
                  </a:lnTo>
                  <a:lnTo>
                    <a:pt x="205" y="147"/>
                  </a:lnTo>
                  <a:lnTo>
                    <a:pt x="201" y="145"/>
                  </a:lnTo>
                  <a:lnTo>
                    <a:pt x="201" y="141"/>
                  </a:lnTo>
                  <a:lnTo>
                    <a:pt x="199" y="137"/>
                  </a:lnTo>
                  <a:lnTo>
                    <a:pt x="201" y="128"/>
                  </a:lnTo>
                  <a:lnTo>
                    <a:pt x="201" y="128"/>
                  </a:lnTo>
                  <a:lnTo>
                    <a:pt x="199" y="126"/>
                  </a:lnTo>
                  <a:lnTo>
                    <a:pt x="199" y="124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4" y="120"/>
                  </a:lnTo>
                  <a:lnTo>
                    <a:pt x="196" y="118"/>
                  </a:lnTo>
                  <a:lnTo>
                    <a:pt x="194" y="114"/>
                  </a:lnTo>
                  <a:lnTo>
                    <a:pt x="192" y="110"/>
                  </a:lnTo>
                  <a:lnTo>
                    <a:pt x="184" y="105"/>
                  </a:lnTo>
                  <a:lnTo>
                    <a:pt x="161" y="86"/>
                  </a:lnTo>
                  <a:lnTo>
                    <a:pt x="157" y="84"/>
                  </a:lnTo>
                  <a:lnTo>
                    <a:pt x="155" y="84"/>
                  </a:lnTo>
                  <a:lnTo>
                    <a:pt x="150" y="84"/>
                  </a:lnTo>
                  <a:lnTo>
                    <a:pt x="142" y="84"/>
                  </a:lnTo>
                  <a:lnTo>
                    <a:pt x="140" y="84"/>
                  </a:lnTo>
                  <a:lnTo>
                    <a:pt x="138" y="84"/>
                  </a:lnTo>
                  <a:lnTo>
                    <a:pt x="134" y="82"/>
                  </a:lnTo>
                  <a:lnTo>
                    <a:pt x="127" y="80"/>
                  </a:lnTo>
                  <a:lnTo>
                    <a:pt x="125" y="78"/>
                  </a:lnTo>
                  <a:lnTo>
                    <a:pt x="123" y="74"/>
                  </a:lnTo>
                  <a:lnTo>
                    <a:pt x="121" y="65"/>
                  </a:lnTo>
                  <a:lnTo>
                    <a:pt x="117" y="61"/>
                  </a:lnTo>
                  <a:lnTo>
                    <a:pt x="117" y="59"/>
                  </a:lnTo>
                  <a:lnTo>
                    <a:pt x="117" y="55"/>
                  </a:lnTo>
                  <a:lnTo>
                    <a:pt x="117" y="53"/>
                  </a:lnTo>
                  <a:lnTo>
                    <a:pt x="117" y="51"/>
                  </a:lnTo>
                  <a:lnTo>
                    <a:pt x="115" y="49"/>
                  </a:lnTo>
                  <a:lnTo>
                    <a:pt x="104" y="38"/>
                  </a:lnTo>
                  <a:lnTo>
                    <a:pt x="94" y="32"/>
                  </a:lnTo>
                  <a:lnTo>
                    <a:pt x="92" y="30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79" y="23"/>
                  </a:lnTo>
                  <a:lnTo>
                    <a:pt x="77" y="26"/>
                  </a:lnTo>
                  <a:lnTo>
                    <a:pt x="73" y="26"/>
                  </a:lnTo>
                  <a:lnTo>
                    <a:pt x="69" y="30"/>
                  </a:lnTo>
                  <a:lnTo>
                    <a:pt x="69" y="34"/>
                  </a:lnTo>
                  <a:lnTo>
                    <a:pt x="69" y="38"/>
                  </a:lnTo>
                  <a:lnTo>
                    <a:pt x="71" y="42"/>
                  </a:lnTo>
                  <a:lnTo>
                    <a:pt x="77" y="49"/>
                  </a:lnTo>
                  <a:lnTo>
                    <a:pt x="79" y="53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81" y="61"/>
                  </a:lnTo>
                  <a:lnTo>
                    <a:pt x="81" y="63"/>
                  </a:lnTo>
                  <a:lnTo>
                    <a:pt x="81" y="65"/>
                  </a:lnTo>
                  <a:lnTo>
                    <a:pt x="81" y="68"/>
                  </a:lnTo>
                  <a:lnTo>
                    <a:pt x="81" y="70"/>
                  </a:lnTo>
                  <a:lnTo>
                    <a:pt x="79" y="68"/>
                  </a:lnTo>
                  <a:lnTo>
                    <a:pt x="79" y="65"/>
                  </a:lnTo>
                  <a:lnTo>
                    <a:pt x="77" y="63"/>
                  </a:lnTo>
                  <a:lnTo>
                    <a:pt x="77" y="61"/>
                  </a:lnTo>
                  <a:lnTo>
                    <a:pt x="77" y="59"/>
                  </a:lnTo>
                  <a:lnTo>
                    <a:pt x="75" y="55"/>
                  </a:lnTo>
                  <a:lnTo>
                    <a:pt x="73" y="53"/>
                  </a:lnTo>
                  <a:lnTo>
                    <a:pt x="73" y="51"/>
                  </a:lnTo>
                  <a:lnTo>
                    <a:pt x="71" y="51"/>
                  </a:lnTo>
                  <a:lnTo>
                    <a:pt x="69" y="49"/>
                  </a:lnTo>
                  <a:lnTo>
                    <a:pt x="67" y="49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46" y="38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31" y="23"/>
                  </a:lnTo>
                  <a:lnTo>
                    <a:pt x="29" y="19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7"/>
                  </a:lnTo>
                  <a:lnTo>
                    <a:pt x="18" y="19"/>
                  </a:lnTo>
                  <a:lnTo>
                    <a:pt x="18" y="23"/>
                  </a:lnTo>
                  <a:lnTo>
                    <a:pt x="21" y="26"/>
                  </a:lnTo>
                  <a:lnTo>
                    <a:pt x="21" y="30"/>
                  </a:lnTo>
                  <a:lnTo>
                    <a:pt x="23" y="36"/>
                  </a:lnTo>
                  <a:lnTo>
                    <a:pt x="23" y="47"/>
                  </a:lnTo>
                  <a:lnTo>
                    <a:pt x="23" y="49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7"/>
                  </a:lnTo>
                  <a:lnTo>
                    <a:pt x="21" y="59"/>
                  </a:lnTo>
                  <a:lnTo>
                    <a:pt x="21" y="61"/>
                  </a:lnTo>
                  <a:lnTo>
                    <a:pt x="21" y="63"/>
                  </a:lnTo>
                  <a:lnTo>
                    <a:pt x="23" y="65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9" y="70"/>
                  </a:lnTo>
                  <a:lnTo>
                    <a:pt x="31" y="76"/>
                  </a:lnTo>
                  <a:lnTo>
                    <a:pt x="33" y="84"/>
                  </a:lnTo>
                  <a:lnTo>
                    <a:pt x="35" y="86"/>
                  </a:lnTo>
                  <a:lnTo>
                    <a:pt x="35" y="89"/>
                  </a:lnTo>
                  <a:lnTo>
                    <a:pt x="35" y="91"/>
                  </a:lnTo>
                  <a:lnTo>
                    <a:pt x="33" y="91"/>
                  </a:lnTo>
                  <a:lnTo>
                    <a:pt x="33" y="93"/>
                  </a:lnTo>
                  <a:lnTo>
                    <a:pt x="31" y="93"/>
                  </a:lnTo>
                  <a:lnTo>
                    <a:pt x="27" y="97"/>
                  </a:lnTo>
                  <a:lnTo>
                    <a:pt x="23" y="99"/>
                  </a:lnTo>
                  <a:lnTo>
                    <a:pt x="21" y="99"/>
                  </a:lnTo>
                  <a:lnTo>
                    <a:pt x="2" y="107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4"/>
                  </a:lnTo>
                  <a:lnTo>
                    <a:pt x="4" y="116"/>
                  </a:lnTo>
                  <a:lnTo>
                    <a:pt x="4" y="118"/>
                  </a:lnTo>
                  <a:lnTo>
                    <a:pt x="6" y="118"/>
                  </a:lnTo>
                  <a:lnTo>
                    <a:pt x="6" y="120"/>
                  </a:lnTo>
                  <a:lnTo>
                    <a:pt x="6" y="122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6" y="126"/>
                  </a:lnTo>
                  <a:lnTo>
                    <a:pt x="10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3"/>
                  </a:lnTo>
                  <a:lnTo>
                    <a:pt x="14" y="135"/>
                  </a:lnTo>
                  <a:lnTo>
                    <a:pt x="12" y="139"/>
                  </a:lnTo>
                  <a:lnTo>
                    <a:pt x="12" y="141"/>
                  </a:lnTo>
                  <a:lnTo>
                    <a:pt x="12" y="141"/>
                  </a:lnTo>
                  <a:lnTo>
                    <a:pt x="12" y="143"/>
                  </a:lnTo>
                  <a:lnTo>
                    <a:pt x="14" y="145"/>
                  </a:lnTo>
                  <a:lnTo>
                    <a:pt x="14" y="147"/>
                  </a:lnTo>
                  <a:lnTo>
                    <a:pt x="12" y="154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0" y="160"/>
                  </a:lnTo>
                  <a:lnTo>
                    <a:pt x="10" y="162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8" y="166"/>
                  </a:lnTo>
                  <a:lnTo>
                    <a:pt x="10" y="168"/>
                  </a:lnTo>
                  <a:lnTo>
                    <a:pt x="12" y="171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2" y="175"/>
                  </a:lnTo>
                  <a:lnTo>
                    <a:pt x="10" y="177"/>
                  </a:lnTo>
                  <a:lnTo>
                    <a:pt x="8" y="177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10" y="187"/>
                  </a:lnTo>
                  <a:lnTo>
                    <a:pt x="12" y="187"/>
                  </a:lnTo>
                  <a:lnTo>
                    <a:pt x="14" y="189"/>
                  </a:lnTo>
                  <a:lnTo>
                    <a:pt x="14" y="192"/>
                  </a:lnTo>
                  <a:lnTo>
                    <a:pt x="18" y="198"/>
                  </a:lnTo>
                  <a:lnTo>
                    <a:pt x="27" y="202"/>
                  </a:lnTo>
                  <a:lnTo>
                    <a:pt x="31" y="202"/>
                  </a:lnTo>
                  <a:lnTo>
                    <a:pt x="31" y="202"/>
                  </a:lnTo>
                  <a:lnTo>
                    <a:pt x="31" y="200"/>
                  </a:lnTo>
                  <a:lnTo>
                    <a:pt x="33" y="200"/>
                  </a:lnTo>
                  <a:lnTo>
                    <a:pt x="33" y="198"/>
                  </a:lnTo>
                  <a:lnTo>
                    <a:pt x="35" y="198"/>
                  </a:lnTo>
                  <a:lnTo>
                    <a:pt x="37" y="198"/>
                  </a:lnTo>
                  <a:lnTo>
                    <a:pt x="39" y="198"/>
                  </a:lnTo>
                  <a:lnTo>
                    <a:pt x="41" y="198"/>
                  </a:lnTo>
                  <a:lnTo>
                    <a:pt x="44" y="200"/>
                  </a:lnTo>
                  <a:lnTo>
                    <a:pt x="48" y="204"/>
                  </a:lnTo>
                  <a:lnTo>
                    <a:pt x="54" y="208"/>
                  </a:lnTo>
                  <a:lnTo>
                    <a:pt x="58" y="210"/>
                  </a:lnTo>
                  <a:lnTo>
                    <a:pt x="60" y="213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7" y="217"/>
                  </a:lnTo>
                  <a:lnTo>
                    <a:pt x="69" y="217"/>
                  </a:lnTo>
                  <a:lnTo>
                    <a:pt x="69" y="219"/>
                  </a:lnTo>
                  <a:lnTo>
                    <a:pt x="71" y="221"/>
                  </a:lnTo>
                  <a:lnTo>
                    <a:pt x="71" y="221"/>
                  </a:lnTo>
                  <a:lnTo>
                    <a:pt x="73" y="223"/>
                  </a:lnTo>
                  <a:lnTo>
                    <a:pt x="73" y="225"/>
                  </a:lnTo>
                  <a:lnTo>
                    <a:pt x="73" y="225"/>
                  </a:lnTo>
                  <a:lnTo>
                    <a:pt x="73" y="227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44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6"/>
                  </a:lnTo>
                  <a:lnTo>
                    <a:pt x="64" y="246"/>
                  </a:lnTo>
                  <a:lnTo>
                    <a:pt x="64" y="246"/>
                  </a:lnTo>
                  <a:lnTo>
                    <a:pt x="64" y="246"/>
                  </a:lnTo>
                  <a:lnTo>
                    <a:pt x="62" y="246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4" y="250"/>
                  </a:lnTo>
                  <a:lnTo>
                    <a:pt x="67" y="255"/>
                  </a:lnTo>
                  <a:lnTo>
                    <a:pt x="67" y="257"/>
                  </a:lnTo>
                  <a:lnTo>
                    <a:pt x="67" y="261"/>
                  </a:lnTo>
                  <a:lnTo>
                    <a:pt x="69" y="261"/>
                  </a:lnTo>
                  <a:lnTo>
                    <a:pt x="69" y="263"/>
                  </a:lnTo>
                  <a:lnTo>
                    <a:pt x="71" y="265"/>
                  </a:lnTo>
                  <a:lnTo>
                    <a:pt x="73" y="271"/>
                  </a:lnTo>
                  <a:lnTo>
                    <a:pt x="81" y="276"/>
                  </a:lnTo>
                  <a:lnTo>
                    <a:pt x="85" y="278"/>
                  </a:lnTo>
                  <a:lnTo>
                    <a:pt x="88" y="278"/>
                  </a:lnTo>
                  <a:lnTo>
                    <a:pt x="92" y="286"/>
                  </a:lnTo>
                  <a:lnTo>
                    <a:pt x="108" y="307"/>
                  </a:lnTo>
                  <a:lnTo>
                    <a:pt x="119" y="315"/>
                  </a:lnTo>
                  <a:lnTo>
                    <a:pt x="127" y="320"/>
                  </a:lnTo>
                  <a:lnTo>
                    <a:pt x="134" y="326"/>
                  </a:lnTo>
                  <a:lnTo>
                    <a:pt x="136" y="328"/>
                  </a:lnTo>
                  <a:lnTo>
                    <a:pt x="142" y="330"/>
                  </a:lnTo>
                  <a:lnTo>
                    <a:pt x="150" y="332"/>
                  </a:lnTo>
                  <a:lnTo>
                    <a:pt x="155" y="332"/>
                  </a:lnTo>
                  <a:lnTo>
                    <a:pt x="157" y="334"/>
                  </a:lnTo>
                  <a:lnTo>
                    <a:pt x="157" y="334"/>
                  </a:lnTo>
                  <a:lnTo>
                    <a:pt x="159" y="334"/>
                  </a:lnTo>
                  <a:lnTo>
                    <a:pt x="159" y="336"/>
                  </a:lnTo>
                  <a:lnTo>
                    <a:pt x="159" y="336"/>
                  </a:lnTo>
                  <a:lnTo>
                    <a:pt x="159" y="339"/>
                  </a:lnTo>
                  <a:lnTo>
                    <a:pt x="169" y="334"/>
                  </a:lnTo>
                  <a:lnTo>
                    <a:pt x="171" y="334"/>
                  </a:lnTo>
                  <a:lnTo>
                    <a:pt x="171" y="332"/>
                  </a:lnTo>
                  <a:lnTo>
                    <a:pt x="173" y="332"/>
                  </a:lnTo>
                  <a:lnTo>
                    <a:pt x="173" y="330"/>
                  </a:lnTo>
                  <a:lnTo>
                    <a:pt x="173" y="330"/>
                  </a:lnTo>
                  <a:lnTo>
                    <a:pt x="173" y="328"/>
                  </a:lnTo>
                  <a:lnTo>
                    <a:pt x="176" y="328"/>
                  </a:lnTo>
                  <a:lnTo>
                    <a:pt x="178" y="326"/>
                  </a:lnTo>
                  <a:lnTo>
                    <a:pt x="180" y="324"/>
                  </a:lnTo>
                  <a:lnTo>
                    <a:pt x="180" y="324"/>
                  </a:lnTo>
                  <a:lnTo>
                    <a:pt x="180" y="324"/>
                  </a:lnTo>
                  <a:lnTo>
                    <a:pt x="182" y="324"/>
                  </a:lnTo>
                  <a:lnTo>
                    <a:pt x="182" y="324"/>
                  </a:lnTo>
                  <a:lnTo>
                    <a:pt x="188" y="324"/>
                  </a:lnTo>
                  <a:lnTo>
                    <a:pt x="192" y="322"/>
                  </a:lnTo>
                  <a:lnTo>
                    <a:pt x="194" y="322"/>
                  </a:lnTo>
                  <a:lnTo>
                    <a:pt x="196" y="322"/>
                  </a:lnTo>
                  <a:lnTo>
                    <a:pt x="199" y="322"/>
                  </a:lnTo>
                  <a:lnTo>
                    <a:pt x="199" y="322"/>
                  </a:lnTo>
                  <a:lnTo>
                    <a:pt x="201" y="322"/>
                  </a:lnTo>
                  <a:lnTo>
                    <a:pt x="205" y="322"/>
                  </a:lnTo>
                  <a:lnTo>
                    <a:pt x="205" y="322"/>
                  </a:lnTo>
                  <a:lnTo>
                    <a:pt x="207" y="324"/>
                  </a:lnTo>
                  <a:lnTo>
                    <a:pt x="207" y="324"/>
                  </a:lnTo>
                  <a:lnTo>
                    <a:pt x="207" y="326"/>
                  </a:lnTo>
                  <a:lnTo>
                    <a:pt x="207" y="328"/>
                  </a:lnTo>
                  <a:lnTo>
                    <a:pt x="213" y="332"/>
                  </a:lnTo>
                  <a:lnTo>
                    <a:pt x="213" y="332"/>
                  </a:lnTo>
                  <a:lnTo>
                    <a:pt x="213" y="334"/>
                  </a:lnTo>
                  <a:lnTo>
                    <a:pt x="213" y="334"/>
                  </a:lnTo>
                  <a:lnTo>
                    <a:pt x="215" y="334"/>
                  </a:lnTo>
                  <a:lnTo>
                    <a:pt x="215" y="334"/>
                  </a:lnTo>
                  <a:lnTo>
                    <a:pt x="217" y="336"/>
                  </a:lnTo>
                  <a:lnTo>
                    <a:pt x="217" y="336"/>
                  </a:lnTo>
                  <a:lnTo>
                    <a:pt x="220" y="336"/>
                  </a:lnTo>
                  <a:lnTo>
                    <a:pt x="220" y="339"/>
                  </a:lnTo>
                  <a:lnTo>
                    <a:pt x="222" y="339"/>
                  </a:lnTo>
                  <a:lnTo>
                    <a:pt x="222" y="341"/>
                  </a:lnTo>
                  <a:lnTo>
                    <a:pt x="224" y="341"/>
                  </a:lnTo>
                  <a:lnTo>
                    <a:pt x="232" y="343"/>
                  </a:lnTo>
                  <a:lnTo>
                    <a:pt x="234" y="343"/>
                  </a:lnTo>
                  <a:lnTo>
                    <a:pt x="236" y="341"/>
                  </a:lnTo>
                  <a:lnTo>
                    <a:pt x="238" y="336"/>
                  </a:lnTo>
                  <a:lnTo>
                    <a:pt x="238" y="334"/>
                  </a:lnTo>
                  <a:lnTo>
                    <a:pt x="240" y="332"/>
                  </a:lnTo>
                  <a:lnTo>
                    <a:pt x="243" y="332"/>
                  </a:lnTo>
                  <a:lnTo>
                    <a:pt x="243" y="332"/>
                  </a:lnTo>
                  <a:lnTo>
                    <a:pt x="243" y="330"/>
                  </a:lnTo>
                  <a:lnTo>
                    <a:pt x="245" y="328"/>
                  </a:lnTo>
                  <a:lnTo>
                    <a:pt x="245" y="326"/>
                  </a:lnTo>
                  <a:lnTo>
                    <a:pt x="247" y="326"/>
                  </a:lnTo>
                  <a:lnTo>
                    <a:pt x="247" y="324"/>
                  </a:lnTo>
                  <a:lnTo>
                    <a:pt x="249" y="324"/>
                  </a:lnTo>
                  <a:lnTo>
                    <a:pt x="251" y="322"/>
                  </a:lnTo>
                  <a:lnTo>
                    <a:pt x="253" y="318"/>
                  </a:lnTo>
                  <a:lnTo>
                    <a:pt x="255" y="315"/>
                  </a:lnTo>
                  <a:lnTo>
                    <a:pt x="255" y="315"/>
                  </a:lnTo>
                  <a:lnTo>
                    <a:pt x="257" y="315"/>
                  </a:lnTo>
                  <a:lnTo>
                    <a:pt x="268" y="311"/>
                  </a:lnTo>
                  <a:lnTo>
                    <a:pt x="272" y="311"/>
                  </a:lnTo>
                  <a:lnTo>
                    <a:pt x="284" y="313"/>
                  </a:lnTo>
                  <a:lnTo>
                    <a:pt x="316" y="311"/>
                  </a:lnTo>
                  <a:lnTo>
                    <a:pt x="318" y="311"/>
                  </a:lnTo>
                  <a:lnTo>
                    <a:pt x="316" y="311"/>
                  </a:lnTo>
                  <a:lnTo>
                    <a:pt x="314" y="309"/>
                  </a:lnTo>
                  <a:lnTo>
                    <a:pt x="312" y="309"/>
                  </a:lnTo>
                  <a:lnTo>
                    <a:pt x="310" y="307"/>
                  </a:lnTo>
                  <a:lnTo>
                    <a:pt x="307" y="305"/>
                  </a:lnTo>
                  <a:lnTo>
                    <a:pt x="310" y="305"/>
                  </a:lnTo>
                  <a:lnTo>
                    <a:pt x="312" y="305"/>
                  </a:lnTo>
                  <a:lnTo>
                    <a:pt x="312" y="303"/>
                  </a:lnTo>
                  <a:lnTo>
                    <a:pt x="312" y="303"/>
                  </a:lnTo>
                  <a:lnTo>
                    <a:pt x="312" y="301"/>
                  </a:lnTo>
                  <a:lnTo>
                    <a:pt x="314" y="301"/>
                  </a:lnTo>
                  <a:lnTo>
                    <a:pt x="314" y="297"/>
                  </a:lnTo>
                  <a:lnTo>
                    <a:pt x="316" y="294"/>
                  </a:lnTo>
                  <a:lnTo>
                    <a:pt x="314" y="292"/>
                  </a:lnTo>
                  <a:lnTo>
                    <a:pt x="314" y="292"/>
                  </a:lnTo>
                  <a:lnTo>
                    <a:pt x="312" y="290"/>
                  </a:lnTo>
                  <a:lnTo>
                    <a:pt x="312" y="288"/>
                  </a:lnTo>
                  <a:lnTo>
                    <a:pt x="312" y="282"/>
                  </a:lnTo>
                  <a:lnTo>
                    <a:pt x="312" y="286"/>
                  </a:lnTo>
                  <a:lnTo>
                    <a:pt x="314" y="288"/>
                  </a:lnTo>
                  <a:lnTo>
                    <a:pt x="316" y="288"/>
                  </a:lnTo>
                  <a:lnTo>
                    <a:pt x="324" y="288"/>
                  </a:lnTo>
                  <a:lnTo>
                    <a:pt x="326" y="286"/>
                  </a:lnTo>
                  <a:lnTo>
                    <a:pt x="331" y="286"/>
                  </a:lnTo>
                  <a:lnTo>
                    <a:pt x="331" y="284"/>
                  </a:lnTo>
                  <a:lnTo>
                    <a:pt x="333" y="282"/>
                  </a:lnTo>
                  <a:lnTo>
                    <a:pt x="331" y="280"/>
                  </a:lnTo>
                  <a:lnTo>
                    <a:pt x="328" y="278"/>
                  </a:lnTo>
                  <a:lnTo>
                    <a:pt x="326" y="278"/>
                  </a:lnTo>
                  <a:lnTo>
                    <a:pt x="324" y="278"/>
                  </a:lnTo>
                  <a:lnTo>
                    <a:pt x="324" y="276"/>
                  </a:lnTo>
                  <a:lnTo>
                    <a:pt x="322" y="276"/>
                  </a:lnTo>
                  <a:lnTo>
                    <a:pt x="322" y="276"/>
                  </a:lnTo>
                  <a:lnTo>
                    <a:pt x="322" y="276"/>
                  </a:lnTo>
                  <a:lnTo>
                    <a:pt x="316" y="276"/>
                  </a:lnTo>
                  <a:lnTo>
                    <a:pt x="316" y="276"/>
                  </a:lnTo>
                  <a:lnTo>
                    <a:pt x="314" y="278"/>
                  </a:lnTo>
                  <a:lnTo>
                    <a:pt x="312" y="276"/>
                  </a:lnTo>
                  <a:lnTo>
                    <a:pt x="307" y="276"/>
                  </a:lnTo>
                  <a:lnTo>
                    <a:pt x="307" y="273"/>
                  </a:lnTo>
                  <a:lnTo>
                    <a:pt x="314" y="273"/>
                  </a:lnTo>
                  <a:lnTo>
                    <a:pt x="316" y="271"/>
                  </a:lnTo>
                  <a:lnTo>
                    <a:pt x="318" y="269"/>
                  </a:lnTo>
                  <a:lnTo>
                    <a:pt x="318" y="267"/>
                  </a:lnTo>
                  <a:lnTo>
                    <a:pt x="322" y="265"/>
                  </a:lnTo>
                  <a:lnTo>
                    <a:pt x="322" y="263"/>
                  </a:lnTo>
                  <a:lnTo>
                    <a:pt x="322" y="261"/>
                  </a:lnTo>
                  <a:lnTo>
                    <a:pt x="318" y="261"/>
                  </a:lnTo>
                  <a:lnTo>
                    <a:pt x="316" y="263"/>
                  </a:lnTo>
                  <a:lnTo>
                    <a:pt x="314" y="263"/>
                  </a:lnTo>
                  <a:lnTo>
                    <a:pt x="312" y="263"/>
                  </a:lnTo>
                  <a:lnTo>
                    <a:pt x="310" y="265"/>
                  </a:lnTo>
                  <a:lnTo>
                    <a:pt x="307" y="265"/>
                  </a:lnTo>
                  <a:lnTo>
                    <a:pt x="305" y="265"/>
                  </a:lnTo>
                  <a:lnTo>
                    <a:pt x="303" y="265"/>
                  </a:lnTo>
                  <a:lnTo>
                    <a:pt x="301" y="265"/>
                  </a:lnTo>
                  <a:lnTo>
                    <a:pt x="303" y="263"/>
                  </a:lnTo>
                  <a:lnTo>
                    <a:pt x="314" y="261"/>
                  </a:lnTo>
                  <a:lnTo>
                    <a:pt x="318" y="259"/>
                  </a:lnTo>
                  <a:lnTo>
                    <a:pt x="320" y="259"/>
                  </a:lnTo>
                  <a:lnTo>
                    <a:pt x="322" y="255"/>
                  </a:lnTo>
                  <a:lnTo>
                    <a:pt x="322" y="252"/>
                  </a:lnTo>
                  <a:lnTo>
                    <a:pt x="322" y="252"/>
                  </a:lnTo>
                  <a:lnTo>
                    <a:pt x="324" y="250"/>
                  </a:lnTo>
                  <a:lnTo>
                    <a:pt x="326" y="250"/>
                  </a:lnTo>
                  <a:lnTo>
                    <a:pt x="328" y="250"/>
                  </a:lnTo>
                  <a:lnTo>
                    <a:pt x="331" y="250"/>
                  </a:lnTo>
                  <a:lnTo>
                    <a:pt x="331" y="250"/>
                  </a:lnTo>
                  <a:lnTo>
                    <a:pt x="331" y="248"/>
                  </a:lnTo>
                  <a:lnTo>
                    <a:pt x="331" y="246"/>
                  </a:lnTo>
                  <a:lnTo>
                    <a:pt x="331" y="246"/>
                  </a:lnTo>
                  <a:lnTo>
                    <a:pt x="331" y="244"/>
                  </a:lnTo>
                  <a:lnTo>
                    <a:pt x="331" y="244"/>
                  </a:lnTo>
                  <a:lnTo>
                    <a:pt x="331" y="244"/>
                  </a:lnTo>
                  <a:lnTo>
                    <a:pt x="328" y="244"/>
                  </a:lnTo>
                  <a:lnTo>
                    <a:pt x="328" y="242"/>
                  </a:lnTo>
                  <a:lnTo>
                    <a:pt x="328" y="242"/>
                  </a:lnTo>
                  <a:lnTo>
                    <a:pt x="331" y="242"/>
                  </a:lnTo>
                  <a:lnTo>
                    <a:pt x="331" y="242"/>
                  </a:lnTo>
                  <a:lnTo>
                    <a:pt x="331" y="242"/>
                  </a:lnTo>
                  <a:lnTo>
                    <a:pt x="333" y="242"/>
                  </a:lnTo>
                  <a:lnTo>
                    <a:pt x="333" y="244"/>
                  </a:lnTo>
                  <a:lnTo>
                    <a:pt x="335" y="244"/>
                  </a:lnTo>
                  <a:lnTo>
                    <a:pt x="335" y="244"/>
                  </a:lnTo>
                  <a:lnTo>
                    <a:pt x="335" y="244"/>
                  </a:lnTo>
                  <a:lnTo>
                    <a:pt x="337" y="244"/>
                  </a:lnTo>
                  <a:lnTo>
                    <a:pt x="337" y="244"/>
                  </a:lnTo>
                  <a:lnTo>
                    <a:pt x="339" y="244"/>
                  </a:lnTo>
                  <a:lnTo>
                    <a:pt x="339" y="242"/>
                  </a:lnTo>
                  <a:lnTo>
                    <a:pt x="339" y="242"/>
                  </a:lnTo>
                  <a:lnTo>
                    <a:pt x="347" y="242"/>
                  </a:lnTo>
                  <a:lnTo>
                    <a:pt x="349" y="242"/>
                  </a:lnTo>
                  <a:lnTo>
                    <a:pt x="349" y="242"/>
                  </a:lnTo>
                  <a:lnTo>
                    <a:pt x="351" y="242"/>
                  </a:lnTo>
                  <a:lnTo>
                    <a:pt x="351" y="240"/>
                  </a:lnTo>
                  <a:lnTo>
                    <a:pt x="351" y="238"/>
                  </a:lnTo>
                  <a:lnTo>
                    <a:pt x="351" y="238"/>
                  </a:lnTo>
                  <a:close/>
                  <a:moveTo>
                    <a:pt x="52" y="34"/>
                  </a:move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4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4"/>
                  </a:lnTo>
                  <a:close/>
                  <a:moveTo>
                    <a:pt x="266" y="210"/>
                  </a:moveTo>
                  <a:lnTo>
                    <a:pt x="261" y="213"/>
                  </a:lnTo>
                  <a:lnTo>
                    <a:pt x="261" y="213"/>
                  </a:lnTo>
                  <a:lnTo>
                    <a:pt x="261" y="215"/>
                  </a:lnTo>
                  <a:lnTo>
                    <a:pt x="263" y="215"/>
                  </a:lnTo>
                  <a:lnTo>
                    <a:pt x="268" y="213"/>
                  </a:lnTo>
                  <a:lnTo>
                    <a:pt x="270" y="210"/>
                  </a:lnTo>
                  <a:lnTo>
                    <a:pt x="268" y="210"/>
                  </a:lnTo>
                  <a:lnTo>
                    <a:pt x="266" y="210"/>
                  </a:lnTo>
                  <a:close/>
                  <a:moveTo>
                    <a:pt x="186" y="99"/>
                  </a:moveTo>
                  <a:lnTo>
                    <a:pt x="190" y="101"/>
                  </a:lnTo>
                  <a:lnTo>
                    <a:pt x="194" y="103"/>
                  </a:lnTo>
                  <a:lnTo>
                    <a:pt x="209" y="105"/>
                  </a:lnTo>
                  <a:lnTo>
                    <a:pt x="211" y="107"/>
                  </a:lnTo>
                  <a:lnTo>
                    <a:pt x="211" y="107"/>
                  </a:lnTo>
                  <a:lnTo>
                    <a:pt x="213" y="107"/>
                  </a:lnTo>
                  <a:lnTo>
                    <a:pt x="217" y="114"/>
                  </a:lnTo>
                  <a:lnTo>
                    <a:pt x="222" y="118"/>
                  </a:lnTo>
                  <a:lnTo>
                    <a:pt x="226" y="120"/>
                  </a:lnTo>
                  <a:lnTo>
                    <a:pt x="230" y="120"/>
                  </a:lnTo>
                  <a:lnTo>
                    <a:pt x="230" y="118"/>
                  </a:lnTo>
                  <a:lnTo>
                    <a:pt x="228" y="112"/>
                  </a:lnTo>
                  <a:lnTo>
                    <a:pt x="228" y="105"/>
                  </a:lnTo>
                  <a:lnTo>
                    <a:pt x="228" y="101"/>
                  </a:lnTo>
                  <a:lnTo>
                    <a:pt x="226" y="99"/>
                  </a:lnTo>
                  <a:lnTo>
                    <a:pt x="217" y="97"/>
                  </a:lnTo>
                  <a:lnTo>
                    <a:pt x="215" y="95"/>
                  </a:lnTo>
                  <a:lnTo>
                    <a:pt x="213" y="95"/>
                  </a:lnTo>
                  <a:lnTo>
                    <a:pt x="213" y="95"/>
                  </a:lnTo>
                  <a:lnTo>
                    <a:pt x="213" y="95"/>
                  </a:lnTo>
                  <a:lnTo>
                    <a:pt x="209" y="95"/>
                  </a:lnTo>
                  <a:lnTo>
                    <a:pt x="203" y="93"/>
                  </a:lnTo>
                  <a:lnTo>
                    <a:pt x="199" y="93"/>
                  </a:lnTo>
                  <a:lnTo>
                    <a:pt x="196" y="93"/>
                  </a:lnTo>
                  <a:lnTo>
                    <a:pt x="194" y="91"/>
                  </a:lnTo>
                  <a:lnTo>
                    <a:pt x="192" y="91"/>
                  </a:lnTo>
                  <a:lnTo>
                    <a:pt x="188" y="89"/>
                  </a:lnTo>
                  <a:lnTo>
                    <a:pt x="186" y="89"/>
                  </a:lnTo>
                  <a:lnTo>
                    <a:pt x="182" y="89"/>
                  </a:lnTo>
                  <a:lnTo>
                    <a:pt x="182" y="91"/>
                  </a:lnTo>
                  <a:lnTo>
                    <a:pt x="184" y="95"/>
                  </a:lnTo>
                  <a:lnTo>
                    <a:pt x="186" y="99"/>
                  </a:lnTo>
                  <a:close/>
                  <a:moveTo>
                    <a:pt x="127" y="65"/>
                  </a:moveTo>
                  <a:lnTo>
                    <a:pt x="127" y="68"/>
                  </a:lnTo>
                  <a:lnTo>
                    <a:pt x="129" y="72"/>
                  </a:lnTo>
                  <a:lnTo>
                    <a:pt x="129" y="74"/>
                  </a:lnTo>
                  <a:lnTo>
                    <a:pt x="134" y="78"/>
                  </a:lnTo>
                  <a:lnTo>
                    <a:pt x="138" y="78"/>
                  </a:lnTo>
                  <a:lnTo>
                    <a:pt x="142" y="80"/>
                  </a:lnTo>
                  <a:lnTo>
                    <a:pt x="144" y="80"/>
                  </a:lnTo>
                  <a:lnTo>
                    <a:pt x="146" y="80"/>
                  </a:lnTo>
                  <a:lnTo>
                    <a:pt x="148" y="78"/>
                  </a:lnTo>
                  <a:lnTo>
                    <a:pt x="148" y="78"/>
                  </a:lnTo>
                  <a:lnTo>
                    <a:pt x="150" y="76"/>
                  </a:lnTo>
                  <a:lnTo>
                    <a:pt x="155" y="74"/>
                  </a:lnTo>
                  <a:lnTo>
                    <a:pt x="157" y="72"/>
                  </a:lnTo>
                  <a:lnTo>
                    <a:pt x="157" y="70"/>
                  </a:lnTo>
                  <a:lnTo>
                    <a:pt x="157" y="65"/>
                  </a:lnTo>
                  <a:lnTo>
                    <a:pt x="157" y="63"/>
                  </a:lnTo>
                  <a:lnTo>
                    <a:pt x="159" y="59"/>
                  </a:lnTo>
                  <a:lnTo>
                    <a:pt x="161" y="57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55" y="47"/>
                  </a:lnTo>
                  <a:lnTo>
                    <a:pt x="155" y="44"/>
                  </a:lnTo>
                  <a:lnTo>
                    <a:pt x="150" y="42"/>
                  </a:lnTo>
                  <a:lnTo>
                    <a:pt x="148" y="40"/>
                  </a:lnTo>
                  <a:lnTo>
                    <a:pt x="144" y="42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8" y="47"/>
                  </a:lnTo>
                  <a:lnTo>
                    <a:pt x="134" y="47"/>
                  </a:lnTo>
                  <a:lnTo>
                    <a:pt x="132" y="47"/>
                  </a:lnTo>
                  <a:lnTo>
                    <a:pt x="129" y="47"/>
                  </a:lnTo>
                  <a:lnTo>
                    <a:pt x="127" y="49"/>
                  </a:lnTo>
                  <a:lnTo>
                    <a:pt x="125" y="51"/>
                  </a:lnTo>
                  <a:lnTo>
                    <a:pt x="123" y="59"/>
                  </a:lnTo>
                  <a:lnTo>
                    <a:pt x="125" y="61"/>
                  </a:lnTo>
                  <a:lnTo>
                    <a:pt x="127" y="65"/>
                  </a:lnTo>
                  <a:close/>
                  <a:moveTo>
                    <a:pt x="88" y="23"/>
                  </a:moveTo>
                  <a:lnTo>
                    <a:pt x="88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8" y="2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3" name="Freeform 105">
              <a:extLst>
                <a:ext uri="{FF2B5EF4-FFF2-40B4-BE49-F238E27FC236}">
                  <a16:creationId xmlns:a16="http://schemas.microsoft.com/office/drawing/2014/main" id="{A230AD76-287B-4837-9ACA-C8EB4A5540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31778" y="588580"/>
              <a:ext cx="378619" cy="548878"/>
            </a:xfrm>
            <a:custGeom>
              <a:avLst/>
              <a:gdLst>
                <a:gd name="T0" fmla="*/ 125 w 318"/>
                <a:gd name="T1" fmla="*/ 433 h 461"/>
                <a:gd name="T2" fmla="*/ 113 w 318"/>
                <a:gd name="T3" fmla="*/ 454 h 461"/>
                <a:gd name="T4" fmla="*/ 132 w 318"/>
                <a:gd name="T5" fmla="*/ 456 h 461"/>
                <a:gd name="T6" fmla="*/ 134 w 318"/>
                <a:gd name="T7" fmla="*/ 452 h 461"/>
                <a:gd name="T8" fmla="*/ 73 w 318"/>
                <a:gd name="T9" fmla="*/ 412 h 461"/>
                <a:gd name="T10" fmla="*/ 71 w 318"/>
                <a:gd name="T11" fmla="*/ 303 h 461"/>
                <a:gd name="T12" fmla="*/ 44 w 318"/>
                <a:gd name="T13" fmla="*/ 274 h 461"/>
                <a:gd name="T14" fmla="*/ 33 w 318"/>
                <a:gd name="T15" fmla="*/ 265 h 461"/>
                <a:gd name="T16" fmla="*/ 19 w 318"/>
                <a:gd name="T17" fmla="*/ 269 h 461"/>
                <a:gd name="T18" fmla="*/ 0 w 318"/>
                <a:gd name="T19" fmla="*/ 271 h 461"/>
                <a:gd name="T20" fmla="*/ 14 w 318"/>
                <a:gd name="T21" fmla="*/ 284 h 461"/>
                <a:gd name="T22" fmla="*/ 27 w 318"/>
                <a:gd name="T23" fmla="*/ 305 h 461"/>
                <a:gd name="T24" fmla="*/ 52 w 318"/>
                <a:gd name="T25" fmla="*/ 332 h 461"/>
                <a:gd name="T26" fmla="*/ 58 w 318"/>
                <a:gd name="T27" fmla="*/ 351 h 461"/>
                <a:gd name="T28" fmla="*/ 75 w 318"/>
                <a:gd name="T29" fmla="*/ 337 h 461"/>
                <a:gd name="T30" fmla="*/ 105 w 318"/>
                <a:gd name="T31" fmla="*/ 416 h 461"/>
                <a:gd name="T32" fmla="*/ 136 w 318"/>
                <a:gd name="T33" fmla="*/ 391 h 461"/>
                <a:gd name="T34" fmla="*/ 163 w 318"/>
                <a:gd name="T35" fmla="*/ 389 h 461"/>
                <a:gd name="T36" fmla="*/ 119 w 318"/>
                <a:gd name="T37" fmla="*/ 408 h 461"/>
                <a:gd name="T38" fmla="*/ 140 w 318"/>
                <a:gd name="T39" fmla="*/ 435 h 461"/>
                <a:gd name="T40" fmla="*/ 304 w 318"/>
                <a:gd name="T41" fmla="*/ 223 h 461"/>
                <a:gd name="T42" fmla="*/ 306 w 318"/>
                <a:gd name="T43" fmla="*/ 164 h 461"/>
                <a:gd name="T44" fmla="*/ 297 w 318"/>
                <a:gd name="T45" fmla="*/ 154 h 461"/>
                <a:gd name="T46" fmla="*/ 287 w 318"/>
                <a:gd name="T47" fmla="*/ 162 h 461"/>
                <a:gd name="T48" fmla="*/ 278 w 318"/>
                <a:gd name="T49" fmla="*/ 148 h 461"/>
                <a:gd name="T50" fmla="*/ 276 w 318"/>
                <a:gd name="T51" fmla="*/ 160 h 461"/>
                <a:gd name="T52" fmla="*/ 272 w 318"/>
                <a:gd name="T53" fmla="*/ 148 h 461"/>
                <a:gd name="T54" fmla="*/ 262 w 318"/>
                <a:gd name="T55" fmla="*/ 118 h 461"/>
                <a:gd name="T56" fmla="*/ 226 w 318"/>
                <a:gd name="T57" fmla="*/ 91 h 461"/>
                <a:gd name="T58" fmla="*/ 180 w 318"/>
                <a:gd name="T59" fmla="*/ 61 h 461"/>
                <a:gd name="T60" fmla="*/ 138 w 318"/>
                <a:gd name="T61" fmla="*/ 28 h 461"/>
                <a:gd name="T62" fmla="*/ 111 w 318"/>
                <a:gd name="T63" fmla="*/ 13 h 461"/>
                <a:gd name="T64" fmla="*/ 113 w 318"/>
                <a:gd name="T65" fmla="*/ 9 h 461"/>
                <a:gd name="T66" fmla="*/ 94 w 318"/>
                <a:gd name="T67" fmla="*/ 7 h 461"/>
                <a:gd name="T68" fmla="*/ 88 w 318"/>
                <a:gd name="T69" fmla="*/ 30 h 461"/>
                <a:gd name="T70" fmla="*/ 77 w 318"/>
                <a:gd name="T71" fmla="*/ 42 h 461"/>
                <a:gd name="T72" fmla="*/ 75 w 318"/>
                <a:gd name="T73" fmla="*/ 70 h 461"/>
                <a:gd name="T74" fmla="*/ 79 w 318"/>
                <a:gd name="T75" fmla="*/ 84 h 461"/>
                <a:gd name="T76" fmla="*/ 77 w 318"/>
                <a:gd name="T77" fmla="*/ 103 h 461"/>
                <a:gd name="T78" fmla="*/ 77 w 318"/>
                <a:gd name="T79" fmla="*/ 116 h 461"/>
                <a:gd name="T80" fmla="*/ 90 w 318"/>
                <a:gd name="T81" fmla="*/ 139 h 461"/>
                <a:gd name="T82" fmla="*/ 90 w 318"/>
                <a:gd name="T83" fmla="*/ 156 h 461"/>
                <a:gd name="T84" fmla="*/ 96 w 318"/>
                <a:gd name="T85" fmla="*/ 177 h 461"/>
                <a:gd name="T86" fmla="*/ 115 w 318"/>
                <a:gd name="T87" fmla="*/ 213 h 461"/>
                <a:gd name="T88" fmla="*/ 138 w 318"/>
                <a:gd name="T89" fmla="*/ 223 h 461"/>
                <a:gd name="T90" fmla="*/ 155 w 318"/>
                <a:gd name="T91" fmla="*/ 236 h 461"/>
                <a:gd name="T92" fmla="*/ 163 w 318"/>
                <a:gd name="T93" fmla="*/ 255 h 461"/>
                <a:gd name="T94" fmla="*/ 157 w 318"/>
                <a:gd name="T95" fmla="*/ 263 h 461"/>
                <a:gd name="T96" fmla="*/ 165 w 318"/>
                <a:gd name="T97" fmla="*/ 280 h 461"/>
                <a:gd name="T98" fmla="*/ 186 w 318"/>
                <a:gd name="T99" fmla="*/ 343 h 461"/>
                <a:gd name="T100" fmla="*/ 192 w 318"/>
                <a:gd name="T101" fmla="*/ 372 h 461"/>
                <a:gd name="T102" fmla="*/ 216 w 318"/>
                <a:gd name="T103" fmla="*/ 360 h 461"/>
                <a:gd name="T104" fmla="*/ 243 w 318"/>
                <a:gd name="T105" fmla="*/ 353 h 461"/>
                <a:gd name="T106" fmla="*/ 262 w 318"/>
                <a:gd name="T107" fmla="*/ 360 h 461"/>
                <a:gd name="T108" fmla="*/ 260 w 318"/>
                <a:gd name="T109" fmla="*/ 339 h 461"/>
                <a:gd name="T110" fmla="*/ 249 w 318"/>
                <a:gd name="T111" fmla="*/ 326 h 461"/>
                <a:gd name="T112" fmla="*/ 260 w 318"/>
                <a:gd name="T113" fmla="*/ 322 h 461"/>
                <a:gd name="T114" fmla="*/ 289 w 318"/>
                <a:gd name="T115" fmla="*/ 335 h 461"/>
                <a:gd name="T116" fmla="*/ 295 w 318"/>
                <a:gd name="T117" fmla="*/ 322 h 461"/>
                <a:gd name="T118" fmla="*/ 295 w 318"/>
                <a:gd name="T119" fmla="*/ 292 h 461"/>
                <a:gd name="T120" fmla="*/ 283 w 318"/>
                <a:gd name="T121" fmla="*/ 276 h 461"/>
                <a:gd name="T122" fmla="*/ 318 w 318"/>
                <a:gd name="T123" fmla="*/ 250 h 461"/>
                <a:gd name="T124" fmla="*/ 136 w 318"/>
                <a:gd name="T125" fmla="*/ 248 h 4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" h="461">
                  <a:moveTo>
                    <a:pt x="134" y="442"/>
                  </a:moveTo>
                  <a:lnTo>
                    <a:pt x="136" y="440"/>
                  </a:lnTo>
                  <a:lnTo>
                    <a:pt x="134" y="435"/>
                  </a:lnTo>
                  <a:lnTo>
                    <a:pt x="130" y="429"/>
                  </a:lnTo>
                  <a:lnTo>
                    <a:pt x="130" y="427"/>
                  </a:lnTo>
                  <a:lnTo>
                    <a:pt x="128" y="427"/>
                  </a:lnTo>
                  <a:lnTo>
                    <a:pt x="128" y="429"/>
                  </a:lnTo>
                  <a:lnTo>
                    <a:pt x="128" y="431"/>
                  </a:lnTo>
                  <a:lnTo>
                    <a:pt x="128" y="433"/>
                  </a:lnTo>
                  <a:lnTo>
                    <a:pt x="128" y="433"/>
                  </a:lnTo>
                  <a:lnTo>
                    <a:pt x="125" y="433"/>
                  </a:lnTo>
                  <a:lnTo>
                    <a:pt x="125" y="433"/>
                  </a:lnTo>
                  <a:lnTo>
                    <a:pt x="125" y="433"/>
                  </a:lnTo>
                  <a:lnTo>
                    <a:pt x="123" y="435"/>
                  </a:lnTo>
                  <a:lnTo>
                    <a:pt x="121" y="437"/>
                  </a:lnTo>
                  <a:lnTo>
                    <a:pt x="121" y="437"/>
                  </a:lnTo>
                  <a:lnTo>
                    <a:pt x="121" y="440"/>
                  </a:lnTo>
                  <a:lnTo>
                    <a:pt x="121" y="444"/>
                  </a:lnTo>
                  <a:lnTo>
                    <a:pt x="121" y="446"/>
                  </a:lnTo>
                  <a:lnTo>
                    <a:pt x="119" y="452"/>
                  </a:lnTo>
                  <a:lnTo>
                    <a:pt x="119" y="452"/>
                  </a:lnTo>
                  <a:lnTo>
                    <a:pt x="119" y="454"/>
                  </a:lnTo>
                  <a:lnTo>
                    <a:pt x="117" y="452"/>
                  </a:lnTo>
                  <a:lnTo>
                    <a:pt x="115" y="452"/>
                  </a:lnTo>
                  <a:lnTo>
                    <a:pt x="115" y="452"/>
                  </a:lnTo>
                  <a:lnTo>
                    <a:pt x="113" y="454"/>
                  </a:lnTo>
                  <a:lnTo>
                    <a:pt x="113" y="454"/>
                  </a:lnTo>
                  <a:lnTo>
                    <a:pt x="117" y="454"/>
                  </a:lnTo>
                  <a:lnTo>
                    <a:pt x="123" y="458"/>
                  </a:lnTo>
                  <a:lnTo>
                    <a:pt x="128" y="461"/>
                  </a:lnTo>
                  <a:lnTo>
                    <a:pt x="128" y="458"/>
                  </a:lnTo>
                  <a:lnTo>
                    <a:pt x="128" y="456"/>
                  </a:lnTo>
                  <a:lnTo>
                    <a:pt x="128" y="456"/>
                  </a:lnTo>
                  <a:lnTo>
                    <a:pt x="128" y="454"/>
                  </a:lnTo>
                  <a:lnTo>
                    <a:pt x="130" y="454"/>
                  </a:lnTo>
                  <a:lnTo>
                    <a:pt x="132" y="454"/>
                  </a:lnTo>
                  <a:lnTo>
                    <a:pt x="132" y="454"/>
                  </a:lnTo>
                  <a:lnTo>
                    <a:pt x="130" y="456"/>
                  </a:lnTo>
                  <a:lnTo>
                    <a:pt x="132" y="456"/>
                  </a:lnTo>
                  <a:lnTo>
                    <a:pt x="132" y="456"/>
                  </a:lnTo>
                  <a:lnTo>
                    <a:pt x="132" y="456"/>
                  </a:lnTo>
                  <a:lnTo>
                    <a:pt x="134" y="456"/>
                  </a:lnTo>
                  <a:lnTo>
                    <a:pt x="134" y="456"/>
                  </a:lnTo>
                  <a:lnTo>
                    <a:pt x="134" y="456"/>
                  </a:lnTo>
                  <a:lnTo>
                    <a:pt x="134" y="456"/>
                  </a:lnTo>
                  <a:lnTo>
                    <a:pt x="134" y="458"/>
                  </a:lnTo>
                  <a:lnTo>
                    <a:pt x="134" y="458"/>
                  </a:lnTo>
                  <a:lnTo>
                    <a:pt x="134" y="456"/>
                  </a:lnTo>
                  <a:lnTo>
                    <a:pt x="134" y="454"/>
                  </a:lnTo>
                  <a:lnTo>
                    <a:pt x="134" y="454"/>
                  </a:lnTo>
                  <a:lnTo>
                    <a:pt x="134" y="452"/>
                  </a:lnTo>
                  <a:lnTo>
                    <a:pt x="134" y="452"/>
                  </a:lnTo>
                  <a:lnTo>
                    <a:pt x="134" y="450"/>
                  </a:lnTo>
                  <a:lnTo>
                    <a:pt x="134" y="450"/>
                  </a:lnTo>
                  <a:lnTo>
                    <a:pt x="134" y="448"/>
                  </a:lnTo>
                  <a:lnTo>
                    <a:pt x="136" y="446"/>
                  </a:lnTo>
                  <a:lnTo>
                    <a:pt x="136" y="444"/>
                  </a:lnTo>
                  <a:lnTo>
                    <a:pt x="136" y="442"/>
                  </a:lnTo>
                  <a:lnTo>
                    <a:pt x="134" y="442"/>
                  </a:lnTo>
                  <a:close/>
                  <a:moveTo>
                    <a:pt x="75" y="410"/>
                  </a:moveTo>
                  <a:lnTo>
                    <a:pt x="75" y="410"/>
                  </a:lnTo>
                  <a:lnTo>
                    <a:pt x="73" y="410"/>
                  </a:lnTo>
                  <a:lnTo>
                    <a:pt x="73" y="410"/>
                  </a:lnTo>
                  <a:lnTo>
                    <a:pt x="73" y="410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5" y="412"/>
                  </a:lnTo>
                  <a:lnTo>
                    <a:pt x="77" y="412"/>
                  </a:lnTo>
                  <a:lnTo>
                    <a:pt x="77" y="412"/>
                  </a:lnTo>
                  <a:lnTo>
                    <a:pt x="75" y="410"/>
                  </a:lnTo>
                  <a:lnTo>
                    <a:pt x="75" y="410"/>
                  </a:lnTo>
                  <a:close/>
                  <a:moveTo>
                    <a:pt x="79" y="309"/>
                  </a:moveTo>
                  <a:lnTo>
                    <a:pt x="77" y="307"/>
                  </a:lnTo>
                  <a:lnTo>
                    <a:pt x="77" y="305"/>
                  </a:lnTo>
                  <a:lnTo>
                    <a:pt x="75" y="305"/>
                  </a:lnTo>
                  <a:lnTo>
                    <a:pt x="73" y="305"/>
                  </a:lnTo>
                  <a:lnTo>
                    <a:pt x="71" y="303"/>
                  </a:lnTo>
                  <a:lnTo>
                    <a:pt x="71" y="303"/>
                  </a:lnTo>
                  <a:lnTo>
                    <a:pt x="71" y="301"/>
                  </a:lnTo>
                  <a:lnTo>
                    <a:pt x="71" y="301"/>
                  </a:lnTo>
                  <a:lnTo>
                    <a:pt x="69" y="299"/>
                  </a:lnTo>
                  <a:lnTo>
                    <a:pt x="67" y="297"/>
                  </a:lnTo>
                  <a:lnTo>
                    <a:pt x="67" y="297"/>
                  </a:lnTo>
                  <a:lnTo>
                    <a:pt x="65" y="295"/>
                  </a:lnTo>
                  <a:lnTo>
                    <a:pt x="61" y="295"/>
                  </a:lnTo>
                  <a:lnTo>
                    <a:pt x="58" y="292"/>
                  </a:lnTo>
                  <a:lnTo>
                    <a:pt x="50" y="284"/>
                  </a:lnTo>
                  <a:lnTo>
                    <a:pt x="50" y="280"/>
                  </a:lnTo>
                  <a:lnTo>
                    <a:pt x="48" y="278"/>
                  </a:lnTo>
                  <a:lnTo>
                    <a:pt x="44" y="274"/>
                  </a:lnTo>
                  <a:lnTo>
                    <a:pt x="44" y="274"/>
                  </a:lnTo>
                  <a:lnTo>
                    <a:pt x="42" y="271"/>
                  </a:lnTo>
                  <a:lnTo>
                    <a:pt x="42" y="269"/>
                  </a:lnTo>
                  <a:lnTo>
                    <a:pt x="42" y="269"/>
                  </a:lnTo>
                  <a:lnTo>
                    <a:pt x="40" y="267"/>
                  </a:lnTo>
                  <a:lnTo>
                    <a:pt x="40" y="267"/>
                  </a:lnTo>
                  <a:lnTo>
                    <a:pt x="40" y="265"/>
                  </a:lnTo>
                  <a:lnTo>
                    <a:pt x="40" y="265"/>
                  </a:lnTo>
                  <a:lnTo>
                    <a:pt x="37" y="265"/>
                  </a:lnTo>
                  <a:lnTo>
                    <a:pt x="37" y="265"/>
                  </a:lnTo>
                  <a:lnTo>
                    <a:pt x="35" y="265"/>
                  </a:lnTo>
                  <a:lnTo>
                    <a:pt x="35" y="265"/>
                  </a:lnTo>
                  <a:lnTo>
                    <a:pt x="35" y="265"/>
                  </a:lnTo>
                  <a:lnTo>
                    <a:pt x="33" y="265"/>
                  </a:lnTo>
                  <a:lnTo>
                    <a:pt x="33" y="263"/>
                  </a:lnTo>
                  <a:lnTo>
                    <a:pt x="33" y="263"/>
                  </a:lnTo>
                  <a:lnTo>
                    <a:pt x="31" y="261"/>
                  </a:lnTo>
                  <a:lnTo>
                    <a:pt x="31" y="263"/>
                  </a:lnTo>
                  <a:lnTo>
                    <a:pt x="29" y="263"/>
                  </a:lnTo>
                  <a:lnTo>
                    <a:pt x="29" y="261"/>
                  </a:lnTo>
                  <a:lnTo>
                    <a:pt x="25" y="259"/>
                  </a:lnTo>
                  <a:lnTo>
                    <a:pt x="25" y="261"/>
                  </a:lnTo>
                  <a:lnTo>
                    <a:pt x="25" y="261"/>
                  </a:lnTo>
                  <a:lnTo>
                    <a:pt x="25" y="263"/>
                  </a:lnTo>
                  <a:lnTo>
                    <a:pt x="25" y="265"/>
                  </a:lnTo>
                  <a:lnTo>
                    <a:pt x="23" y="265"/>
                  </a:lnTo>
                  <a:lnTo>
                    <a:pt x="19" y="269"/>
                  </a:lnTo>
                  <a:lnTo>
                    <a:pt x="17" y="271"/>
                  </a:lnTo>
                  <a:lnTo>
                    <a:pt x="14" y="271"/>
                  </a:lnTo>
                  <a:lnTo>
                    <a:pt x="12" y="271"/>
                  </a:lnTo>
                  <a:lnTo>
                    <a:pt x="10" y="271"/>
                  </a:lnTo>
                  <a:lnTo>
                    <a:pt x="8" y="271"/>
                  </a:lnTo>
                  <a:lnTo>
                    <a:pt x="8" y="271"/>
                  </a:lnTo>
                  <a:lnTo>
                    <a:pt x="8" y="271"/>
                  </a:lnTo>
                  <a:lnTo>
                    <a:pt x="6" y="271"/>
                  </a:lnTo>
                  <a:lnTo>
                    <a:pt x="6" y="269"/>
                  </a:lnTo>
                  <a:lnTo>
                    <a:pt x="6" y="269"/>
                  </a:lnTo>
                  <a:lnTo>
                    <a:pt x="2" y="269"/>
                  </a:lnTo>
                  <a:lnTo>
                    <a:pt x="0" y="269"/>
                  </a:lnTo>
                  <a:lnTo>
                    <a:pt x="0" y="271"/>
                  </a:lnTo>
                  <a:lnTo>
                    <a:pt x="0" y="274"/>
                  </a:lnTo>
                  <a:lnTo>
                    <a:pt x="0" y="271"/>
                  </a:lnTo>
                  <a:lnTo>
                    <a:pt x="0" y="271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8" y="278"/>
                  </a:lnTo>
                  <a:lnTo>
                    <a:pt x="10" y="280"/>
                  </a:lnTo>
                  <a:lnTo>
                    <a:pt x="10" y="282"/>
                  </a:lnTo>
                  <a:lnTo>
                    <a:pt x="10" y="282"/>
                  </a:lnTo>
                  <a:lnTo>
                    <a:pt x="12" y="284"/>
                  </a:lnTo>
                  <a:lnTo>
                    <a:pt x="12" y="284"/>
                  </a:lnTo>
                  <a:lnTo>
                    <a:pt x="14" y="284"/>
                  </a:lnTo>
                  <a:lnTo>
                    <a:pt x="14" y="284"/>
                  </a:lnTo>
                  <a:lnTo>
                    <a:pt x="17" y="284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7" y="288"/>
                  </a:lnTo>
                  <a:lnTo>
                    <a:pt x="17" y="288"/>
                  </a:lnTo>
                  <a:lnTo>
                    <a:pt x="19" y="290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1" y="292"/>
                  </a:lnTo>
                  <a:lnTo>
                    <a:pt x="23" y="295"/>
                  </a:lnTo>
                  <a:lnTo>
                    <a:pt x="23" y="295"/>
                  </a:lnTo>
                  <a:lnTo>
                    <a:pt x="23" y="297"/>
                  </a:lnTo>
                  <a:lnTo>
                    <a:pt x="27" y="305"/>
                  </a:lnTo>
                  <a:lnTo>
                    <a:pt x="29" y="309"/>
                  </a:lnTo>
                  <a:lnTo>
                    <a:pt x="29" y="313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33" y="316"/>
                  </a:lnTo>
                  <a:lnTo>
                    <a:pt x="35" y="316"/>
                  </a:lnTo>
                  <a:lnTo>
                    <a:pt x="37" y="316"/>
                  </a:lnTo>
                  <a:lnTo>
                    <a:pt x="40" y="318"/>
                  </a:lnTo>
                  <a:lnTo>
                    <a:pt x="40" y="318"/>
                  </a:lnTo>
                  <a:lnTo>
                    <a:pt x="48" y="324"/>
                  </a:lnTo>
                  <a:lnTo>
                    <a:pt x="50" y="326"/>
                  </a:lnTo>
                  <a:lnTo>
                    <a:pt x="52" y="330"/>
                  </a:lnTo>
                  <a:lnTo>
                    <a:pt x="52" y="332"/>
                  </a:lnTo>
                  <a:lnTo>
                    <a:pt x="54" y="335"/>
                  </a:lnTo>
                  <a:lnTo>
                    <a:pt x="54" y="337"/>
                  </a:lnTo>
                  <a:lnTo>
                    <a:pt x="54" y="337"/>
                  </a:lnTo>
                  <a:lnTo>
                    <a:pt x="54" y="341"/>
                  </a:lnTo>
                  <a:lnTo>
                    <a:pt x="54" y="341"/>
                  </a:lnTo>
                  <a:lnTo>
                    <a:pt x="56" y="343"/>
                  </a:lnTo>
                  <a:lnTo>
                    <a:pt x="56" y="345"/>
                  </a:lnTo>
                  <a:lnTo>
                    <a:pt x="58" y="345"/>
                  </a:lnTo>
                  <a:lnTo>
                    <a:pt x="56" y="349"/>
                  </a:lnTo>
                  <a:lnTo>
                    <a:pt x="56" y="349"/>
                  </a:lnTo>
                  <a:lnTo>
                    <a:pt x="58" y="349"/>
                  </a:lnTo>
                  <a:lnTo>
                    <a:pt x="58" y="349"/>
                  </a:lnTo>
                  <a:lnTo>
                    <a:pt x="58" y="351"/>
                  </a:lnTo>
                  <a:lnTo>
                    <a:pt x="61" y="351"/>
                  </a:lnTo>
                  <a:lnTo>
                    <a:pt x="61" y="349"/>
                  </a:lnTo>
                  <a:lnTo>
                    <a:pt x="61" y="349"/>
                  </a:lnTo>
                  <a:lnTo>
                    <a:pt x="65" y="351"/>
                  </a:lnTo>
                  <a:lnTo>
                    <a:pt x="65" y="351"/>
                  </a:lnTo>
                  <a:lnTo>
                    <a:pt x="67" y="349"/>
                  </a:lnTo>
                  <a:lnTo>
                    <a:pt x="69" y="351"/>
                  </a:lnTo>
                  <a:lnTo>
                    <a:pt x="69" y="351"/>
                  </a:lnTo>
                  <a:lnTo>
                    <a:pt x="71" y="351"/>
                  </a:lnTo>
                  <a:lnTo>
                    <a:pt x="71" y="351"/>
                  </a:lnTo>
                  <a:lnTo>
                    <a:pt x="75" y="347"/>
                  </a:lnTo>
                  <a:lnTo>
                    <a:pt x="75" y="345"/>
                  </a:lnTo>
                  <a:lnTo>
                    <a:pt x="75" y="337"/>
                  </a:lnTo>
                  <a:lnTo>
                    <a:pt x="77" y="332"/>
                  </a:lnTo>
                  <a:lnTo>
                    <a:pt x="77" y="330"/>
                  </a:lnTo>
                  <a:lnTo>
                    <a:pt x="77" y="328"/>
                  </a:lnTo>
                  <a:lnTo>
                    <a:pt x="77" y="322"/>
                  </a:lnTo>
                  <a:lnTo>
                    <a:pt x="77" y="320"/>
                  </a:lnTo>
                  <a:lnTo>
                    <a:pt x="79" y="318"/>
                  </a:lnTo>
                  <a:lnTo>
                    <a:pt x="79" y="318"/>
                  </a:lnTo>
                  <a:lnTo>
                    <a:pt x="81" y="313"/>
                  </a:lnTo>
                  <a:lnTo>
                    <a:pt x="81" y="311"/>
                  </a:lnTo>
                  <a:lnTo>
                    <a:pt x="79" y="311"/>
                  </a:lnTo>
                  <a:lnTo>
                    <a:pt x="79" y="309"/>
                  </a:lnTo>
                  <a:close/>
                  <a:moveTo>
                    <a:pt x="105" y="414"/>
                  </a:moveTo>
                  <a:lnTo>
                    <a:pt x="105" y="416"/>
                  </a:lnTo>
                  <a:lnTo>
                    <a:pt x="105" y="419"/>
                  </a:lnTo>
                  <a:lnTo>
                    <a:pt x="107" y="416"/>
                  </a:lnTo>
                  <a:lnTo>
                    <a:pt x="107" y="414"/>
                  </a:lnTo>
                  <a:lnTo>
                    <a:pt x="105" y="414"/>
                  </a:lnTo>
                  <a:close/>
                  <a:moveTo>
                    <a:pt x="163" y="389"/>
                  </a:moveTo>
                  <a:lnTo>
                    <a:pt x="159" y="389"/>
                  </a:lnTo>
                  <a:lnTo>
                    <a:pt x="157" y="389"/>
                  </a:lnTo>
                  <a:lnTo>
                    <a:pt x="155" y="387"/>
                  </a:lnTo>
                  <a:lnTo>
                    <a:pt x="151" y="389"/>
                  </a:lnTo>
                  <a:lnTo>
                    <a:pt x="146" y="387"/>
                  </a:lnTo>
                  <a:lnTo>
                    <a:pt x="142" y="389"/>
                  </a:lnTo>
                  <a:lnTo>
                    <a:pt x="138" y="389"/>
                  </a:lnTo>
                  <a:lnTo>
                    <a:pt x="136" y="391"/>
                  </a:lnTo>
                  <a:lnTo>
                    <a:pt x="136" y="393"/>
                  </a:lnTo>
                  <a:lnTo>
                    <a:pt x="138" y="395"/>
                  </a:lnTo>
                  <a:lnTo>
                    <a:pt x="142" y="395"/>
                  </a:lnTo>
                  <a:lnTo>
                    <a:pt x="146" y="395"/>
                  </a:lnTo>
                  <a:lnTo>
                    <a:pt x="148" y="398"/>
                  </a:lnTo>
                  <a:lnTo>
                    <a:pt x="153" y="398"/>
                  </a:lnTo>
                  <a:lnTo>
                    <a:pt x="155" y="398"/>
                  </a:lnTo>
                  <a:lnTo>
                    <a:pt x="159" y="395"/>
                  </a:lnTo>
                  <a:lnTo>
                    <a:pt x="163" y="395"/>
                  </a:lnTo>
                  <a:lnTo>
                    <a:pt x="167" y="398"/>
                  </a:lnTo>
                  <a:lnTo>
                    <a:pt x="167" y="393"/>
                  </a:lnTo>
                  <a:lnTo>
                    <a:pt x="165" y="391"/>
                  </a:lnTo>
                  <a:lnTo>
                    <a:pt x="163" y="389"/>
                  </a:lnTo>
                  <a:close/>
                  <a:moveTo>
                    <a:pt x="134" y="423"/>
                  </a:moveTo>
                  <a:lnTo>
                    <a:pt x="132" y="419"/>
                  </a:lnTo>
                  <a:lnTo>
                    <a:pt x="132" y="414"/>
                  </a:lnTo>
                  <a:lnTo>
                    <a:pt x="130" y="410"/>
                  </a:lnTo>
                  <a:lnTo>
                    <a:pt x="125" y="406"/>
                  </a:lnTo>
                  <a:lnTo>
                    <a:pt x="121" y="404"/>
                  </a:lnTo>
                  <a:lnTo>
                    <a:pt x="117" y="404"/>
                  </a:lnTo>
                  <a:lnTo>
                    <a:pt x="115" y="404"/>
                  </a:lnTo>
                  <a:lnTo>
                    <a:pt x="115" y="406"/>
                  </a:lnTo>
                  <a:lnTo>
                    <a:pt x="115" y="406"/>
                  </a:lnTo>
                  <a:lnTo>
                    <a:pt x="117" y="408"/>
                  </a:lnTo>
                  <a:lnTo>
                    <a:pt x="119" y="408"/>
                  </a:lnTo>
                  <a:lnTo>
                    <a:pt x="119" y="408"/>
                  </a:lnTo>
                  <a:lnTo>
                    <a:pt x="121" y="412"/>
                  </a:lnTo>
                  <a:lnTo>
                    <a:pt x="123" y="419"/>
                  </a:lnTo>
                  <a:lnTo>
                    <a:pt x="125" y="421"/>
                  </a:lnTo>
                  <a:lnTo>
                    <a:pt x="136" y="435"/>
                  </a:lnTo>
                  <a:lnTo>
                    <a:pt x="138" y="440"/>
                  </a:lnTo>
                  <a:lnTo>
                    <a:pt x="138" y="440"/>
                  </a:lnTo>
                  <a:lnTo>
                    <a:pt x="138" y="440"/>
                  </a:lnTo>
                  <a:lnTo>
                    <a:pt x="138" y="437"/>
                  </a:lnTo>
                  <a:lnTo>
                    <a:pt x="138" y="437"/>
                  </a:lnTo>
                  <a:lnTo>
                    <a:pt x="138" y="435"/>
                  </a:lnTo>
                  <a:lnTo>
                    <a:pt x="140" y="435"/>
                  </a:lnTo>
                  <a:lnTo>
                    <a:pt x="140" y="433"/>
                  </a:lnTo>
                  <a:lnTo>
                    <a:pt x="140" y="435"/>
                  </a:lnTo>
                  <a:lnTo>
                    <a:pt x="140" y="431"/>
                  </a:lnTo>
                  <a:lnTo>
                    <a:pt x="138" y="427"/>
                  </a:lnTo>
                  <a:lnTo>
                    <a:pt x="134" y="423"/>
                  </a:lnTo>
                  <a:close/>
                  <a:moveTo>
                    <a:pt x="318" y="250"/>
                  </a:moveTo>
                  <a:lnTo>
                    <a:pt x="316" y="248"/>
                  </a:lnTo>
                  <a:lnTo>
                    <a:pt x="314" y="240"/>
                  </a:lnTo>
                  <a:lnTo>
                    <a:pt x="312" y="234"/>
                  </a:lnTo>
                  <a:lnTo>
                    <a:pt x="310" y="232"/>
                  </a:lnTo>
                  <a:lnTo>
                    <a:pt x="310" y="232"/>
                  </a:lnTo>
                  <a:lnTo>
                    <a:pt x="306" y="229"/>
                  </a:lnTo>
                  <a:lnTo>
                    <a:pt x="304" y="227"/>
                  </a:lnTo>
                  <a:lnTo>
                    <a:pt x="304" y="225"/>
                  </a:lnTo>
                  <a:lnTo>
                    <a:pt x="304" y="223"/>
                  </a:lnTo>
                  <a:lnTo>
                    <a:pt x="304" y="221"/>
                  </a:lnTo>
                  <a:lnTo>
                    <a:pt x="304" y="217"/>
                  </a:lnTo>
                  <a:lnTo>
                    <a:pt x="304" y="217"/>
                  </a:lnTo>
                  <a:lnTo>
                    <a:pt x="306" y="213"/>
                  </a:lnTo>
                  <a:lnTo>
                    <a:pt x="306" y="211"/>
                  </a:lnTo>
                  <a:lnTo>
                    <a:pt x="306" y="200"/>
                  </a:lnTo>
                  <a:lnTo>
                    <a:pt x="304" y="194"/>
                  </a:lnTo>
                  <a:lnTo>
                    <a:pt x="304" y="190"/>
                  </a:lnTo>
                  <a:lnTo>
                    <a:pt x="301" y="187"/>
                  </a:lnTo>
                  <a:lnTo>
                    <a:pt x="301" y="183"/>
                  </a:lnTo>
                  <a:lnTo>
                    <a:pt x="304" y="171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6" y="164"/>
                  </a:lnTo>
                  <a:lnTo>
                    <a:pt x="306" y="162"/>
                  </a:lnTo>
                  <a:lnTo>
                    <a:pt x="304" y="162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301" y="160"/>
                  </a:lnTo>
                  <a:lnTo>
                    <a:pt x="299" y="158"/>
                  </a:lnTo>
                  <a:lnTo>
                    <a:pt x="299" y="158"/>
                  </a:lnTo>
                  <a:lnTo>
                    <a:pt x="299" y="156"/>
                  </a:lnTo>
                  <a:lnTo>
                    <a:pt x="299" y="154"/>
                  </a:lnTo>
                  <a:lnTo>
                    <a:pt x="299" y="154"/>
                  </a:lnTo>
                  <a:lnTo>
                    <a:pt x="297" y="154"/>
                  </a:lnTo>
                  <a:lnTo>
                    <a:pt x="297" y="152"/>
                  </a:lnTo>
                  <a:lnTo>
                    <a:pt x="295" y="152"/>
                  </a:lnTo>
                  <a:lnTo>
                    <a:pt x="295" y="152"/>
                  </a:lnTo>
                  <a:lnTo>
                    <a:pt x="295" y="150"/>
                  </a:lnTo>
                  <a:lnTo>
                    <a:pt x="295" y="150"/>
                  </a:lnTo>
                  <a:lnTo>
                    <a:pt x="293" y="150"/>
                  </a:lnTo>
                  <a:lnTo>
                    <a:pt x="291" y="150"/>
                  </a:lnTo>
                  <a:lnTo>
                    <a:pt x="289" y="152"/>
                  </a:lnTo>
                  <a:lnTo>
                    <a:pt x="289" y="152"/>
                  </a:lnTo>
                  <a:lnTo>
                    <a:pt x="287" y="154"/>
                  </a:lnTo>
                  <a:lnTo>
                    <a:pt x="287" y="156"/>
                  </a:lnTo>
                  <a:lnTo>
                    <a:pt x="287" y="160"/>
                  </a:lnTo>
                  <a:lnTo>
                    <a:pt x="287" y="162"/>
                  </a:lnTo>
                  <a:lnTo>
                    <a:pt x="289" y="164"/>
                  </a:lnTo>
                  <a:lnTo>
                    <a:pt x="289" y="166"/>
                  </a:lnTo>
                  <a:lnTo>
                    <a:pt x="287" y="166"/>
                  </a:lnTo>
                  <a:lnTo>
                    <a:pt x="287" y="164"/>
                  </a:lnTo>
                  <a:lnTo>
                    <a:pt x="285" y="162"/>
                  </a:lnTo>
                  <a:lnTo>
                    <a:pt x="285" y="160"/>
                  </a:lnTo>
                  <a:lnTo>
                    <a:pt x="285" y="160"/>
                  </a:lnTo>
                  <a:lnTo>
                    <a:pt x="283" y="156"/>
                  </a:lnTo>
                  <a:lnTo>
                    <a:pt x="283" y="156"/>
                  </a:lnTo>
                  <a:lnTo>
                    <a:pt x="283" y="154"/>
                  </a:lnTo>
                  <a:lnTo>
                    <a:pt x="283" y="152"/>
                  </a:lnTo>
                  <a:lnTo>
                    <a:pt x="280" y="148"/>
                  </a:lnTo>
                  <a:lnTo>
                    <a:pt x="278" y="148"/>
                  </a:lnTo>
                  <a:lnTo>
                    <a:pt x="274" y="150"/>
                  </a:lnTo>
                  <a:lnTo>
                    <a:pt x="274" y="150"/>
                  </a:lnTo>
                  <a:lnTo>
                    <a:pt x="274" y="152"/>
                  </a:lnTo>
                  <a:lnTo>
                    <a:pt x="276" y="152"/>
                  </a:lnTo>
                  <a:lnTo>
                    <a:pt x="276" y="154"/>
                  </a:lnTo>
                  <a:lnTo>
                    <a:pt x="276" y="156"/>
                  </a:lnTo>
                  <a:lnTo>
                    <a:pt x="278" y="158"/>
                  </a:lnTo>
                  <a:lnTo>
                    <a:pt x="278" y="158"/>
                  </a:lnTo>
                  <a:lnTo>
                    <a:pt x="278" y="158"/>
                  </a:lnTo>
                  <a:lnTo>
                    <a:pt x="278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58"/>
                  </a:lnTo>
                  <a:lnTo>
                    <a:pt x="274" y="156"/>
                  </a:lnTo>
                  <a:lnTo>
                    <a:pt x="274" y="154"/>
                  </a:lnTo>
                  <a:lnTo>
                    <a:pt x="274" y="154"/>
                  </a:lnTo>
                  <a:lnTo>
                    <a:pt x="274" y="154"/>
                  </a:lnTo>
                  <a:lnTo>
                    <a:pt x="274" y="152"/>
                  </a:lnTo>
                  <a:lnTo>
                    <a:pt x="274" y="152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72" y="152"/>
                  </a:lnTo>
                  <a:lnTo>
                    <a:pt x="272" y="150"/>
                  </a:lnTo>
                  <a:lnTo>
                    <a:pt x="272" y="150"/>
                  </a:lnTo>
                  <a:lnTo>
                    <a:pt x="272" y="148"/>
                  </a:lnTo>
                  <a:lnTo>
                    <a:pt x="272" y="145"/>
                  </a:lnTo>
                  <a:lnTo>
                    <a:pt x="274" y="145"/>
                  </a:lnTo>
                  <a:lnTo>
                    <a:pt x="274" y="143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4" y="131"/>
                  </a:lnTo>
                  <a:lnTo>
                    <a:pt x="274" y="127"/>
                  </a:lnTo>
                  <a:lnTo>
                    <a:pt x="272" y="127"/>
                  </a:lnTo>
                  <a:lnTo>
                    <a:pt x="270" y="124"/>
                  </a:lnTo>
                  <a:lnTo>
                    <a:pt x="268" y="122"/>
                  </a:lnTo>
                  <a:lnTo>
                    <a:pt x="266" y="120"/>
                  </a:lnTo>
                  <a:lnTo>
                    <a:pt x="262" y="122"/>
                  </a:lnTo>
                  <a:lnTo>
                    <a:pt x="262" y="118"/>
                  </a:lnTo>
                  <a:lnTo>
                    <a:pt x="260" y="116"/>
                  </a:lnTo>
                  <a:lnTo>
                    <a:pt x="255" y="112"/>
                  </a:lnTo>
                  <a:lnTo>
                    <a:pt x="253" y="106"/>
                  </a:lnTo>
                  <a:lnTo>
                    <a:pt x="251" y="106"/>
                  </a:lnTo>
                  <a:lnTo>
                    <a:pt x="249" y="106"/>
                  </a:lnTo>
                  <a:lnTo>
                    <a:pt x="247" y="103"/>
                  </a:lnTo>
                  <a:lnTo>
                    <a:pt x="236" y="101"/>
                  </a:lnTo>
                  <a:lnTo>
                    <a:pt x="234" y="99"/>
                  </a:lnTo>
                  <a:lnTo>
                    <a:pt x="230" y="97"/>
                  </a:lnTo>
                  <a:lnTo>
                    <a:pt x="230" y="95"/>
                  </a:lnTo>
                  <a:lnTo>
                    <a:pt x="228" y="93"/>
                  </a:lnTo>
                  <a:lnTo>
                    <a:pt x="228" y="91"/>
                  </a:lnTo>
                  <a:lnTo>
                    <a:pt x="226" y="91"/>
                  </a:lnTo>
                  <a:lnTo>
                    <a:pt x="224" y="89"/>
                  </a:lnTo>
                  <a:lnTo>
                    <a:pt x="222" y="87"/>
                  </a:lnTo>
                  <a:lnTo>
                    <a:pt x="222" y="87"/>
                  </a:lnTo>
                  <a:lnTo>
                    <a:pt x="218" y="84"/>
                  </a:lnTo>
                  <a:lnTo>
                    <a:pt x="216" y="84"/>
                  </a:lnTo>
                  <a:lnTo>
                    <a:pt x="207" y="76"/>
                  </a:lnTo>
                  <a:lnTo>
                    <a:pt x="199" y="72"/>
                  </a:lnTo>
                  <a:lnTo>
                    <a:pt x="190" y="68"/>
                  </a:lnTo>
                  <a:lnTo>
                    <a:pt x="188" y="66"/>
                  </a:lnTo>
                  <a:lnTo>
                    <a:pt x="186" y="63"/>
                  </a:lnTo>
                  <a:lnTo>
                    <a:pt x="184" y="63"/>
                  </a:lnTo>
                  <a:lnTo>
                    <a:pt x="182" y="63"/>
                  </a:lnTo>
                  <a:lnTo>
                    <a:pt x="180" y="61"/>
                  </a:lnTo>
                  <a:lnTo>
                    <a:pt x="178" y="59"/>
                  </a:lnTo>
                  <a:lnTo>
                    <a:pt x="172" y="59"/>
                  </a:lnTo>
                  <a:lnTo>
                    <a:pt x="163" y="55"/>
                  </a:lnTo>
                  <a:lnTo>
                    <a:pt x="155" y="47"/>
                  </a:lnTo>
                  <a:lnTo>
                    <a:pt x="153" y="45"/>
                  </a:lnTo>
                  <a:lnTo>
                    <a:pt x="153" y="40"/>
                  </a:lnTo>
                  <a:lnTo>
                    <a:pt x="151" y="36"/>
                  </a:lnTo>
                  <a:lnTo>
                    <a:pt x="144" y="34"/>
                  </a:lnTo>
                  <a:lnTo>
                    <a:pt x="142" y="34"/>
                  </a:lnTo>
                  <a:lnTo>
                    <a:pt x="142" y="32"/>
                  </a:lnTo>
                  <a:lnTo>
                    <a:pt x="140" y="32"/>
                  </a:lnTo>
                  <a:lnTo>
                    <a:pt x="140" y="28"/>
                  </a:lnTo>
                  <a:lnTo>
                    <a:pt x="138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4" y="28"/>
                  </a:lnTo>
                  <a:lnTo>
                    <a:pt x="132" y="24"/>
                  </a:lnTo>
                  <a:lnTo>
                    <a:pt x="132" y="24"/>
                  </a:lnTo>
                  <a:lnTo>
                    <a:pt x="130" y="24"/>
                  </a:lnTo>
                  <a:lnTo>
                    <a:pt x="125" y="21"/>
                  </a:lnTo>
                  <a:lnTo>
                    <a:pt x="123" y="19"/>
                  </a:lnTo>
                  <a:lnTo>
                    <a:pt x="121" y="19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3" y="11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09" y="13"/>
                  </a:lnTo>
                  <a:lnTo>
                    <a:pt x="109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5" y="17"/>
                  </a:lnTo>
                  <a:lnTo>
                    <a:pt x="105" y="15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7" y="11"/>
                  </a:lnTo>
                  <a:lnTo>
                    <a:pt x="111" y="11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0" y="0"/>
                  </a:lnTo>
                  <a:lnTo>
                    <a:pt x="100" y="3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96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15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24"/>
                  </a:lnTo>
                  <a:lnTo>
                    <a:pt x="90" y="26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0"/>
                  </a:lnTo>
                  <a:lnTo>
                    <a:pt x="86" y="32"/>
                  </a:lnTo>
                  <a:lnTo>
                    <a:pt x="84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7" y="40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5" y="45"/>
                  </a:lnTo>
                  <a:lnTo>
                    <a:pt x="69" y="51"/>
                  </a:lnTo>
                  <a:lnTo>
                    <a:pt x="67" y="51"/>
                  </a:lnTo>
                  <a:lnTo>
                    <a:pt x="67" y="53"/>
                  </a:lnTo>
                  <a:lnTo>
                    <a:pt x="67" y="53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9" y="59"/>
                  </a:lnTo>
                  <a:lnTo>
                    <a:pt x="71" y="61"/>
                  </a:lnTo>
                  <a:lnTo>
                    <a:pt x="71" y="68"/>
                  </a:lnTo>
                  <a:lnTo>
                    <a:pt x="73" y="68"/>
                  </a:lnTo>
                  <a:lnTo>
                    <a:pt x="73" y="70"/>
                  </a:lnTo>
                  <a:lnTo>
                    <a:pt x="75" y="70"/>
                  </a:lnTo>
                  <a:lnTo>
                    <a:pt x="75" y="70"/>
                  </a:lnTo>
                  <a:lnTo>
                    <a:pt x="75" y="70"/>
                  </a:lnTo>
                  <a:lnTo>
                    <a:pt x="75" y="72"/>
                  </a:lnTo>
                  <a:lnTo>
                    <a:pt x="77" y="74"/>
                  </a:lnTo>
                  <a:lnTo>
                    <a:pt x="77" y="74"/>
                  </a:lnTo>
                  <a:lnTo>
                    <a:pt x="79" y="76"/>
                  </a:lnTo>
                  <a:lnTo>
                    <a:pt x="79" y="76"/>
                  </a:lnTo>
                  <a:lnTo>
                    <a:pt x="79" y="78"/>
                  </a:lnTo>
                  <a:lnTo>
                    <a:pt x="77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9" y="82"/>
                  </a:lnTo>
                  <a:lnTo>
                    <a:pt x="79" y="84"/>
                  </a:lnTo>
                  <a:lnTo>
                    <a:pt x="81" y="84"/>
                  </a:lnTo>
                  <a:lnTo>
                    <a:pt x="84" y="89"/>
                  </a:lnTo>
                  <a:lnTo>
                    <a:pt x="86" y="89"/>
                  </a:lnTo>
                  <a:lnTo>
                    <a:pt x="86" y="91"/>
                  </a:lnTo>
                  <a:lnTo>
                    <a:pt x="84" y="95"/>
                  </a:lnTo>
                  <a:lnTo>
                    <a:pt x="84" y="95"/>
                  </a:lnTo>
                  <a:lnTo>
                    <a:pt x="77" y="97"/>
                  </a:lnTo>
                  <a:lnTo>
                    <a:pt x="75" y="97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3"/>
                  </a:lnTo>
                  <a:lnTo>
                    <a:pt x="77" y="103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81" y="110"/>
                  </a:lnTo>
                  <a:lnTo>
                    <a:pt x="81" y="110"/>
                  </a:lnTo>
                  <a:lnTo>
                    <a:pt x="81" y="112"/>
                  </a:lnTo>
                  <a:lnTo>
                    <a:pt x="81" y="114"/>
                  </a:lnTo>
                  <a:lnTo>
                    <a:pt x="79" y="114"/>
                  </a:lnTo>
                  <a:lnTo>
                    <a:pt x="79" y="116"/>
                  </a:lnTo>
                  <a:lnTo>
                    <a:pt x="77" y="114"/>
                  </a:lnTo>
                  <a:lnTo>
                    <a:pt x="77" y="114"/>
                  </a:lnTo>
                  <a:lnTo>
                    <a:pt x="77" y="116"/>
                  </a:lnTo>
                  <a:lnTo>
                    <a:pt x="77" y="116"/>
                  </a:lnTo>
                  <a:lnTo>
                    <a:pt x="77" y="118"/>
                  </a:lnTo>
                  <a:lnTo>
                    <a:pt x="79" y="124"/>
                  </a:lnTo>
                  <a:lnTo>
                    <a:pt x="79" y="129"/>
                  </a:lnTo>
                  <a:lnTo>
                    <a:pt x="79" y="129"/>
                  </a:lnTo>
                  <a:lnTo>
                    <a:pt x="79" y="131"/>
                  </a:lnTo>
                  <a:lnTo>
                    <a:pt x="79" y="131"/>
                  </a:lnTo>
                  <a:lnTo>
                    <a:pt x="81" y="131"/>
                  </a:lnTo>
                  <a:lnTo>
                    <a:pt x="84" y="133"/>
                  </a:lnTo>
                  <a:lnTo>
                    <a:pt x="84" y="133"/>
                  </a:lnTo>
                  <a:lnTo>
                    <a:pt x="86" y="137"/>
                  </a:lnTo>
                  <a:lnTo>
                    <a:pt x="88" y="137"/>
                  </a:lnTo>
                  <a:lnTo>
                    <a:pt x="90" y="137"/>
                  </a:lnTo>
                  <a:lnTo>
                    <a:pt x="90" y="139"/>
                  </a:lnTo>
                  <a:lnTo>
                    <a:pt x="92" y="139"/>
                  </a:lnTo>
                  <a:lnTo>
                    <a:pt x="92" y="141"/>
                  </a:lnTo>
                  <a:lnTo>
                    <a:pt x="92" y="141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5"/>
                  </a:lnTo>
                  <a:lnTo>
                    <a:pt x="92" y="148"/>
                  </a:lnTo>
                  <a:lnTo>
                    <a:pt x="92" y="150"/>
                  </a:lnTo>
                  <a:lnTo>
                    <a:pt x="94" y="152"/>
                  </a:lnTo>
                  <a:lnTo>
                    <a:pt x="94" y="152"/>
                  </a:lnTo>
                  <a:lnTo>
                    <a:pt x="94" y="154"/>
                  </a:lnTo>
                  <a:lnTo>
                    <a:pt x="92" y="154"/>
                  </a:lnTo>
                  <a:lnTo>
                    <a:pt x="90" y="156"/>
                  </a:lnTo>
                  <a:lnTo>
                    <a:pt x="90" y="156"/>
                  </a:lnTo>
                  <a:lnTo>
                    <a:pt x="90" y="158"/>
                  </a:lnTo>
                  <a:lnTo>
                    <a:pt x="90" y="158"/>
                  </a:lnTo>
                  <a:lnTo>
                    <a:pt x="90" y="160"/>
                  </a:lnTo>
                  <a:lnTo>
                    <a:pt x="90" y="162"/>
                  </a:lnTo>
                  <a:lnTo>
                    <a:pt x="90" y="162"/>
                  </a:lnTo>
                  <a:lnTo>
                    <a:pt x="90" y="166"/>
                  </a:lnTo>
                  <a:lnTo>
                    <a:pt x="92" y="173"/>
                  </a:lnTo>
                  <a:lnTo>
                    <a:pt x="94" y="175"/>
                  </a:lnTo>
                  <a:lnTo>
                    <a:pt x="94" y="175"/>
                  </a:lnTo>
                  <a:lnTo>
                    <a:pt x="94" y="175"/>
                  </a:lnTo>
                  <a:lnTo>
                    <a:pt x="96" y="175"/>
                  </a:lnTo>
                  <a:lnTo>
                    <a:pt x="96" y="177"/>
                  </a:lnTo>
                  <a:lnTo>
                    <a:pt x="96" y="179"/>
                  </a:lnTo>
                  <a:lnTo>
                    <a:pt x="98" y="181"/>
                  </a:lnTo>
                  <a:lnTo>
                    <a:pt x="98" y="185"/>
                  </a:lnTo>
                  <a:lnTo>
                    <a:pt x="98" y="187"/>
                  </a:lnTo>
                  <a:lnTo>
                    <a:pt x="96" y="198"/>
                  </a:lnTo>
                  <a:lnTo>
                    <a:pt x="96" y="198"/>
                  </a:lnTo>
                  <a:lnTo>
                    <a:pt x="102" y="202"/>
                  </a:lnTo>
                  <a:lnTo>
                    <a:pt x="107" y="206"/>
                  </a:lnTo>
                  <a:lnTo>
                    <a:pt x="111" y="208"/>
                  </a:lnTo>
                  <a:lnTo>
                    <a:pt x="111" y="211"/>
                  </a:lnTo>
                  <a:lnTo>
                    <a:pt x="111" y="213"/>
                  </a:lnTo>
                  <a:lnTo>
                    <a:pt x="113" y="213"/>
                  </a:lnTo>
                  <a:lnTo>
                    <a:pt x="115" y="213"/>
                  </a:lnTo>
                  <a:lnTo>
                    <a:pt x="117" y="213"/>
                  </a:lnTo>
                  <a:lnTo>
                    <a:pt x="119" y="213"/>
                  </a:lnTo>
                  <a:lnTo>
                    <a:pt x="119" y="213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7"/>
                  </a:lnTo>
                  <a:lnTo>
                    <a:pt x="121" y="217"/>
                  </a:lnTo>
                  <a:lnTo>
                    <a:pt x="121" y="217"/>
                  </a:lnTo>
                  <a:lnTo>
                    <a:pt x="123" y="217"/>
                  </a:lnTo>
                  <a:lnTo>
                    <a:pt x="125" y="217"/>
                  </a:lnTo>
                  <a:lnTo>
                    <a:pt x="128" y="217"/>
                  </a:lnTo>
                  <a:lnTo>
                    <a:pt x="130" y="217"/>
                  </a:lnTo>
                  <a:lnTo>
                    <a:pt x="138" y="223"/>
                  </a:lnTo>
                  <a:lnTo>
                    <a:pt x="142" y="227"/>
                  </a:lnTo>
                  <a:lnTo>
                    <a:pt x="148" y="238"/>
                  </a:lnTo>
                  <a:lnTo>
                    <a:pt x="153" y="242"/>
                  </a:lnTo>
                  <a:lnTo>
                    <a:pt x="155" y="242"/>
                  </a:lnTo>
                  <a:lnTo>
                    <a:pt x="155" y="242"/>
                  </a:lnTo>
                  <a:lnTo>
                    <a:pt x="155" y="242"/>
                  </a:lnTo>
                  <a:lnTo>
                    <a:pt x="155" y="240"/>
                  </a:lnTo>
                  <a:lnTo>
                    <a:pt x="155" y="240"/>
                  </a:lnTo>
                  <a:lnTo>
                    <a:pt x="155" y="240"/>
                  </a:lnTo>
                  <a:lnTo>
                    <a:pt x="155" y="238"/>
                  </a:lnTo>
                  <a:lnTo>
                    <a:pt x="155" y="238"/>
                  </a:lnTo>
                  <a:lnTo>
                    <a:pt x="155" y="238"/>
                  </a:lnTo>
                  <a:lnTo>
                    <a:pt x="155" y="236"/>
                  </a:lnTo>
                  <a:lnTo>
                    <a:pt x="155" y="236"/>
                  </a:lnTo>
                  <a:lnTo>
                    <a:pt x="159" y="238"/>
                  </a:lnTo>
                  <a:lnTo>
                    <a:pt x="161" y="240"/>
                  </a:lnTo>
                  <a:lnTo>
                    <a:pt x="161" y="242"/>
                  </a:lnTo>
                  <a:lnTo>
                    <a:pt x="161" y="244"/>
                  </a:lnTo>
                  <a:lnTo>
                    <a:pt x="161" y="244"/>
                  </a:lnTo>
                  <a:lnTo>
                    <a:pt x="161" y="246"/>
                  </a:lnTo>
                  <a:lnTo>
                    <a:pt x="163" y="246"/>
                  </a:lnTo>
                  <a:lnTo>
                    <a:pt x="165" y="246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53"/>
                  </a:lnTo>
                  <a:lnTo>
                    <a:pt x="163" y="255"/>
                  </a:lnTo>
                  <a:lnTo>
                    <a:pt x="161" y="255"/>
                  </a:lnTo>
                  <a:lnTo>
                    <a:pt x="159" y="259"/>
                  </a:lnTo>
                  <a:lnTo>
                    <a:pt x="159" y="261"/>
                  </a:lnTo>
                  <a:lnTo>
                    <a:pt x="157" y="259"/>
                  </a:lnTo>
                  <a:lnTo>
                    <a:pt x="157" y="259"/>
                  </a:lnTo>
                  <a:lnTo>
                    <a:pt x="157" y="257"/>
                  </a:lnTo>
                  <a:lnTo>
                    <a:pt x="157" y="257"/>
                  </a:lnTo>
                  <a:lnTo>
                    <a:pt x="155" y="257"/>
                  </a:lnTo>
                  <a:lnTo>
                    <a:pt x="155" y="257"/>
                  </a:lnTo>
                  <a:lnTo>
                    <a:pt x="155" y="257"/>
                  </a:lnTo>
                  <a:lnTo>
                    <a:pt x="155" y="259"/>
                  </a:lnTo>
                  <a:lnTo>
                    <a:pt x="155" y="261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7" y="263"/>
                  </a:lnTo>
                  <a:lnTo>
                    <a:pt x="159" y="263"/>
                  </a:lnTo>
                  <a:lnTo>
                    <a:pt x="159" y="263"/>
                  </a:lnTo>
                  <a:lnTo>
                    <a:pt x="159" y="265"/>
                  </a:lnTo>
                  <a:lnTo>
                    <a:pt x="159" y="265"/>
                  </a:lnTo>
                  <a:lnTo>
                    <a:pt x="161" y="267"/>
                  </a:lnTo>
                  <a:lnTo>
                    <a:pt x="161" y="271"/>
                  </a:lnTo>
                  <a:lnTo>
                    <a:pt x="163" y="274"/>
                  </a:lnTo>
                  <a:lnTo>
                    <a:pt x="167" y="278"/>
                  </a:lnTo>
                  <a:lnTo>
                    <a:pt x="167" y="278"/>
                  </a:lnTo>
                  <a:lnTo>
                    <a:pt x="167" y="280"/>
                  </a:lnTo>
                  <a:lnTo>
                    <a:pt x="165" y="280"/>
                  </a:lnTo>
                  <a:lnTo>
                    <a:pt x="165" y="282"/>
                  </a:lnTo>
                  <a:lnTo>
                    <a:pt x="165" y="282"/>
                  </a:lnTo>
                  <a:lnTo>
                    <a:pt x="167" y="284"/>
                  </a:lnTo>
                  <a:lnTo>
                    <a:pt x="174" y="299"/>
                  </a:lnTo>
                  <a:lnTo>
                    <a:pt x="180" y="318"/>
                  </a:lnTo>
                  <a:lnTo>
                    <a:pt x="180" y="322"/>
                  </a:lnTo>
                  <a:lnTo>
                    <a:pt x="180" y="324"/>
                  </a:lnTo>
                  <a:lnTo>
                    <a:pt x="180" y="326"/>
                  </a:lnTo>
                  <a:lnTo>
                    <a:pt x="182" y="326"/>
                  </a:lnTo>
                  <a:lnTo>
                    <a:pt x="182" y="328"/>
                  </a:lnTo>
                  <a:lnTo>
                    <a:pt x="186" y="332"/>
                  </a:lnTo>
                  <a:lnTo>
                    <a:pt x="186" y="335"/>
                  </a:lnTo>
                  <a:lnTo>
                    <a:pt x="186" y="343"/>
                  </a:lnTo>
                  <a:lnTo>
                    <a:pt x="186" y="347"/>
                  </a:lnTo>
                  <a:lnTo>
                    <a:pt x="188" y="345"/>
                  </a:lnTo>
                  <a:lnTo>
                    <a:pt x="190" y="347"/>
                  </a:lnTo>
                  <a:lnTo>
                    <a:pt x="190" y="347"/>
                  </a:lnTo>
                  <a:lnTo>
                    <a:pt x="190" y="349"/>
                  </a:lnTo>
                  <a:lnTo>
                    <a:pt x="190" y="356"/>
                  </a:lnTo>
                  <a:lnTo>
                    <a:pt x="190" y="356"/>
                  </a:lnTo>
                  <a:lnTo>
                    <a:pt x="192" y="356"/>
                  </a:lnTo>
                  <a:lnTo>
                    <a:pt x="192" y="358"/>
                  </a:lnTo>
                  <a:lnTo>
                    <a:pt x="192" y="360"/>
                  </a:lnTo>
                  <a:lnTo>
                    <a:pt x="195" y="366"/>
                  </a:lnTo>
                  <a:lnTo>
                    <a:pt x="195" y="368"/>
                  </a:lnTo>
                  <a:lnTo>
                    <a:pt x="192" y="372"/>
                  </a:lnTo>
                  <a:lnTo>
                    <a:pt x="195" y="372"/>
                  </a:lnTo>
                  <a:lnTo>
                    <a:pt x="195" y="372"/>
                  </a:lnTo>
                  <a:lnTo>
                    <a:pt x="197" y="374"/>
                  </a:lnTo>
                  <a:lnTo>
                    <a:pt x="197" y="377"/>
                  </a:lnTo>
                  <a:lnTo>
                    <a:pt x="197" y="377"/>
                  </a:lnTo>
                  <a:lnTo>
                    <a:pt x="195" y="379"/>
                  </a:lnTo>
                  <a:lnTo>
                    <a:pt x="195" y="381"/>
                  </a:lnTo>
                  <a:lnTo>
                    <a:pt x="195" y="381"/>
                  </a:lnTo>
                  <a:lnTo>
                    <a:pt x="197" y="381"/>
                  </a:lnTo>
                  <a:lnTo>
                    <a:pt x="197" y="381"/>
                  </a:lnTo>
                  <a:lnTo>
                    <a:pt x="207" y="368"/>
                  </a:lnTo>
                  <a:lnTo>
                    <a:pt x="213" y="360"/>
                  </a:lnTo>
                  <a:lnTo>
                    <a:pt x="216" y="360"/>
                  </a:lnTo>
                  <a:lnTo>
                    <a:pt x="216" y="358"/>
                  </a:lnTo>
                  <a:lnTo>
                    <a:pt x="218" y="358"/>
                  </a:lnTo>
                  <a:lnTo>
                    <a:pt x="222" y="358"/>
                  </a:lnTo>
                  <a:lnTo>
                    <a:pt x="224" y="358"/>
                  </a:lnTo>
                  <a:lnTo>
                    <a:pt x="226" y="356"/>
                  </a:lnTo>
                  <a:lnTo>
                    <a:pt x="232" y="353"/>
                  </a:lnTo>
                  <a:lnTo>
                    <a:pt x="234" y="351"/>
                  </a:lnTo>
                  <a:lnTo>
                    <a:pt x="236" y="351"/>
                  </a:lnTo>
                  <a:lnTo>
                    <a:pt x="239" y="351"/>
                  </a:lnTo>
                  <a:lnTo>
                    <a:pt x="241" y="353"/>
                  </a:lnTo>
                  <a:lnTo>
                    <a:pt x="241" y="353"/>
                  </a:lnTo>
                  <a:lnTo>
                    <a:pt x="243" y="353"/>
                  </a:lnTo>
                  <a:lnTo>
                    <a:pt x="243" y="353"/>
                  </a:lnTo>
                  <a:lnTo>
                    <a:pt x="243" y="353"/>
                  </a:lnTo>
                  <a:lnTo>
                    <a:pt x="245" y="356"/>
                  </a:lnTo>
                  <a:lnTo>
                    <a:pt x="245" y="358"/>
                  </a:lnTo>
                  <a:lnTo>
                    <a:pt x="247" y="358"/>
                  </a:lnTo>
                  <a:lnTo>
                    <a:pt x="247" y="358"/>
                  </a:lnTo>
                  <a:lnTo>
                    <a:pt x="249" y="358"/>
                  </a:lnTo>
                  <a:lnTo>
                    <a:pt x="253" y="358"/>
                  </a:lnTo>
                  <a:lnTo>
                    <a:pt x="255" y="358"/>
                  </a:lnTo>
                  <a:lnTo>
                    <a:pt x="255" y="360"/>
                  </a:lnTo>
                  <a:lnTo>
                    <a:pt x="255" y="360"/>
                  </a:lnTo>
                  <a:lnTo>
                    <a:pt x="257" y="360"/>
                  </a:lnTo>
                  <a:lnTo>
                    <a:pt x="260" y="360"/>
                  </a:lnTo>
                  <a:lnTo>
                    <a:pt x="262" y="360"/>
                  </a:lnTo>
                  <a:lnTo>
                    <a:pt x="266" y="360"/>
                  </a:lnTo>
                  <a:lnTo>
                    <a:pt x="266" y="358"/>
                  </a:lnTo>
                  <a:lnTo>
                    <a:pt x="268" y="358"/>
                  </a:lnTo>
                  <a:lnTo>
                    <a:pt x="268" y="356"/>
                  </a:lnTo>
                  <a:lnTo>
                    <a:pt x="268" y="353"/>
                  </a:lnTo>
                  <a:lnTo>
                    <a:pt x="268" y="353"/>
                  </a:lnTo>
                  <a:lnTo>
                    <a:pt x="268" y="351"/>
                  </a:lnTo>
                  <a:lnTo>
                    <a:pt x="268" y="351"/>
                  </a:lnTo>
                  <a:lnTo>
                    <a:pt x="266" y="347"/>
                  </a:lnTo>
                  <a:lnTo>
                    <a:pt x="264" y="345"/>
                  </a:lnTo>
                  <a:lnTo>
                    <a:pt x="264" y="343"/>
                  </a:lnTo>
                  <a:lnTo>
                    <a:pt x="264" y="343"/>
                  </a:lnTo>
                  <a:lnTo>
                    <a:pt x="260" y="339"/>
                  </a:lnTo>
                  <a:lnTo>
                    <a:pt x="257" y="337"/>
                  </a:lnTo>
                  <a:lnTo>
                    <a:pt x="257" y="332"/>
                  </a:lnTo>
                  <a:lnTo>
                    <a:pt x="257" y="332"/>
                  </a:lnTo>
                  <a:lnTo>
                    <a:pt x="255" y="330"/>
                  </a:lnTo>
                  <a:lnTo>
                    <a:pt x="255" y="330"/>
                  </a:lnTo>
                  <a:lnTo>
                    <a:pt x="255" y="330"/>
                  </a:lnTo>
                  <a:lnTo>
                    <a:pt x="253" y="330"/>
                  </a:lnTo>
                  <a:lnTo>
                    <a:pt x="253" y="330"/>
                  </a:lnTo>
                  <a:lnTo>
                    <a:pt x="251" y="328"/>
                  </a:lnTo>
                  <a:lnTo>
                    <a:pt x="251" y="328"/>
                  </a:lnTo>
                  <a:lnTo>
                    <a:pt x="251" y="326"/>
                  </a:lnTo>
                  <a:lnTo>
                    <a:pt x="251" y="326"/>
                  </a:lnTo>
                  <a:lnTo>
                    <a:pt x="249" y="326"/>
                  </a:lnTo>
                  <a:lnTo>
                    <a:pt x="249" y="324"/>
                  </a:lnTo>
                  <a:lnTo>
                    <a:pt x="247" y="322"/>
                  </a:lnTo>
                  <a:lnTo>
                    <a:pt x="247" y="322"/>
                  </a:lnTo>
                  <a:lnTo>
                    <a:pt x="249" y="322"/>
                  </a:lnTo>
                  <a:lnTo>
                    <a:pt x="249" y="322"/>
                  </a:lnTo>
                  <a:lnTo>
                    <a:pt x="249" y="322"/>
                  </a:lnTo>
                  <a:lnTo>
                    <a:pt x="253" y="324"/>
                  </a:lnTo>
                  <a:lnTo>
                    <a:pt x="253" y="324"/>
                  </a:lnTo>
                  <a:lnTo>
                    <a:pt x="255" y="324"/>
                  </a:lnTo>
                  <a:lnTo>
                    <a:pt x="255" y="324"/>
                  </a:lnTo>
                  <a:lnTo>
                    <a:pt x="257" y="324"/>
                  </a:lnTo>
                  <a:lnTo>
                    <a:pt x="257" y="324"/>
                  </a:lnTo>
                  <a:lnTo>
                    <a:pt x="260" y="322"/>
                  </a:lnTo>
                  <a:lnTo>
                    <a:pt x="262" y="324"/>
                  </a:lnTo>
                  <a:lnTo>
                    <a:pt x="266" y="326"/>
                  </a:lnTo>
                  <a:lnTo>
                    <a:pt x="270" y="326"/>
                  </a:lnTo>
                  <a:lnTo>
                    <a:pt x="272" y="326"/>
                  </a:lnTo>
                  <a:lnTo>
                    <a:pt x="272" y="328"/>
                  </a:lnTo>
                  <a:lnTo>
                    <a:pt x="276" y="328"/>
                  </a:lnTo>
                  <a:lnTo>
                    <a:pt x="280" y="330"/>
                  </a:lnTo>
                  <a:lnTo>
                    <a:pt x="280" y="330"/>
                  </a:lnTo>
                  <a:lnTo>
                    <a:pt x="283" y="330"/>
                  </a:lnTo>
                  <a:lnTo>
                    <a:pt x="285" y="332"/>
                  </a:lnTo>
                  <a:lnTo>
                    <a:pt x="287" y="335"/>
                  </a:lnTo>
                  <a:lnTo>
                    <a:pt x="287" y="335"/>
                  </a:lnTo>
                  <a:lnTo>
                    <a:pt x="289" y="335"/>
                  </a:lnTo>
                  <a:lnTo>
                    <a:pt x="289" y="335"/>
                  </a:lnTo>
                  <a:lnTo>
                    <a:pt x="291" y="335"/>
                  </a:lnTo>
                  <a:lnTo>
                    <a:pt x="293" y="332"/>
                  </a:lnTo>
                  <a:lnTo>
                    <a:pt x="291" y="330"/>
                  </a:lnTo>
                  <a:lnTo>
                    <a:pt x="293" y="328"/>
                  </a:lnTo>
                  <a:lnTo>
                    <a:pt x="293" y="328"/>
                  </a:lnTo>
                  <a:lnTo>
                    <a:pt x="293" y="326"/>
                  </a:lnTo>
                  <a:lnTo>
                    <a:pt x="293" y="324"/>
                  </a:lnTo>
                  <a:lnTo>
                    <a:pt x="295" y="324"/>
                  </a:lnTo>
                  <a:lnTo>
                    <a:pt x="295" y="324"/>
                  </a:lnTo>
                  <a:lnTo>
                    <a:pt x="295" y="324"/>
                  </a:lnTo>
                  <a:lnTo>
                    <a:pt x="295" y="322"/>
                  </a:lnTo>
                  <a:lnTo>
                    <a:pt x="295" y="322"/>
                  </a:lnTo>
                  <a:lnTo>
                    <a:pt x="295" y="318"/>
                  </a:lnTo>
                  <a:lnTo>
                    <a:pt x="297" y="311"/>
                  </a:lnTo>
                  <a:lnTo>
                    <a:pt x="297" y="309"/>
                  </a:lnTo>
                  <a:lnTo>
                    <a:pt x="295" y="307"/>
                  </a:lnTo>
                  <a:lnTo>
                    <a:pt x="295" y="305"/>
                  </a:lnTo>
                  <a:lnTo>
                    <a:pt x="295" y="305"/>
                  </a:lnTo>
                  <a:lnTo>
                    <a:pt x="295" y="303"/>
                  </a:lnTo>
                  <a:lnTo>
                    <a:pt x="297" y="299"/>
                  </a:lnTo>
                  <a:lnTo>
                    <a:pt x="297" y="297"/>
                  </a:lnTo>
                  <a:lnTo>
                    <a:pt x="297" y="295"/>
                  </a:lnTo>
                  <a:lnTo>
                    <a:pt x="297" y="295"/>
                  </a:lnTo>
                  <a:lnTo>
                    <a:pt x="295" y="292"/>
                  </a:lnTo>
                  <a:lnTo>
                    <a:pt x="295" y="292"/>
                  </a:lnTo>
                  <a:lnTo>
                    <a:pt x="293" y="292"/>
                  </a:lnTo>
                  <a:lnTo>
                    <a:pt x="289" y="290"/>
                  </a:lnTo>
                  <a:lnTo>
                    <a:pt x="289" y="288"/>
                  </a:lnTo>
                  <a:lnTo>
                    <a:pt x="289" y="288"/>
                  </a:lnTo>
                  <a:lnTo>
                    <a:pt x="289" y="286"/>
                  </a:lnTo>
                  <a:lnTo>
                    <a:pt x="289" y="284"/>
                  </a:lnTo>
                  <a:lnTo>
                    <a:pt x="289" y="282"/>
                  </a:lnTo>
                  <a:lnTo>
                    <a:pt x="287" y="282"/>
                  </a:lnTo>
                  <a:lnTo>
                    <a:pt x="287" y="280"/>
                  </a:lnTo>
                  <a:lnTo>
                    <a:pt x="283" y="278"/>
                  </a:lnTo>
                  <a:lnTo>
                    <a:pt x="283" y="276"/>
                  </a:lnTo>
                  <a:lnTo>
                    <a:pt x="283" y="276"/>
                  </a:lnTo>
                  <a:lnTo>
                    <a:pt x="283" y="276"/>
                  </a:lnTo>
                  <a:lnTo>
                    <a:pt x="283" y="274"/>
                  </a:lnTo>
                  <a:lnTo>
                    <a:pt x="283" y="274"/>
                  </a:lnTo>
                  <a:lnTo>
                    <a:pt x="285" y="274"/>
                  </a:lnTo>
                  <a:lnTo>
                    <a:pt x="285" y="271"/>
                  </a:lnTo>
                  <a:lnTo>
                    <a:pt x="304" y="263"/>
                  </a:lnTo>
                  <a:lnTo>
                    <a:pt x="306" y="263"/>
                  </a:lnTo>
                  <a:lnTo>
                    <a:pt x="310" y="261"/>
                  </a:lnTo>
                  <a:lnTo>
                    <a:pt x="314" y="257"/>
                  </a:lnTo>
                  <a:lnTo>
                    <a:pt x="316" y="257"/>
                  </a:lnTo>
                  <a:lnTo>
                    <a:pt x="316" y="255"/>
                  </a:lnTo>
                  <a:lnTo>
                    <a:pt x="318" y="255"/>
                  </a:lnTo>
                  <a:lnTo>
                    <a:pt x="318" y="253"/>
                  </a:lnTo>
                  <a:lnTo>
                    <a:pt x="318" y="250"/>
                  </a:lnTo>
                  <a:close/>
                  <a:moveTo>
                    <a:pt x="130" y="250"/>
                  </a:moveTo>
                  <a:lnTo>
                    <a:pt x="132" y="250"/>
                  </a:lnTo>
                  <a:lnTo>
                    <a:pt x="134" y="253"/>
                  </a:lnTo>
                  <a:lnTo>
                    <a:pt x="138" y="253"/>
                  </a:lnTo>
                  <a:lnTo>
                    <a:pt x="140" y="253"/>
                  </a:lnTo>
                  <a:lnTo>
                    <a:pt x="142" y="253"/>
                  </a:lnTo>
                  <a:lnTo>
                    <a:pt x="144" y="250"/>
                  </a:lnTo>
                  <a:lnTo>
                    <a:pt x="142" y="248"/>
                  </a:lnTo>
                  <a:lnTo>
                    <a:pt x="140" y="246"/>
                  </a:lnTo>
                  <a:lnTo>
                    <a:pt x="140" y="246"/>
                  </a:lnTo>
                  <a:lnTo>
                    <a:pt x="138" y="246"/>
                  </a:lnTo>
                  <a:lnTo>
                    <a:pt x="138" y="248"/>
                  </a:lnTo>
                  <a:lnTo>
                    <a:pt x="136" y="248"/>
                  </a:lnTo>
                  <a:lnTo>
                    <a:pt x="134" y="248"/>
                  </a:lnTo>
                  <a:lnTo>
                    <a:pt x="134" y="246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0" y="244"/>
                  </a:lnTo>
                  <a:lnTo>
                    <a:pt x="128" y="246"/>
                  </a:lnTo>
                  <a:lnTo>
                    <a:pt x="128" y="246"/>
                  </a:lnTo>
                  <a:lnTo>
                    <a:pt x="128" y="248"/>
                  </a:lnTo>
                  <a:lnTo>
                    <a:pt x="130" y="250"/>
                  </a:lnTo>
                  <a:lnTo>
                    <a:pt x="130" y="250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4" name="Freeform 110">
              <a:extLst>
                <a:ext uri="{FF2B5EF4-FFF2-40B4-BE49-F238E27FC236}">
                  <a16:creationId xmlns:a16="http://schemas.microsoft.com/office/drawing/2014/main" id="{82E38814-C6A5-4426-A3CA-93C202FBDDC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65203" y="1489884"/>
              <a:ext cx="258366" cy="272653"/>
            </a:xfrm>
            <a:custGeom>
              <a:avLst/>
              <a:gdLst>
                <a:gd name="T0" fmla="*/ 215 w 217"/>
                <a:gd name="T1" fmla="*/ 82 h 229"/>
                <a:gd name="T2" fmla="*/ 215 w 217"/>
                <a:gd name="T3" fmla="*/ 67 h 229"/>
                <a:gd name="T4" fmla="*/ 209 w 217"/>
                <a:gd name="T5" fmla="*/ 54 h 229"/>
                <a:gd name="T6" fmla="*/ 203 w 217"/>
                <a:gd name="T7" fmla="*/ 38 h 229"/>
                <a:gd name="T8" fmla="*/ 192 w 217"/>
                <a:gd name="T9" fmla="*/ 31 h 229"/>
                <a:gd name="T10" fmla="*/ 188 w 217"/>
                <a:gd name="T11" fmla="*/ 27 h 229"/>
                <a:gd name="T12" fmla="*/ 186 w 217"/>
                <a:gd name="T13" fmla="*/ 19 h 229"/>
                <a:gd name="T14" fmla="*/ 180 w 217"/>
                <a:gd name="T15" fmla="*/ 14 h 229"/>
                <a:gd name="T16" fmla="*/ 169 w 217"/>
                <a:gd name="T17" fmla="*/ 4 h 229"/>
                <a:gd name="T18" fmla="*/ 161 w 217"/>
                <a:gd name="T19" fmla="*/ 0 h 229"/>
                <a:gd name="T20" fmla="*/ 159 w 217"/>
                <a:gd name="T21" fmla="*/ 6 h 229"/>
                <a:gd name="T22" fmla="*/ 157 w 217"/>
                <a:gd name="T23" fmla="*/ 12 h 229"/>
                <a:gd name="T24" fmla="*/ 146 w 217"/>
                <a:gd name="T25" fmla="*/ 17 h 229"/>
                <a:gd name="T26" fmla="*/ 142 w 217"/>
                <a:gd name="T27" fmla="*/ 23 h 229"/>
                <a:gd name="T28" fmla="*/ 140 w 217"/>
                <a:gd name="T29" fmla="*/ 31 h 229"/>
                <a:gd name="T30" fmla="*/ 132 w 217"/>
                <a:gd name="T31" fmla="*/ 40 h 229"/>
                <a:gd name="T32" fmla="*/ 88 w 217"/>
                <a:gd name="T33" fmla="*/ 54 h 229"/>
                <a:gd name="T34" fmla="*/ 65 w 217"/>
                <a:gd name="T35" fmla="*/ 73 h 229"/>
                <a:gd name="T36" fmla="*/ 62 w 217"/>
                <a:gd name="T37" fmla="*/ 86 h 229"/>
                <a:gd name="T38" fmla="*/ 65 w 217"/>
                <a:gd name="T39" fmla="*/ 94 h 229"/>
                <a:gd name="T40" fmla="*/ 69 w 217"/>
                <a:gd name="T41" fmla="*/ 101 h 229"/>
                <a:gd name="T42" fmla="*/ 60 w 217"/>
                <a:gd name="T43" fmla="*/ 107 h 229"/>
                <a:gd name="T44" fmla="*/ 27 w 217"/>
                <a:gd name="T45" fmla="*/ 111 h 229"/>
                <a:gd name="T46" fmla="*/ 23 w 217"/>
                <a:gd name="T47" fmla="*/ 105 h 229"/>
                <a:gd name="T48" fmla="*/ 6 w 217"/>
                <a:gd name="T49" fmla="*/ 107 h 229"/>
                <a:gd name="T50" fmla="*/ 6 w 217"/>
                <a:gd name="T51" fmla="*/ 113 h 229"/>
                <a:gd name="T52" fmla="*/ 10 w 217"/>
                <a:gd name="T53" fmla="*/ 120 h 229"/>
                <a:gd name="T54" fmla="*/ 27 w 217"/>
                <a:gd name="T55" fmla="*/ 128 h 229"/>
                <a:gd name="T56" fmla="*/ 27 w 217"/>
                <a:gd name="T57" fmla="*/ 138 h 229"/>
                <a:gd name="T58" fmla="*/ 35 w 217"/>
                <a:gd name="T59" fmla="*/ 147 h 229"/>
                <a:gd name="T60" fmla="*/ 54 w 217"/>
                <a:gd name="T61" fmla="*/ 166 h 229"/>
                <a:gd name="T62" fmla="*/ 67 w 217"/>
                <a:gd name="T63" fmla="*/ 174 h 229"/>
                <a:gd name="T64" fmla="*/ 81 w 217"/>
                <a:gd name="T65" fmla="*/ 193 h 229"/>
                <a:gd name="T66" fmla="*/ 104 w 217"/>
                <a:gd name="T67" fmla="*/ 206 h 229"/>
                <a:gd name="T68" fmla="*/ 88 w 217"/>
                <a:gd name="T69" fmla="*/ 168 h 229"/>
                <a:gd name="T70" fmla="*/ 96 w 217"/>
                <a:gd name="T71" fmla="*/ 164 h 229"/>
                <a:gd name="T72" fmla="*/ 121 w 217"/>
                <a:gd name="T73" fmla="*/ 180 h 229"/>
                <a:gd name="T74" fmla="*/ 150 w 217"/>
                <a:gd name="T75" fmla="*/ 189 h 229"/>
                <a:gd name="T76" fmla="*/ 150 w 217"/>
                <a:gd name="T77" fmla="*/ 183 h 229"/>
                <a:gd name="T78" fmla="*/ 153 w 217"/>
                <a:gd name="T79" fmla="*/ 172 h 229"/>
                <a:gd name="T80" fmla="*/ 155 w 217"/>
                <a:gd name="T81" fmla="*/ 162 h 229"/>
                <a:gd name="T82" fmla="*/ 178 w 217"/>
                <a:gd name="T83" fmla="*/ 180 h 229"/>
                <a:gd name="T84" fmla="*/ 186 w 217"/>
                <a:gd name="T85" fmla="*/ 185 h 229"/>
                <a:gd name="T86" fmla="*/ 201 w 217"/>
                <a:gd name="T87" fmla="*/ 201 h 229"/>
                <a:gd name="T88" fmla="*/ 209 w 217"/>
                <a:gd name="T89" fmla="*/ 174 h 229"/>
                <a:gd name="T90" fmla="*/ 213 w 217"/>
                <a:gd name="T91" fmla="*/ 130 h 229"/>
                <a:gd name="T92" fmla="*/ 159 w 217"/>
                <a:gd name="T93" fmla="*/ 193 h 229"/>
                <a:gd name="T94" fmla="*/ 153 w 217"/>
                <a:gd name="T95" fmla="*/ 195 h 229"/>
                <a:gd name="T96" fmla="*/ 161 w 217"/>
                <a:gd name="T97" fmla="*/ 195 h 229"/>
                <a:gd name="T98" fmla="*/ 165 w 217"/>
                <a:gd name="T99" fmla="*/ 222 h 229"/>
                <a:gd name="T100" fmla="*/ 167 w 217"/>
                <a:gd name="T101" fmla="*/ 218 h 229"/>
                <a:gd name="T102" fmla="*/ 111 w 217"/>
                <a:gd name="T103" fmla="*/ 189 h 229"/>
                <a:gd name="T104" fmla="*/ 115 w 217"/>
                <a:gd name="T105" fmla="*/ 189 h 229"/>
                <a:gd name="T106" fmla="*/ 150 w 217"/>
                <a:gd name="T107" fmla="*/ 180 h 229"/>
                <a:gd name="T108" fmla="*/ 153 w 217"/>
                <a:gd name="T109" fmla="*/ 183 h 229"/>
                <a:gd name="T110" fmla="*/ 178 w 217"/>
                <a:gd name="T111" fmla="*/ 199 h 229"/>
                <a:gd name="T112" fmla="*/ 182 w 217"/>
                <a:gd name="T113" fmla="*/ 201 h 229"/>
                <a:gd name="T114" fmla="*/ 173 w 217"/>
                <a:gd name="T115" fmla="*/ 225 h 229"/>
                <a:gd name="T116" fmla="*/ 173 w 217"/>
                <a:gd name="T117" fmla="*/ 229 h 229"/>
                <a:gd name="T118" fmla="*/ 176 w 217"/>
                <a:gd name="T119" fmla="*/ 206 h 229"/>
                <a:gd name="T120" fmla="*/ 178 w 217"/>
                <a:gd name="T121" fmla="*/ 21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17" h="229">
                  <a:moveTo>
                    <a:pt x="217" y="109"/>
                  </a:moveTo>
                  <a:lnTo>
                    <a:pt x="213" y="103"/>
                  </a:lnTo>
                  <a:lnTo>
                    <a:pt x="213" y="101"/>
                  </a:lnTo>
                  <a:lnTo>
                    <a:pt x="213" y="96"/>
                  </a:lnTo>
                  <a:lnTo>
                    <a:pt x="215" y="90"/>
                  </a:lnTo>
                  <a:lnTo>
                    <a:pt x="215" y="88"/>
                  </a:lnTo>
                  <a:lnTo>
                    <a:pt x="217" y="86"/>
                  </a:lnTo>
                  <a:lnTo>
                    <a:pt x="215" y="82"/>
                  </a:lnTo>
                  <a:lnTo>
                    <a:pt x="215" y="80"/>
                  </a:lnTo>
                  <a:lnTo>
                    <a:pt x="215" y="80"/>
                  </a:lnTo>
                  <a:lnTo>
                    <a:pt x="215" y="78"/>
                  </a:lnTo>
                  <a:lnTo>
                    <a:pt x="217" y="75"/>
                  </a:lnTo>
                  <a:lnTo>
                    <a:pt x="215" y="71"/>
                  </a:lnTo>
                  <a:lnTo>
                    <a:pt x="217" y="67"/>
                  </a:lnTo>
                  <a:lnTo>
                    <a:pt x="215" y="67"/>
                  </a:lnTo>
                  <a:lnTo>
                    <a:pt x="215" y="67"/>
                  </a:lnTo>
                  <a:lnTo>
                    <a:pt x="215" y="67"/>
                  </a:lnTo>
                  <a:lnTo>
                    <a:pt x="215" y="67"/>
                  </a:lnTo>
                  <a:lnTo>
                    <a:pt x="213" y="63"/>
                  </a:lnTo>
                  <a:lnTo>
                    <a:pt x="213" y="63"/>
                  </a:lnTo>
                  <a:lnTo>
                    <a:pt x="211" y="61"/>
                  </a:lnTo>
                  <a:lnTo>
                    <a:pt x="211" y="59"/>
                  </a:lnTo>
                  <a:lnTo>
                    <a:pt x="211" y="57"/>
                  </a:lnTo>
                  <a:lnTo>
                    <a:pt x="209" y="54"/>
                  </a:lnTo>
                  <a:lnTo>
                    <a:pt x="209" y="52"/>
                  </a:lnTo>
                  <a:lnTo>
                    <a:pt x="209" y="50"/>
                  </a:lnTo>
                  <a:lnTo>
                    <a:pt x="207" y="46"/>
                  </a:lnTo>
                  <a:lnTo>
                    <a:pt x="209" y="38"/>
                  </a:lnTo>
                  <a:lnTo>
                    <a:pt x="209" y="38"/>
                  </a:lnTo>
                  <a:lnTo>
                    <a:pt x="205" y="36"/>
                  </a:lnTo>
                  <a:lnTo>
                    <a:pt x="203" y="38"/>
                  </a:lnTo>
                  <a:lnTo>
                    <a:pt x="203" y="38"/>
                  </a:lnTo>
                  <a:lnTo>
                    <a:pt x="199" y="38"/>
                  </a:lnTo>
                  <a:lnTo>
                    <a:pt x="197" y="38"/>
                  </a:lnTo>
                  <a:lnTo>
                    <a:pt x="197" y="36"/>
                  </a:lnTo>
                  <a:lnTo>
                    <a:pt x="197" y="33"/>
                  </a:lnTo>
                  <a:lnTo>
                    <a:pt x="194" y="33"/>
                  </a:lnTo>
                  <a:lnTo>
                    <a:pt x="192" y="33"/>
                  </a:lnTo>
                  <a:lnTo>
                    <a:pt x="192" y="33"/>
                  </a:lnTo>
                  <a:lnTo>
                    <a:pt x="192" y="31"/>
                  </a:lnTo>
                  <a:lnTo>
                    <a:pt x="192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0" y="29"/>
                  </a:lnTo>
                  <a:lnTo>
                    <a:pt x="190" y="29"/>
                  </a:lnTo>
                  <a:lnTo>
                    <a:pt x="188" y="29"/>
                  </a:lnTo>
                  <a:lnTo>
                    <a:pt x="188" y="29"/>
                  </a:lnTo>
                  <a:lnTo>
                    <a:pt x="188" y="27"/>
                  </a:lnTo>
                  <a:lnTo>
                    <a:pt x="188" y="27"/>
                  </a:lnTo>
                  <a:lnTo>
                    <a:pt x="188" y="25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88" y="23"/>
                  </a:lnTo>
                  <a:lnTo>
                    <a:pt x="188" y="23"/>
                  </a:lnTo>
                  <a:lnTo>
                    <a:pt x="186" y="21"/>
                  </a:lnTo>
                  <a:lnTo>
                    <a:pt x="186" y="19"/>
                  </a:lnTo>
                  <a:lnTo>
                    <a:pt x="186" y="19"/>
                  </a:lnTo>
                  <a:lnTo>
                    <a:pt x="184" y="17"/>
                  </a:lnTo>
                  <a:lnTo>
                    <a:pt x="184" y="17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180" y="14"/>
                  </a:lnTo>
                  <a:lnTo>
                    <a:pt x="180" y="14"/>
                  </a:lnTo>
                  <a:lnTo>
                    <a:pt x="180" y="14"/>
                  </a:lnTo>
                  <a:lnTo>
                    <a:pt x="180" y="12"/>
                  </a:lnTo>
                  <a:lnTo>
                    <a:pt x="180" y="10"/>
                  </a:lnTo>
                  <a:lnTo>
                    <a:pt x="180" y="10"/>
                  </a:lnTo>
                  <a:lnTo>
                    <a:pt x="176" y="10"/>
                  </a:lnTo>
                  <a:lnTo>
                    <a:pt x="173" y="8"/>
                  </a:lnTo>
                  <a:lnTo>
                    <a:pt x="171" y="8"/>
                  </a:lnTo>
                  <a:lnTo>
                    <a:pt x="169" y="6"/>
                  </a:lnTo>
                  <a:lnTo>
                    <a:pt x="169" y="4"/>
                  </a:lnTo>
                  <a:lnTo>
                    <a:pt x="167" y="4"/>
                  </a:lnTo>
                  <a:lnTo>
                    <a:pt x="167" y="4"/>
                  </a:lnTo>
                  <a:lnTo>
                    <a:pt x="165" y="4"/>
                  </a:lnTo>
                  <a:lnTo>
                    <a:pt x="165" y="4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3" y="2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59" y="2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9" y="6"/>
                  </a:lnTo>
                  <a:lnTo>
                    <a:pt x="159" y="6"/>
                  </a:lnTo>
                  <a:lnTo>
                    <a:pt x="159" y="6"/>
                  </a:lnTo>
                  <a:lnTo>
                    <a:pt x="159" y="6"/>
                  </a:lnTo>
                  <a:lnTo>
                    <a:pt x="159" y="6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7" y="12"/>
                  </a:lnTo>
                  <a:lnTo>
                    <a:pt x="157" y="12"/>
                  </a:lnTo>
                  <a:lnTo>
                    <a:pt x="155" y="14"/>
                  </a:lnTo>
                  <a:lnTo>
                    <a:pt x="155" y="14"/>
                  </a:lnTo>
                  <a:lnTo>
                    <a:pt x="153" y="14"/>
                  </a:lnTo>
                  <a:lnTo>
                    <a:pt x="153" y="14"/>
                  </a:lnTo>
                  <a:lnTo>
                    <a:pt x="150" y="14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4" y="23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6" y="33"/>
                  </a:lnTo>
                  <a:lnTo>
                    <a:pt x="136" y="36"/>
                  </a:lnTo>
                  <a:lnTo>
                    <a:pt x="136" y="36"/>
                  </a:lnTo>
                  <a:lnTo>
                    <a:pt x="134" y="38"/>
                  </a:lnTo>
                  <a:lnTo>
                    <a:pt x="134" y="38"/>
                  </a:lnTo>
                  <a:lnTo>
                    <a:pt x="132" y="40"/>
                  </a:lnTo>
                  <a:lnTo>
                    <a:pt x="129" y="42"/>
                  </a:lnTo>
                  <a:lnTo>
                    <a:pt x="123" y="42"/>
                  </a:lnTo>
                  <a:lnTo>
                    <a:pt x="121" y="44"/>
                  </a:lnTo>
                  <a:lnTo>
                    <a:pt x="117" y="44"/>
                  </a:lnTo>
                  <a:lnTo>
                    <a:pt x="100" y="52"/>
                  </a:lnTo>
                  <a:lnTo>
                    <a:pt x="94" y="52"/>
                  </a:lnTo>
                  <a:lnTo>
                    <a:pt x="90" y="52"/>
                  </a:lnTo>
                  <a:lnTo>
                    <a:pt x="88" y="54"/>
                  </a:lnTo>
                  <a:lnTo>
                    <a:pt x="81" y="57"/>
                  </a:lnTo>
                  <a:lnTo>
                    <a:pt x="79" y="59"/>
                  </a:lnTo>
                  <a:lnTo>
                    <a:pt x="75" y="61"/>
                  </a:lnTo>
                  <a:lnTo>
                    <a:pt x="75" y="63"/>
                  </a:lnTo>
                  <a:lnTo>
                    <a:pt x="67" y="65"/>
                  </a:lnTo>
                  <a:lnTo>
                    <a:pt x="65" y="67"/>
                  </a:lnTo>
                  <a:lnTo>
                    <a:pt x="65" y="71"/>
                  </a:lnTo>
                  <a:lnTo>
                    <a:pt x="65" y="73"/>
                  </a:lnTo>
                  <a:lnTo>
                    <a:pt x="67" y="80"/>
                  </a:lnTo>
                  <a:lnTo>
                    <a:pt x="67" y="82"/>
                  </a:lnTo>
                  <a:lnTo>
                    <a:pt x="67" y="84"/>
                  </a:lnTo>
                  <a:lnTo>
                    <a:pt x="65" y="84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4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9" y="99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3"/>
                  </a:lnTo>
                  <a:lnTo>
                    <a:pt x="69" y="103"/>
                  </a:lnTo>
                  <a:lnTo>
                    <a:pt x="67" y="105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9"/>
                  </a:lnTo>
                  <a:lnTo>
                    <a:pt x="62" y="109"/>
                  </a:lnTo>
                  <a:lnTo>
                    <a:pt x="60" y="107"/>
                  </a:lnTo>
                  <a:lnTo>
                    <a:pt x="56" y="107"/>
                  </a:lnTo>
                  <a:lnTo>
                    <a:pt x="52" y="111"/>
                  </a:lnTo>
                  <a:lnTo>
                    <a:pt x="44" y="113"/>
                  </a:lnTo>
                  <a:lnTo>
                    <a:pt x="42" y="113"/>
                  </a:lnTo>
                  <a:lnTo>
                    <a:pt x="39" y="113"/>
                  </a:lnTo>
                  <a:lnTo>
                    <a:pt x="35" y="113"/>
                  </a:lnTo>
                  <a:lnTo>
                    <a:pt x="31" y="111"/>
                  </a:lnTo>
                  <a:lnTo>
                    <a:pt x="27" y="111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5"/>
                  </a:lnTo>
                  <a:lnTo>
                    <a:pt x="23" y="105"/>
                  </a:lnTo>
                  <a:lnTo>
                    <a:pt x="23" y="103"/>
                  </a:lnTo>
                  <a:lnTo>
                    <a:pt x="21" y="103"/>
                  </a:lnTo>
                  <a:lnTo>
                    <a:pt x="21" y="103"/>
                  </a:lnTo>
                  <a:lnTo>
                    <a:pt x="14" y="99"/>
                  </a:lnTo>
                  <a:lnTo>
                    <a:pt x="12" y="103"/>
                  </a:lnTo>
                  <a:lnTo>
                    <a:pt x="8" y="105"/>
                  </a:lnTo>
                  <a:lnTo>
                    <a:pt x="6" y="107"/>
                  </a:lnTo>
                  <a:lnTo>
                    <a:pt x="4" y="109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9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4" y="115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8" y="113"/>
                  </a:lnTo>
                  <a:lnTo>
                    <a:pt x="10" y="113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10" y="120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22"/>
                  </a:lnTo>
                  <a:lnTo>
                    <a:pt x="18" y="122"/>
                  </a:lnTo>
                  <a:lnTo>
                    <a:pt x="21" y="124"/>
                  </a:lnTo>
                  <a:lnTo>
                    <a:pt x="27" y="128"/>
                  </a:lnTo>
                  <a:lnTo>
                    <a:pt x="29" y="130"/>
                  </a:lnTo>
                  <a:lnTo>
                    <a:pt x="29" y="130"/>
                  </a:lnTo>
                  <a:lnTo>
                    <a:pt x="29" y="130"/>
                  </a:lnTo>
                  <a:lnTo>
                    <a:pt x="29" y="132"/>
                  </a:lnTo>
                  <a:lnTo>
                    <a:pt x="29" y="134"/>
                  </a:lnTo>
                  <a:lnTo>
                    <a:pt x="27" y="136"/>
                  </a:lnTo>
                  <a:lnTo>
                    <a:pt x="27" y="136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1" y="138"/>
                  </a:lnTo>
                  <a:lnTo>
                    <a:pt x="33" y="138"/>
                  </a:lnTo>
                  <a:lnTo>
                    <a:pt x="35" y="141"/>
                  </a:lnTo>
                  <a:lnTo>
                    <a:pt x="35" y="141"/>
                  </a:lnTo>
                  <a:lnTo>
                    <a:pt x="37" y="143"/>
                  </a:lnTo>
                  <a:lnTo>
                    <a:pt x="37" y="145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42" y="151"/>
                  </a:lnTo>
                  <a:lnTo>
                    <a:pt x="48" y="159"/>
                  </a:lnTo>
                  <a:lnTo>
                    <a:pt x="50" y="162"/>
                  </a:lnTo>
                  <a:lnTo>
                    <a:pt x="50" y="164"/>
                  </a:lnTo>
                  <a:lnTo>
                    <a:pt x="54" y="164"/>
                  </a:lnTo>
                  <a:lnTo>
                    <a:pt x="54" y="164"/>
                  </a:lnTo>
                  <a:lnTo>
                    <a:pt x="54" y="166"/>
                  </a:lnTo>
                  <a:lnTo>
                    <a:pt x="56" y="166"/>
                  </a:lnTo>
                  <a:lnTo>
                    <a:pt x="56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58" y="168"/>
                  </a:lnTo>
                  <a:lnTo>
                    <a:pt x="60" y="168"/>
                  </a:lnTo>
                  <a:lnTo>
                    <a:pt x="65" y="174"/>
                  </a:lnTo>
                  <a:lnTo>
                    <a:pt x="67" y="174"/>
                  </a:lnTo>
                  <a:lnTo>
                    <a:pt x="65" y="176"/>
                  </a:lnTo>
                  <a:lnTo>
                    <a:pt x="65" y="178"/>
                  </a:lnTo>
                  <a:lnTo>
                    <a:pt x="71" y="183"/>
                  </a:lnTo>
                  <a:lnTo>
                    <a:pt x="73" y="183"/>
                  </a:lnTo>
                  <a:lnTo>
                    <a:pt x="79" y="189"/>
                  </a:lnTo>
                  <a:lnTo>
                    <a:pt x="79" y="191"/>
                  </a:lnTo>
                  <a:lnTo>
                    <a:pt x="81" y="191"/>
                  </a:lnTo>
                  <a:lnTo>
                    <a:pt x="81" y="193"/>
                  </a:lnTo>
                  <a:lnTo>
                    <a:pt x="83" y="193"/>
                  </a:lnTo>
                  <a:lnTo>
                    <a:pt x="88" y="197"/>
                  </a:lnTo>
                  <a:lnTo>
                    <a:pt x="90" y="199"/>
                  </a:lnTo>
                  <a:lnTo>
                    <a:pt x="90" y="201"/>
                  </a:lnTo>
                  <a:lnTo>
                    <a:pt x="90" y="206"/>
                  </a:lnTo>
                  <a:lnTo>
                    <a:pt x="90" y="206"/>
                  </a:lnTo>
                  <a:lnTo>
                    <a:pt x="102" y="206"/>
                  </a:lnTo>
                  <a:lnTo>
                    <a:pt x="104" y="206"/>
                  </a:lnTo>
                  <a:lnTo>
                    <a:pt x="104" y="206"/>
                  </a:lnTo>
                  <a:lnTo>
                    <a:pt x="104" y="204"/>
                  </a:lnTo>
                  <a:lnTo>
                    <a:pt x="102" y="201"/>
                  </a:lnTo>
                  <a:lnTo>
                    <a:pt x="102" y="197"/>
                  </a:lnTo>
                  <a:lnTo>
                    <a:pt x="102" y="195"/>
                  </a:lnTo>
                  <a:lnTo>
                    <a:pt x="88" y="170"/>
                  </a:lnTo>
                  <a:lnTo>
                    <a:pt x="88" y="168"/>
                  </a:lnTo>
                  <a:lnTo>
                    <a:pt x="88" y="168"/>
                  </a:lnTo>
                  <a:lnTo>
                    <a:pt x="90" y="166"/>
                  </a:lnTo>
                  <a:lnTo>
                    <a:pt x="90" y="166"/>
                  </a:lnTo>
                  <a:lnTo>
                    <a:pt x="92" y="166"/>
                  </a:lnTo>
                  <a:lnTo>
                    <a:pt x="94" y="166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8" y="166"/>
                  </a:lnTo>
                  <a:lnTo>
                    <a:pt x="102" y="166"/>
                  </a:lnTo>
                  <a:lnTo>
                    <a:pt x="102" y="166"/>
                  </a:lnTo>
                  <a:lnTo>
                    <a:pt x="104" y="168"/>
                  </a:lnTo>
                  <a:lnTo>
                    <a:pt x="109" y="174"/>
                  </a:lnTo>
                  <a:lnTo>
                    <a:pt x="111" y="176"/>
                  </a:lnTo>
                  <a:lnTo>
                    <a:pt x="117" y="176"/>
                  </a:lnTo>
                  <a:lnTo>
                    <a:pt x="121" y="180"/>
                  </a:lnTo>
                  <a:lnTo>
                    <a:pt x="138" y="189"/>
                  </a:lnTo>
                  <a:lnTo>
                    <a:pt x="142" y="191"/>
                  </a:lnTo>
                  <a:lnTo>
                    <a:pt x="144" y="193"/>
                  </a:lnTo>
                  <a:lnTo>
                    <a:pt x="146" y="193"/>
                  </a:lnTo>
                  <a:lnTo>
                    <a:pt x="148" y="191"/>
                  </a:lnTo>
                  <a:lnTo>
                    <a:pt x="150" y="191"/>
                  </a:lnTo>
                  <a:lnTo>
                    <a:pt x="153" y="189"/>
                  </a:lnTo>
                  <a:lnTo>
                    <a:pt x="150" y="189"/>
                  </a:lnTo>
                  <a:lnTo>
                    <a:pt x="148" y="189"/>
                  </a:lnTo>
                  <a:lnTo>
                    <a:pt x="146" y="189"/>
                  </a:lnTo>
                  <a:lnTo>
                    <a:pt x="146" y="187"/>
                  </a:lnTo>
                  <a:lnTo>
                    <a:pt x="148" y="185"/>
                  </a:lnTo>
                  <a:lnTo>
                    <a:pt x="150" y="185"/>
                  </a:lnTo>
                  <a:lnTo>
                    <a:pt x="153" y="185"/>
                  </a:lnTo>
                  <a:lnTo>
                    <a:pt x="150" y="183"/>
                  </a:lnTo>
                  <a:lnTo>
                    <a:pt x="150" y="183"/>
                  </a:lnTo>
                  <a:lnTo>
                    <a:pt x="150" y="183"/>
                  </a:lnTo>
                  <a:lnTo>
                    <a:pt x="150" y="180"/>
                  </a:lnTo>
                  <a:lnTo>
                    <a:pt x="150" y="178"/>
                  </a:lnTo>
                  <a:lnTo>
                    <a:pt x="148" y="176"/>
                  </a:lnTo>
                  <a:lnTo>
                    <a:pt x="148" y="174"/>
                  </a:lnTo>
                  <a:lnTo>
                    <a:pt x="148" y="172"/>
                  </a:lnTo>
                  <a:lnTo>
                    <a:pt x="150" y="172"/>
                  </a:lnTo>
                  <a:lnTo>
                    <a:pt x="153" y="172"/>
                  </a:lnTo>
                  <a:lnTo>
                    <a:pt x="153" y="172"/>
                  </a:lnTo>
                  <a:lnTo>
                    <a:pt x="153" y="172"/>
                  </a:lnTo>
                  <a:lnTo>
                    <a:pt x="155" y="172"/>
                  </a:lnTo>
                  <a:lnTo>
                    <a:pt x="155" y="170"/>
                  </a:lnTo>
                  <a:lnTo>
                    <a:pt x="155" y="168"/>
                  </a:lnTo>
                  <a:lnTo>
                    <a:pt x="155" y="166"/>
                  </a:lnTo>
                  <a:lnTo>
                    <a:pt x="155" y="164"/>
                  </a:lnTo>
                  <a:lnTo>
                    <a:pt x="155" y="162"/>
                  </a:lnTo>
                  <a:lnTo>
                    <a:pt x="157" y="159"/>
                  </a:lnTo>
                  <a:lnTo>
                    <a:pt x="161" y="162"/>
                  </a:lnTo>
                  <a:lnTo>
                    <a:pt x="167" y="170"/>
                  </a:lnTo>
                  <a:lnTo>
                    <a:pt x="169" y="172"/>
                  </a:lnTo>
                  <a:lnTo>
                    <a:pt x="173" y="176"/>
                  </a:lnTo>
                  <a:lnTo>
                    <a:pt x="178" y="180"/>
                  </a:lnTo>
                  <a:lnTo>
                    <a:pt x="178" y="180"/>
                  </a:lnTo>
                  <a:lnTo>
                    <a:pt x="178" y="180"/>
                  </a:lnTo>
                  <a:lnTo>
                    <a:pt x="180" y="180"/>
                  </a:lnTo>
                  <a:lnTo>
                    <a:pt x="180" y="183"/>
                  </a:lnTo>
                  <a:lnTo>
                    <a:pt x="182" y="183"/>
                  </a:lnTo>
                  <a:lnTo>
                    <a:pt x="182" y="183"/>
                  </a:lnTo>
                  <a:lnTo>
                    <a:pt x="182" y="180"/>
                  </a:lnTo>
                  <a:lnTo>
                    <a:pt x="182" y="180"/>
                  </a:lnTo>
                  <a:lnTo>
                    <a:pt x="184" y="183"/>
                  </a:lnTo>
                  <a:lnTo>
                    <a:pt x="186" y="185"/>
                  </a:lnTo>
                  <a:lnTo>
                    <a:pt x="186" y="193"/>
                  </a:lnTo>
                  <a:lnTo>
                    <a:pt x="188" y="195"/>
                  </a:lnTo>
                  <a:lnTo>
                    <a:pt x="197" y="195"/>
                  </a:lnTo>
                  <a:lnTo>
                    <a:pt x="199" y="197"/>
                  </a:lnTo>
                  <a:lnTo>
                    <a:pt x="199" y="197"/>
                  </a:lnTo>
                  <a:lnTo>
                    <a:pt x="199" y="201"/>
                  </a:lnTo>
                  <a:lnTo>
                    <a:pt x="201" y="204"/>
                  </a:lnTo>
                  <a:lnTo>
                    <a:pt x="201" y="201"/>
                  </a:lnTo>
                  <a:lnTo>
                    <a:pt x="203" y="199"/>
                  </a:lnTo>
                  <a:lnTo>
                    <a:pt x="205" y="195"/>
                  </a:lnTo>
                  <a:lnTo>
                    <a:pt x="207" y="193"/>
                  </a:lnTo>
                  <a:lnTo>
                    <a:pt x="207" y="185"/>
                  </a:lnTo>
                  <a:lnTo>
                    <a:pt x="207" y="185"/>
                  </a:lnTo>
                  <a:lnTo>
                    <a:pt x="209" y="180"/>
                  </a:lnTo>
                  <a:lnTo>
                    <a:pt x="209" y="178"/>
                  </a:lnTo>
                  <a:lnTo>
                    <a:pt x="209" y="174"/>
                  </a:lnTo>
                  <a:lnTo>
                    <a:pt x="209" y="168"/>
                  </a:lnTo>
                  <a:lnTo>
                    <a:pt x="211" y="164"/>
                  </a:lnTo>
                  <a:lnTo>
                    <a:pt x="211" y="162"/>
                  </a:lnTo>
                  <a:lnTo>
                    <a:pt x="209" y="153"/>
                  </a:lnTo>
                  <a:lnTo>
                    <a:pt x="211" y="149"/>
                  </a:lnTo>
                  <a:lnTo>
                    <a:pt x="213" y="143"/>
                  </a:lnTo>
                  <a:lnTo>
                    <a:pt x="213" y="138"/>
                  </a:lnTo>
                  <a:lnTo>
                    <a:pt x="213" y="130"/>
                  </a:lnTo>
                  <a:lnTo>
                    <a:pt x="213" y="122"/>
                  </a:lnTo>
                  <a:lnTo>
                    <a:pt x="213" y="120"/>
                  </a:lnTo>
                  <a:lnTo>
                    <a:pt x="215" y="115"/>
                  </a:lnTo>
                  <a:lnTo>
                    <a:pt x="217" y="113"/>
                  </a:lnTo>
                  <a:lnTo>
                    <a:pt x="217" y="109"/>
                  </a:lnTo>
                  <a:close/>
                  <a:moveTo>
                    <a:pt x="159" y="193"/>
                  </a:moveTo>
                  <a:lnTo>
                    <a:pt x="159" y="193"/>
                  </a:lnTo>
                  <a:lnTo>
                    <a:pt x="159" y="193"/>
                  </a:lnTo>
                  <a:lnTo>
                    <a:pt x="157" y="193"/>
                  </a:lnTo>
                  <a:lnTo>
                    <a:pt x="157" y="195"/>
                  </a:lnTo>
                  <a:lnTo>
                    <a:pt x="157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3" y="195"/>
                  </a:lnTo>
                  <a:lnTo>
                    <a:pt x="153" y="195"/>
                  </a:lnTo>
                  <a:lnTo>
                    <a:pt x="153" y="197"/>
                  </a:lnTo>
                  <a:lnTo>
                    <a:pt x="153" y="197"/>
                  </a:lnTo>
                  <a:lnTo>
                    <a:pt x="155" y="197"/>
                  </a:lnTo>
                  <a:lnTo>
                    <a:pt x="157" y="197"/>
                  </a:lnTo>
                  <a:lnTo>
                    <a:pt x="157" y="197"/>
                  </a:lnTo>
                  <a:lnTo>
                    <a:pt x="159" y="195"/>
                  </a:lnTo>
                  <a:lnTo>
                    <a:pt x="159" y="195"/>
                  </a:lnTo>
                  <a:lnTo>
                    <a:pt x="161" y="195"/>
                  </a:lnTo>
                  <a:lnTo>
                    <a:pt x="159" y="195"/>
                  </a:lnTo>
                  <a:lnTo>
                    <a:pt x="159" y="193"/>
                  </a:lnTo>
                  <a:close/>
                  <a:moveTo>
                    <a:pt x="167" y="218"/>
                  </a:moveTo>
                  <a:lnTo>
                    <a:pt x="169" y="218"/>
                  </a:lnTo>
                  <a:lnTo>
                    <a:pt x="167" y="218"/>
                  </a:lnTo>
                  <a:lnTo>
                    <a:pt x="167" y="218"/>
                  </a:lnTo>
                  <a:lnTo>
                    <a:pt x="167" y="220"/>
                  </a:lnTo>
                  <a:lnTo>
                    <a:pt x="165" y="222"/>
                  </a:lnTo>
                  <a:lnTo>
                    <a:pt x="165" y="222"/>
                  </a:lnTo>
                  <a:lnTo>
                    <a:pt x="165" y="222"/>
                  </a:lnTo>
                  <a:lnTo>
                    <a:pt x="165" y="222"/>
                  </a:lnTo>
                  <a:lnTo>
                    <a:pt x="167" y="222"/>
                  </a:lnTo>
                  <a:lnTo>
                    <a:pt x="169" y="220"/>
                  </a:lnTo>
                  <a:lnTo>
                    <a:pt x="169" y="220"/>
                  </a:lnTo>
                  <a:lnTo>
                    <a:pt x="169" y="220"/>
                  </a:lnTo>
                  <a:lnTo>
                    <a:pt x="167" y="218"/>
                  </a:lnTo>
                  <a:lnTo>
                    <a:pt x="167" y="218"/>
                  </a:lnTo>
                  <a:close/>
                  <a:moveTo>
                    <a:pt x="115" y="189"/>
                  </a:moveTo>
                  <a:lnTo>
                    <a:pt x="115" y="189"/>
                  </a:lnTo>
                  <a:lnTo>
                    <a:pt x="113" y="189"/>
                  </a:lnTo>
                  <a:lnTo>
                    <a:pt x="111" y="189"/>
                  </a:lnTo>
                  <a:lnTo>
                    <a:pt x="111" y="189"/>
                  </a:lnTo>
                  <a:lnTo>
                    <a:pt x="111" y="189"/>
                  </a:lnTo>
                  <a:lnTo>
                    <a:pt x="111" y="189"/>
                  </a:lnTo>
                  <a:lnTo>
                    <a:pt x="111" y="191"/>
                  </a:lnTo>
                  <a:lnTo>
                    <a:pt x="111" y="193"/>
                  </a:lnTo>
                  <a:lnTo>
                    <a:pt x="115" y="195"/>
                  </a:lnTo>
                  <a:lnTo>
                    <a:pt x="117" y="195"/>
                  </a:lnTo>
                  <a:lnTo>
                    <a:pt x="117" y="195"/>
                  </a:lnTo>
                  <a:lnTo>
                    <a:pt x="117" y="191"/>
                  </a:lnTo>
                  <a:lnTo>
                    <a:pt x="117" y="191"/>
                  </a:lnTo>
                  <a:lnTo>
                    <a:pt x="115" y="189"/>
                  </a:lnTo>
                  <a:close/>
                  <a:moveTo>
                    <a:pt x="153" y="183"/>
                  </a:moveTo>
                  <a:lnTo>
                    <a:pt x="153" y="180"/>
                  </a:lnTo>
                  <a:lnTo>
                    <a:pt x="155" y="180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50" y="180"/>
                  </a:lnTo>
                  <a:lnTo>
                    <a:pt x="150" y="180"/>
                  </a:lnTo>
                  <a:lnTo>
                    <a:pt x="150" y="183"/>
                  </a:lnTo>
                  <a:lnTo>
                    <a:pt x="150" y="183"/>
                  </a:lnTo>
                  <a:lnTo>
                    <a:pt x="150" y="183"/>
                  </a:lnTo>
                  <a:lnTo>
                    <a:pt x="153" y="183"/>
                  </a:lnTo>
                  <a:lnTo>
                    <a:pt x="153" y="183"/>
                  </a:lnTo>
                  <a:lnTo>
                    <a:pt x="153" y="183"/>
                  </a:lnTo>
                  <a:lnTo>
                    <a:pt x="153" y="183"/>
                  </a:lnTo>
                  <a:close/>
                  <a:moveTo>
                    <a:pt x="182" y="199"/>
                  </a:moveTo>
                  <a:lnTo>
                    <a:pt x="182" y="199"/>
                  </a:lnTo>
                  <a:lnTo>
                    <a:pt x="180" y="197"/>
                  </a:lnTo>
                  <a:lnTo>
                    <a:pt x="180" y="197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78" y="199"/>
                  </a:lnTo>
                  <a:lnTo>
                    <a:pt x="178" y="199"/>
                  </a:lnTo>
                  <a:lnTo>
                    <a:pt x="178" y="199"/>
                  </a:lnTo>
                  <a:lnTo>
                    <a:pt x="178" y="201"/>
                  </a:lnTo>
                  <a:lnTo>
                    <a:pt x="178" y="201"/>
                  </a:lnTo>
                  <a:lnTo>
                    <a:pt x="178" y="204"/>
                  </a:lnTo>
                  <a:lnTo>
                    <a:pt x="180" y="201"/>
                  </a:lnTo>
                  <a:lnTo>
                    <a:pt x="180" y="201"/>
                  </a:lnTo>
                  <a:lnTo>
                    <a:pt x="182" y="201"/>
                  </a:lnTo>
                  <a:lnTo>
                    <a:pt x="182" y="201"/>
                  </a:lnTo>
                  <a:lnTo>
                    <a:pt x="182" y="201"/>
                  </a:lnTo>
                  <a:lnTo>
                    <a:pt x="182" y="199"/>
                  </a:lnTo>
                  <a:lnTo>
                    <a:pt x="182" y="199"/>
                  </a:lnTo>
                  <a:lnTo>
                    <a:pt x="182" y="199"/>
                  </a:lnTo>
                  <a:lnTo>
                    <a:pt x="182" y="199"/>
                  </a:lnTo>
                  <a:close/>
                  <a:moveTo>
                    <a:pt x="173" y="225"/>
                  </a:moveTo>
                  <a:lnTo>
                    <a:pt x="173" y="225"/>
                  </a:lnTo>
                  <a:lnTo>
                    <a:pt x="173" y="225"/>
                  </a:lnTo>
                  <a:lnTo>
                    <a:pt x="173" y="225"/>
                  </a:lnTo>
                  <a:lnTo>
                    <a:pt x="171" y="227"/>
                  </a:lnTo>
                  <a:lnTo>
                    <a:pt x="171" y="225"/>
                  </a:lnTo>
                  <a:lnTo>
                    <a:pt x="171" y="227"/>
                  </a:lnTo>
                  <a:lnTo>
                    <a:pt x="169" y="227"/>
                  </a:lnTo>
                  <a:lnTo>
                    <a:pt x="171" y="227"/>
                  </a:lnTo>
                  <a:lnTo>
                    <a:pt x="171" y="229"/>
                  </a:lnTo>
                  <a:lnTo>
                    <a:pt x="173" y="229"/>
                  </a:lnTo>
                  <a:lnTo>
                    <a:pt x="173" y="227"/>
                  </a:lnTo>
                  <a:lnTo>
                    <a:pt x="176" y="227"/>
                  </a:lnTo>
                  <a:lnTo>
                    <a:pt x="173" y="225"/>
                  </a:lnTo>
                  <a:lnTo>
                    <a:pt x="173" y="225"/>
                  </a:lnTo>
                  <a:close/>
                  <a:moveTo>
                    <a:pt x="180" y="206"/>
                  </a:moveTo>
                  <a:lnTo>
                    <a:pt x="180" y="206"/>
                  </a:lnTo>
                  <a:lnTo>
                    <a:pt x="178" y="206"/>
                  </a:lnTo>
                  <a:lnTo>
                    <a:pt x="176" y="206"/>
                  </a:lnTo>
                  <a:lnTo>
                    <a:pt x="176" y="206"/>
                  </a:lnTo>
                  <a:lnTo>
                    <a:pt x="176" y="206"/>
                  </a:lnTo>
                  <a:lnTo>
                    <a:pt x="176" y="208"/>
                  </a:lnTo>
                  <a:lnTo>
                    <a:pt x="173" y="208"/>
                  </a:lnTo>
                  <a:lnTo>
                    <a:pt x="176" y="208"/>
                  </a:lnTo>
                  <a:lnTo>
                    <a:pt x="176" y="208"/>
                  </a:lnTo>
                  <a:lnTo>
                    <a:pt x="176" y="210"/>
                  </a:lnTo>
                  <a:lnTo>
                    <a:pt x="178" y="210"/>
                  </a:lnTo>
                  <a:lnTo>
                    <a:pt x="178" y="210"/>
                  </a:lnTo>
                  <a:lnTo>
                    <a:pt x="180" y="208"/>
                  </a:lnTo>
                  <a:lnTo>
                    <a:pt x="180" y="208"/>
                  </a:lnTo>
                  <a:lnTo>
                    <a:pt x="180" y="206"/>
                  </a:lnTo>
                  <a:lnTo>
                    <a:pt x="180" y="206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5" name="Freeform 111">
              <a:extLst>
                <a:ext uri="{FF2B5EF4-FFF2-40B4-BE49-F238E27FC236}">
                  <a16:creationId xmlns:a16="http://schemas.microsoft.com/office/drawing/2014/main" id="{7ADC59C8-1DD4-4436-881D-4A961FCBA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5406" y="1154127"/>
              <a:ext cx="384572" cy="227409"/>
            </a:xfrm>
            <a:custGeom>
              <a:avLst/>
              <a:gdLst>
                <a:gd name="T0" fmla="*/ 314 w 323"/>
                <a:gd name="T1" fmla="*/ 59 h 191"/>
                <a:gd name="T2" fmla="*/ 310 w 323"/>
                <a:gd name="T3" fmla="*/ 42 h 191"/>
                <a:gd name="T4" fmla="*/ 295 w 323"/>
                <a:gd name="T5" fmla="*/ 30 h 191"/>
                <a:gd name="T6" fmla="*/ 277 w 323"/>
                <a:gd name="T7" fmla="*/ 25 h 191"/>
                <a:gd name="T8" fmla="*/ 258 w 323"/>
                <a:gd name="T9" fmla="*/ 25 h 191"/>
                <a:gd name="T10" fmla="*/ 251 w 323"/>
                <a:gd name="T11" fmla="*/ 23 h 191"/>
                <a:gd name="T12" fmla="*/ 239 w 323"/>
                <a:gd name="T13" fmla="*/ 17 h 191"/>
                <a:gd name="T14" fmla="*/ 235 w 323"/>
                <a:gd name="T15" fmla="*/ 13 h 191"/>
                <a:gd name="T16" fmla="*/ 230 w 323"/>
                <a:gd name="T17" fmla="*/ 11 h 191"/>
                <a:gd name="T18" fmla="*/ 224 w 323"/>
                <a:gd name="T19" fmla="*/ 4 h 191"/>
                <a:gd name="T20" fmla="*/ 220 w 323"/>
                <a:gd name="T21" fmla="*/ 0 h 191"/>
                <a:gd name="T22" fmla="*/ 170 w 323"/>
                <a:gd name="T23" fmla="*/ 0 h 191"/>
                <a:gd name="T24" fmla="*/ 151 w 323"/>
                <a:gd name="T25" fmla="*/ 13 h 191"/>
                <a:gd name="T26" fmla="*/ 145 w 323"/>
                <a:gd name="T27" fmla="*/ 21 h 191"/>
                <a:gd name="T28" fmla="*/ 136 w 323"/>
                <a:gd name="T29" fmla="*/ 32 h 191"/>
                <a:gd name="T30" fmla="*/ 122 w 323"/>
                <a:gd name="T31" fmla="*/ 25 h 191"/>
                <a:gd name="T32" fmla="*/ 115 w 323"/>
                <a:gd name="T33" fmla="*/ 23 h 191"/>
                <a:gd name="T34" fmla="*/ 109 w 323"/>
                <a:gd name="T35" fmla="*/ 13 h 191"/>
                <a:gd name="T36" fmla="*/ 98 w 323"/>
                <a:gd name="T37" fmla="*/ 11 h 191"/>
                <a:gd name="T38" fmla="*/ 82 w 323"/>
                <a:gd name="T39" fmla="*/ 13 h 191"/>
                <a:gd name="T40" fmla="*/ 75 w 323"/>
                <a:gd name="T41" fmla="*/ 19 h 191"/>
                <a:gd name="T42" fmla="*/ 61 w 323"/>
                <a:gd name="T43" fmla="*/ 28 h 191"/>
                <a:gd name="T44" fmla="*/ 65 w 323"/>
                <a:gd name="T45" fmla="*/ 38 h 191"/>
                <a:gd name="T46" fmla="*/ 69 w 323"/>
                <a:gd name="T47" fmla="*/ 38 h 191"/>
                <a:gd name="T48" fmla="*/ 57 w 323"/>
                <a:gd name="T49" fmla="*/ 49 h 191"/>
                <a:gd name="T50" fmla="*/ 52 w 323"/>
                <a:gd name="T51" fmla="*/ 55 h 191"/>
                <a:gd name="T52" fmla="*/ 54 w 323"/>
                <a:gd name="T53" fmla="*/ 67 h 191"/>
                <a:gd name="T54" fmla="*/ 38 w 323"/>
                <a:gd name="T55" fmla="*/ 84 h 191"/>
                <a:gd name="T56" fmla="*/ 27 w 323"/>
                <a:gd name="T57" fmla="*/ 89 h 191"/>
                <a:gd name="T58" fmla="*/ 0 w 323"/>
                <a:gd name="T59" fmla="*/ 91 h 191"/>
                <a:gd name="T60" fmla="*/ 8 w 323"/>
                <a:gd name="T61" fmla="*/ 120 h 191"/>
                <a:gd name="T62" fmla="*/ 29 w 323"/>
                <a:gd name="T63" fmla="*/ 139 h 191"/>
                <a:gd name="T64" fmla="*/ 36 w 323"/>
                <a:gd name="T65" fmla="*/ 145 h 191"/>
                <a:gd name="T66" fmla="*/ 42 w 323"/>
                <a:gd name="T67" fmla="*/ 160 h 191"/>
                <a:gd name="T68" fmla="*/ 50 w 323"/>
                <a:gd name="T69" fmla="*/ 168 h 191"/>
                <a:gd name="T70" fmla="*/ 69 w 323"/>
                <a:gd name="T71" fmla="*/ 183 h 191"/>
                <a:gd name="T72" fmla="*/ 78 w 323"/>
                <a:gd name="T73" fmla="*/ 187 h 191"/>
                <a:gd name="T74" fmla="*/ 88 w 323"/>
                <a:gd name="T75" fmla="*/ 191 h 191"/>
                <a:gd name="T76" fmla="*/ 105 w 323"/>
                <a:gd name="T77" fmla="*/ 181 h 191"/>
                <a:gd name="T78" fmla="*/ 126 w 323"/>
                <a:gd name="T79" fmla="*/ 185 h 191"/>
                <a:gd name="T80" fmla="*/ 140 w 323"/>
                <a:gd name="T81" fmla="*/ 185 h 191"/>
                <a:gd name="T82" fmla="*/ 149 w 323"/>
                <a:gd name="T83" fmla="*/ 177 h 191"/>
                <a:gd name="T84" fmla="*/ 155 w 323"/>
                <a:gd name="T85" fmla="*/ 175 h 191"/>
                <a:gd name="T86" fmla="*/ 163 w 323"/>
                <a:gd name="T87" fmla="*/ 158 h 191"/>
                <a:gd name="T88" fmla="*/ 165 w 323"/>
                <a:gd name="T89" fmla="*/ 152 h 191"/>
                <a:gd name="T90" fmla="*/ 180 w 323"/>
                <a:gd name="T91" fmla="*/ 154 h 191"/>
                <a:gd name="T92" fmla="*/ 197 w 323"/>
                <a:gd name="T93" fmla="*/ 152 h 191"/>
                <a:gd name="T94" fmla="*/ 195 w 323"/>
                <a:gd name="T95" fmla="*/ 145 h 191"/>
                <a:gd name="T96" fmla="*/ 199 w 323"/>
                <a:gd name="T97" fmla="*/ 135 h 191"/>
                <a:gd name="T98" fmla="*/ 205 w 323"/>
                <a:gd name="T99" fmla="*/ 145 h 191"/>
                <a:gd name="T100" fmla="*/ 222 w 323"/>
                <a:gd name="T101" fmla="*/ 154 h 191"/>
                <a:gd name="T102" fmla="*/ 222 w 323"/>
                <a:gd name="T103" fmla="*/ 152 h 191"/>
                <a:gd name="T104" fmla="*/ 222 w 323"/>
                <a:gd name="T105" fmla="*/ 139 h 191"/>
                <a:gd name="T106" fmla="*/ 230 w 323"/>
                <a:gd name="T107" fmla="*/ 137 h 191"/>
                <a:gd name="T108" fmla="*/ 226 w 323"/>
                <a:gd name="T109" fmla="*/ 128 h 191"/>
                <a:gd name="T110" fmla="*/ 268 w 323"/>
                <a:gd name="T111" fmla="*/ 97 h 191"/>
                <a:gd name="T112" fmla="*/ 306 w 323"/>
                <a:gd name="T113" fmla="*/ 97 h 191"/>
                <a:gd name="T114" fmla="*/ 312 w 323"/>
                <a:gd name="T115" fmla="*/ 89 h 191"/>
                <a:gd name="T116" fmla="*/ 323 w 323"/>
                <a:gd name="T117" fmla="*/ 93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23" h="191">
                  <a:moveTo>
                    <a:pt x="323" y="93"/>
                  </a:moveTo>
                  <a:lnTo>
                    <a:pt x="321" y="89"/>
                  </a:lnTo>
                  <a:lnTo>
                    <a:pt x="316" y="82"/>
                  </a:lnTo>
                  <a:lnTo>
                    <a:pt x="316" y="78"/>
                  </a:lnTo>
                  <a:lnTo>
                    <a:pt x="314" y="74"/>
                  </a:lnTo>
                  <a:lnTo>
                    <a:pt x="314" y="59"/>
                  </a:lnTo>
                  <a:lnTo>
                    <a:pt x="314" y="53"/>
                  </a:lnTo>
                  <a:lnTo>
                    <a:pt x="314" y="53"/>
                  </a:lnTo>
                  <a:lnTo>
                    <a:pt x="312" y="49"/>
                  </a:lnTo>
                  <a:lnTo>
                    <a:pt x="310" y="49"/>
                  </a:lnTo>
                  <a:lnTo>
                    <a:pt x="310" y="44"/>
                  </a:lnTo>
                  <a:lnTo>
                    <a:pt x="310" y="42"/>
                  </a:lnTo>
                  <a:lnTo>
                    <a:pt x="310" y="36"/>
                  </a:lnTo>
                  <a:lnTo>
                    <a:pt x="308" y="28"/>
                  </a:lnTo>
                  <a:lnTo>
                    <a:pt x="308" y="25"/>
                  </a:lnTo>
                  <a:lnTo>
                    <a:pt x="302" y="28"/>
                  </a:lnTo>
                  <a:lnTo>
                    <a:pt x="297" y="28"/>
                  </a:lnTo>
                  <a:lnTo>
                    <a:pt x="295" y="30"/>
                  </a:lnTo>
                  <a:lnTo>
                    <a:pt x="291" y="30"/>
                  </a:lnTo>
                  <a:lnTo>
                    <a:pt x="289" y="30"/>
                  </a:lnTo>
                  <a:lnTo>
                    <a:pt x="285" y="25"/>
                  </a:lnTo>
                  <a:lnTo>
                    <a:pt x="283" y="25"/>
                  </a:lnTo>
                  <a:lnTo>
                    <a:pt x="277" y="25"/>
                  </a:lnTo>
                  <a:lnTo>
                    <a:pt x="277" y="25"/>
                  </a:lnTo>
                  <a:lnTo>
                    <a:pt x="274" y="23"/>
                  </a:lnTo>
                  <a:lnTo>
                    <a:pt x="268" y="21"/>
                  </a:lnTo>
                  <a:lnTo>
                    <a:pt x="266" y="21"/>
                  </a:lnTo>
                  <a:lnTo>
                    <a:pt x="262" y="23"/>
                  </a:lnTo>
                  <a:lnTo>
                    <a:pt x="260" y="23"/>
                  </a:lnTo>
                  <a:lnTo>
                    <a:pt x="258" y="25"/>
                  </a:lnTo>
                  <a:lnTo>
                    <a:pt x="258" y="28"/>
                  </a:lnTo>
                  <a:lnTo>
                    <a:pt x="256" y="30"/>
                  </a:lnTo>
                  <a:lnTo>
                    <a:pt x="256" y="30"/>
                  </a:lnTo>
                  <a:lnTo>
                    <a:pt x="253" y="25"/>
                  </a:lnTo>
                  <a:lnTo>
                    <a:pt x="253" y="23"/>
                  </a:lnTo>
                  <a:lnTo>
                    <a:pt x="251" y="23"/>
                  </a:lnTo>
                  <a:lnTo>
                    <a:pt x="249" y="23"/>
                  </a:lnTo>
                  <a:lnTo>
                    <a:pt x="247" y="23"/>
                  </a:lnTo>
                  <a:lnTo>
                    <a:pt x="245" y="21"/>
                  </a:lnTo>
                  <a:lnTo>
                    <a:pt x="243" y="19"/>
                  </a:lnTo>
                  <a:lnTo>
                    <a:pt x="243" y="19"/>
                  </a:lnTo>
                  <a:lnTo>
                    <a:pt x="239" y="17"/>
                  </a:lnTo>
                  <a:lnTo>
                    <a:pt x="239" y="17"/>
                  </a:lnTo>
                  <a:lnTo>
                    <a:pt x="239" y="17"/>
                  </a:lnTo>
                  <a:lnTo>
                    <a:pt x="237" y="15"/>
                  </a:lnTo>
                  <a:lnTo>
                    <a:pt x="235" y="15"/>
                  </a:lnTo>
                  <a:lnTo>
                    <a:pt x="235" y="15"/>
                  </a:lnTo>
                  <a:lnTo>
                    <a:pt x="235" y="13"/>
                  </a:lnTo>
                  <a:lnTo>
                    <a:pt x="233" y="13"/>
                  </a:lnTo>
                  <a:lnTo>
                    <a:pt x="233" y="13"/>
                  </a:lnTo>
                  <a:lnTo>
                    <a:pt x="233" y="13"/>
                  </a:lnTo>
                  <a:lnTo>
                    <a:pt x="233" y="11"/>
                  </a:lnTo>
                  <a:lnTo>
                    <a:pt x="233" y="11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30" y="11"/>
                  </a:lnTo>
                  <a:lnTo>
                    <a:pt x="228" y="7"/>
                  </a:lnTo>
                  <a:lnTo>
                    <a:pt x="228" y="7"/>
                  </a:lnTo>
                  <a:lnTo>
                    <a:pt x="226" y="4"/>
                  </a:lnTo>
                  <a:lnTo>
                    <a:pt x="224" y="4"/>
                  </a:lnTo>
                  <a:lnTo>
                    <a:pt x="220" y="7"/>
                  </a:lnTo>
                  <a:lnTo>
                    <a:pt x="220" y="4"/>
                  </a:lnTo>
                  <a:lnTo>
                    <a:pt x="222" y="2"/>
                  </a:lnTo>
                  <a:lnTo>
                    <a:pt x="222" y="2"/>
                  </a:lnTo>
                  <a:lnTo>
                    <a:pt x="222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18" y="0"/>
                  </a:lnTo>
                  <a:lnTo>
                    <a:pt x="186" y="2"/>
                  </a:lnTo>
                  <a:lnTo>
                    <a:pt x="174" y="0"/>
                  </a:lnTo>
                  <a:lnTo>
                    <a:pt x="170" y="0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7" y="4"/>
                  </a:lnTo>
                  <a:lnTo>
                    <a:pt x="155" y="7"/>
                  </a:lnTo>
                  <a:lnTo>
                    <a:pt x="153" y="11"/>
                  </a:lnTo>
                  <a:lnTo>
                    <a:pt x="151" y="13"/>
                  </a:lnTo>
                  <a:lnTo>
                    <a:pt x="149" y="13"/>
                  </a:lnTo>
                  <a:lnTo>
                    <a:pt x="149" y="15"/>
                  </a:lnTo>
                  <a:lnTo>
                    <a:pt x="147" y="15"/>
                  </a:lnTo>
                  <a:lnTo>
                    <a:pt x="147" y="17"/>
                  </a:lnTo>
                  <a:lnTo>
                    <a:pt x="145" y="19"/>
                  </a:lnTo>
                  <a:lnTo>
                    <a:pt x="145" y="21"/>
                  </a:lnTo>
                  <a:lnTo>
                    <a:pt x="145" y="21"/>
                  </a:lnTo>
                  <a:lnTo>
                    <a:pt x="142" y="21"/>
                  </a:lnTo>
                  <a:lnTo>
                    <a:pt x="140" y="23"/>
                  </a:lnTo>
                  <a:lnTo>
                    <a:pt x="140" y="25"/>
                  </a:lnTo>
                  <a:lnTo>
                    <a:pt x="138" y="30"/>
                  </a:lnTo>
                  <a:lnTo>
                    <a:pt x="136" y="32"/>
                  </a:lnTo>
                  <a:lnTo>
                    <a:pt x="134" y="32"/>
                  </a:lnTo>
                  <a:lnTo>
                    <a:pt x="126" y="30"/>
                  </a:lnTo>
                  <a:lnTo>
                    <a:pt x="124" y="30"/>
                  </a:lnTo>
                  <a:lnTo>
                    <a:pt x="124" y="28"/>
                  </a:lnTo>
                  <a:lnTo>
                    <a:pt x="122" y="28"/>
                  </a:lnTo>
                  <a:lnTo>
                    <a:pt x="122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7" y="23"/>
                  </a:lnTo>
                  <a:lnTo>
                    <a:pt x="117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09" y="17"/>
                  </a:lnTo>
                  <a:lnTo>
                    <a:pt x="109" y="15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3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98" y="11"/>
                  </a:lnTo>
                  <a:lnTo>
                    <a:pt x="96" y="11"/>
                  </a:lnTo>
                  <a:lnTo>
                    <a:pt x="94" y="11"/>
                  </a:lnTo>
                  <a:lnTo>
                    <a:pt x="90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0" y="15"/>
                  </a:lnTo>
                  <a:lnTo>
                    <a:pt x="78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1" y="23"/>
                  </a:lnTo>
                  <a:lnTo>
                    <a:pt x="61" y="28"/>
                  </a:lnTo>
                  <a:lnTo>
                    <a:pt x="63" y="30"/>
                  </a:lnTo>
                  <a:lnTo>
                    <a:pt x="63" y="32"/>
                  </a:lnTo>
                  <a:lnTo>
                    <a:pt x="63" y="34"/>
                  </a:lnTo>
                  <a:lnTo>
                    <a:pt x="63" y="36"/>
                  </a:lnTo>
                  <a:lnTo>
                    <a:pt x="65" y="36"/>
                  </a:lnTo>
                  <a:lnTo>
                    <a:pt x="65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7" y="40"/>
                  </a:lnTo>
                  <a:lnTo>
                    <a:pt x="67" y="42"/>
                  </a:lnTo>
                  <a:lnTo>
                    <a:pt x="65" y="46"/>
                  </a:lnTo>
                  <a:lnTo>
                    <a:pt x="63" y="46"/>
                  </a:lnTo>
                  <a:lnTo>
                    <a:pt x="59" y="49"/>
                  </a:lnTo>
                  <a:lnTo>
                    <a:pt x="57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51"/>
                  </a:lnTo>
                  <a:lnTo>
                    <a:pt x="52" y="51"/>
                  </a:lnTo>
                  <a:lnTo>
                    <a:pt x="52" y="53"/>
                  </a:lnTo>
                  <a:lnTo>
                    <a:pt x="52" y="55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2" y="70"/>
                  </a:lnTo>
                  <a:lnTo>
                    <a:pt x="52" y="72"/>
                  </a:lnTo>
                  <a:lnTo>
                    <a:pt x="50" y="74"/>
                  </a:lnTo>
                  <a:lnTo>
                    <a:pt x="42" y="80"/>
                  </a:lnTo>
                  <a:lnTo>
                    <a:pt x="38" y="84"/>
                  </a:lnTo>
                  <a:lnTo>
                    <a:pt x="36" y="86"/>
                  </a:lnTo>
                  <a:lnTo>
                    <a:pt x="34" y="89"/>
                  </a:lnTo>
                  <a:lnTo>
                    <a:pt x="34" y="91"/>
                  </a:lnTo>
                  <a:lnTo>
                    <a:pt x="31" y="91"/>
                  </a:lnTo>
                  <a:lnTo>
                    <a:pt x="27" y="91"/>
                  </a:lnTo>
                  <a:lnTo>
                    <a:pt x="27" y="89"/>
                  </a:lnTo>
                  <a:lnTo>
                    <a:pt x="10" y="93"/>
                  </a:lnTo>
                  <a:lnTo>
                    <a:pt x="8" y="93"/>
                  </a:lnTo>
                  <a:lnTo>
                    <a:pt x="6" y="91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99"/>
                  </a:lnTo>
                  <a:lnTo>
                    <a:pt x="2" y="105"/>
                  </a:lnTo>
                  <a:lnTo>
                    <a:pt x="2" y="110"/>
                  </a:lnTo>
                  <a:lnTo>
                    <a:pt x="4" y="116"/>
                  </a:lnTo>
                  <a:lnTo>
                    <a:pt x="6" y="118"/>
                  </a:lnTo>
                  <a:lnTo>
                    <a:pt x="8" y="120"/>
                  </a:lnTo>
                  <a:lnTo>
                    <a:pt x="10" y="122"/>
                  </a:lnTo>
                  <a:lnTo>
                    <a:pt x="13" y="122"/>
                  </a:lnTo>
                  <a:lnTo>
                    <a:pt x="13" y="124"/>
                  </a:lnTo>
                  <a:lnTo>
                    <a:pt x="17" y="135"/>
                  </a:lnTo>
                  <a:lnTo>
                    <a:pt x="21" y="145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31" y="141"/>
                  </a:lnTo>
                  <a:lnTo>
                    <a:pt x="36" y="143"/>
                  </a:lnTo>
                  <a:lnTo>
                    <a:pt x="36" y="145"/>
                  </a:lnTo>
                  <a:lnTo>
                    <a:pt x="38" y="145"/>
                  </a:lnTo>
                  <a:lnTo>
                    <a:pt x="38" y="145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40" y="149"/>
                  </a:lnTo>
                  <a:lnTo>
                    <a:pt x="42" y="160"/>
                  </a:lnTo>
                  <a:lnTo>
                    <a:pt x="44" y="162"/>
                  </a:lnTo>
                  <a:lnTo>
                    <a:pt x="44" y="162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50" y="166"/>
                  </a:lnTo>
                  <a:lnTo>
                    <a:pt x="50" y="168"/>
                  </a:lnTo>
                  <a:lnTo>
                    <a:pt x="52" y="170"/>
                  </a:lnTo>
                  <a:lnTo>
                    <a:pt x="54" y="175"/>
                  </a:lnTo>
                  <a:lnTo>
                    <a:pt x="59" y="177"/>
                  </a:lnTo>
                  <a:lnTo>
                    <a:pt x="63" y="179"/>
                  </a:lnTo>
                  <a:lnTo>
                    <a:pt x="67" y="183"/>
                  </a:lnTo>
                  <a:lnTo>
                    <a:pt x="69" y="183"/>
                  </a:lnTo>
                  <a:lnTo>
                    <a:pt x="71" y="183"/>
                  </a:lnTo>
                  <a:lnTo>
                    <a:pt x="71" y="185"/>
                  </a:lnTo>
                  <a:lnTo>
                    <a:pt x="73" y="187"/>
                  </a:lnTo>
                  <a:lnTo>
                    <a:pt x="75" y="187"/>
                  </a:lnTo>
                  <a:lnTo>
                    <a:pt x="75" y="187"/>
                  </a:lnTo>
                  <a:lnTo>
                    <a:pt x="78" y="187"/>
                  </a:lnTo>
                  <a:lnTo>
                    <a:pt x="78" y="187"/>
                  </a:lnTo>
                  <a:lnTo>
                    <a:pt x="80" y="187"/>
                  </a:lnTo>
                  <a:lnTo>
                    <a:pt x="84" y="187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8" y="191"/>
                  </a:lnTo>
                  <a:lnTo>
                    <a:pt x="90" y="191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8" y="185"/>
                  </a:lnTo>
                  <a:lnTo>
                    <a:pt x="101" y="185"/>
                  </a:lnTo>
                  <a:lnTo>
                    <a:pt x="105" y="181"/>
                  </a:lnTo>
                  <a:lnTo>
                    <a:pt x="109" y="177"/>
                  </a:lnTo>
                  <a:lnTo>
                    <a:pt x="111" y="181"/>
                  </a:lnTo>
                  <a:lnTo>
                    <a:pt x="117" y="181"/>
                  </a:lnTo>
                  <a:lnTo>
                    <a:pt x="122" y="185"/>
                  </a:lnTo>
                  <a:lnTo>
                    <a:pt x="124" y="185"/>
                  </a:lnTo>
                  <a:lnTo>
                    <a:pt x="126" y="185"/>
                  </a:lnTo>
                  <a:lnTo>
                    <a:pt x="128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2" y="185"/>
                  </a:lnTo>
                  <a:lnTo>
                    <a:pt x="138" y="185"/>
                  </a:lnTo>
                  <a:lnTo>
                    <a:pt x="140" y="185"/>
                  </a:lnTo>
                  <a:lnTo>
                    <a:pt x="140" y="183"/>
                  </a:lnTo>
                  <a:lnTo>
                    <a:pt x="140" y="181"/>
                  </a:lnTo>
                  <a:lnTo>
                    <a:pt x="142" y="181"/>
                  </a:lnTo>
                  <a:lnTo>
                    <a:pt x="142" y="179"/>
                  </a:lnTo>
                  <a:lnTo>
                    <a:pt x="147" y="177"/>
                  </a:lnTo>
                  <a:lnTo>
                    <a:pt x="149" y="177"/>
                  </a:lnTo>
                  <a:lnTo>
                    <a:pt x="151" y="175"/>
                  </a:lnTo>
                  <a:lnTo>
                    <a:pt x="151" y="175"/>
                  </a:lnTo>
                  <a:lnTo>
                    <a:pt x="153" y="175"/>
                  </a:lnTo>
                  <a:lnTo>
                    <a:pt x="153" y="175"/>
                  </a:lnTo>
                  <a:lnTo>
                    <a:pt x="153" y="175"/>
                  </a:lnTo>
                  <a:lnTo>
                    <a:pt x="155" y="175"/>
                  </a:lnTo>
                  <a:lnTo>
                    <a:pt x="157" y="173"/>
                  </a:lnTo>
                  <a:lnTo>
                    <a:pt x="157" y="170"/>
                  </a:lnTo>
                  <a:lnTo>
                    <a:pt x="165" y="160"/>
                  </a:lnTo>
                  <a:lnTo>
                    <a:pt x="165" y="160"/>
                  </a:lnTo>
                  <a:lnTo>
                    <a:pt x="165" y="158"/>
                  </a:lnTo>
                  <a:lnTo>
                    <a:pt x="163" y="158"/>
                  </a:lnTo>
                  <a:lnTo>
                    <a:pt x="163" y="158"/>
                  </a:lnTo>
                  <a:lnTo>
                    <a:pt x="163" y="156"/>
                  </a:lnTo>
                  <a:lnTo>
                    <a:pt x="163" y="156"/>
                  </a:lnTo>
                  <a:lnTo>
                    <a:pt x="163" y="154"/>
                  </a:lnTo>
                  <a:lnTo>
                    <a:pt x="163" y="152"/>
                  </a:lnTo>
                  <a:lnTo>
                    <a:pt x="165" y="152"/>
                  </a:lnTo>
                  <a:lnTo>
                    <a:pt x="165" y="152"/>
                  </a:lnTo>
                  <a:lnTo>
                    <a:pt x="168" y="152"/>
                  </a:lnTo>
                  <a:lnTo>
                    <a:pt x="170" y="152"/>
                  </a:lnTo>
                  <a:lnTo>
                    <a:pt x="174" y="152"/>
                  </a:lnTo>
                  <a:lnTo>
                    <a:pt x="176" y="154"/>
                  </a:lnTo>
                  <a:lnTo>
                    <a:pt x="180" y="154"/>
                  </a:lnTo>
                  <a:lnTo>
                    <a:pt x="182" y="152"/>
                  </a:lnTo>
                  <a:lnTo>
                    <a:pt x="186" y="154"/>
                  </a:lnTo>
                  <a:lnTo>
                    <a:pt x="189" y="156"/>
                  </a:lnTo>
                  <a:lnTo>
                    <a:pt x="191" y="154"/>
                  </a:lnTo>
                  <a:lnTo>
                    <a:pt x="195" y="154"/>
                  </a:lnTo>
                  <a:lnTo>
                    <a:pt x="197" y="152"/>
                  </a:lnTo>
                  <a:lnTo>
                    <a:pt x="197" y="152"/>
                  </a:lnTo>
                  <a:lnTo>
                    <a:pt x="197" y="149"/>
                  </a:lnTo>
                  <a:lnTo>
                    <a:pt x="197" y="149"/>
                  </a:lnTo>
                  <a:lnTo>
                    <a:pt x="197" y="147"/>
                  </a:lnTo>
                  <a:lnTo>
                    <a:pt x="195" y="147"/>
                  </a:lnTo>
                  <a:lnTo>
                    <a:pt x="195" y="145"/>
                  </a:lnTo>
                  <a:lnTo>
                    <a:pt x="193" y="145"/>
                  </a:lnTo>
                  <a:lnTo>
                    <a:pt x="193" y="143"/>
                  </a:lnTo>
                  <a:lnTo>
                    <a:pt x="195" y="141"/>
                  </a:lnTo>
                  <a:lnTo>
                    <a:pt x="197" y="139"/>
                  </a:lnTo>
                  <a:lnTo>
                    <a:pt x="199" y="135"/>
                  </a:lnTo>
                  <a:lnTo>
                    <a:pt x="199" y="135"/>
                  </a:lnTo>
                  <a:lnTo>
                    <a:pt x="201" y="135"/>
                  </a:lnTo>
                  <a:lnTo>
                    <a:pt x="201" y="135"/>
                  </a:lnTo>
                  <a:lnTo>
                    <a:pt x="203" y="137"/>
                  </a:lnTo>
                  <a:lnTo>
                    <a:pt x="205" y="141"/>
                  </a:lnTo>
                  <a:lnTo>
                    <a:pt x="205" y="143"/>
                  </a:lnTo>
                  <a:lnTo>
                    <a:pt x="205" y="145"/>
                  </a:lnTo>
                  <a:lnTo>
                    <a:pt x="218" y="154"/>
                  </a:lnTo>
                  <a:lnTo>
                    <a:pt x="220" y="156"/>
                  </a:lnTo>
                  <a:lnTo>
                    <a:pt x="220" y="156"/>
                  </a:lnTo>
                  <a:lnTo>
                    <a:pt x="220" y="156"/>
                  </a:lnTo>
                  <a:lnTo>
                    <a:pt x="222" y="156"/>
                  </a:lnTo>
                  <a:lnTo>
                    <a:pt x="222" y="154"/>
                  </a:lnTo>
                  <a:lnTo>
                    <a:pt x="222" y="154"/>
                  </a:lnTo>
                  <a:lnTo>
                    <a:pt x="222" y="154"/>
                  </a:lnTo>
                  <a:lnTo>
                    <a:pt x="220" y="152"/>
                  </a:lnTo>
                  <a:lnTo>
                    <a:pt x="222" y="152"/>
                  </a:lnTo>
                  <a:lnTo>
                    <a:pt x="222" y="152"/>
                  </a:lnTo>
                  <a:lnTo>
                    <a:pt x="222" y="152"/>
                  </a:lnTo>
                  <a:lnTo>
                    <a:pt x="222" y="147"/>
                  </a:lnTo>
                  <a:lnTo>
                    <a:pt x="220" y="143"/>
                  </a:lnTo>
                  <a:lnTo>
                    <a:pt x="220" y="143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2" y="139"/>
                  </a:lnTo>
                  <a:lnTo>
                    <a:pt x="222" y="139"/>
                  </a:lnTo>
                  <a:lnTo>
                    <a:pt x="226" y="139"/>
                  </a:lnTo>
                  <a:lnTo>
                    <a:pt x="226" y="139"/>
                  </a:lnTo>
                  <a:lnTo>
                    <a:pt x="228" y="139"/>
                  </a:lnTo>
                  <a:lnTo>
                    <a:pt x="228" y="137"/>
                  </a:lnTo>
                  <a:lnTo>
                    <a:pt x="230" y="137"/>
                  </a:lnTo>
                  <a:lnTo>
                    <a:pt x="230" y="137"/>
                  </a:lnTo>
                  <a:lnTo>
                    <a:pt x="228" y="135"/>
                  </a:lnTo>
                  <a:lnTo>
                    <a:pt x="228" y="135"/>
                  </a:lnTo>
                  <a:lnTo>
                    <a:pt x="228" y="135"/>
                  </a:lnTo>
                  <a:lnTo>
                    <a:pt x="226" y="133"/>
                  </a:lnTo>
                  <a:lnTo>
                    <a:pt x="226" y="128"/>
                  </a:lnTo>
                  <a:lnTo>
                    <a:pt x="228" y="118"/>
                  </a:lnTo>
                  <a:lnTo>
                    <a:pt x="226" y="116"/>
                  </a:lnTo>
                  <a:lnTo>
                    <a:pt x="228" y="114"/>
                  </a:lnTo>
                  <a:lnTo>
                    <a:pt x="262" y="99"/>
                  </a:lnTo>
                  <a:lnTo>
                    <a:pt x="264" y="97"/>
                  </a:lnTo>
                  <a:lnTo>
                    <a:pt x="268" y="97"/>
                  </a:lnTo>
                  <a:lnTo>
                    <a:pt x="283" y="101"/>
                  </a:lnTo>
                  <a:lnTo>
                    <a:pt x="289" y="101"/>
                  </a:lnTo>
                  <a:lnTo>
                    <a:pt x="293" y="101"/>
                  </a:lnTo>
                  <a:lnTo>
                    <a:pt x="302" y="99"/>
                  </a:lnTo>
                  <a:lnTo>
                    <a:pt x="304" y="97"/>
                  </a:lnTo>
                  <a:lnTo>
                    <a:pt x="306" y="97"/>
                  </a:lnTo>
                  <a:lnTo>
                    <a:pt x="308" y="91"/>
                  </a:lnTo>
                  <a:lnTo>
                    <a:pt x="308" y="89"/>
                  </a:lnTo>
                  <a:lnTo>
                    <a:pt x="308" y="89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2" y="89"/>
                  </a:lnTo>
                  <a:lnTo>
                    <a:pt x="314" y="91"/>
                  </a:lnTo>
                  <a:lnTo>
                    <a:pt x="318" y="93"/>
                  </a:lnTo>
                  <a:lnTo>
                    <a:pt x="318" y="93"/>
                  </a:lnTo>
                  <a:lnTo>
                    <a:pt x="321" y="93"/>
                  </a:lnTo>
                  <a:lnTo>
                    <a:pt x="321" y="93"/>
                  </a:lnTo>
                  <a:lnTo>
                    <a:pt x="323" y="93"/>
                  </a:lnTo>
                  <a:lnTo>
                    <a:pt x="323" y="93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6" name="Freeform 120">
              <a:extLst>
                <a:ext uri="{FF2B5EF4-FFF2-40B4-BE49-F238E27FC236}">
                  <a16:creationId xmlns:a16="http://schemas.microsoft.com/office/drawing/2014/main" id="{A3293E3A-AE6A-47ED-820D-A0CB18E1D7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75881" y="1319624"/>
              <a:ext cx="305991" cy="367903"/>
            </a:xfrm>
            <a:custGeom>
              <a:avLst/>
              <a:gdLst>
                <a:gd name="T0" fmla="*/ 115 w 257"/>
                <a:gd name="T1" fmla="*/ 290 h 309"/>
                <a:gd name="T2" fmla="*/ 104 w 257"/>
                <a:gd name="T3" fmla="*/ 294 h 309"/>
                <a:gd name="T4" fmla="*/ 119 w 257"/>
                <a:gd name="T5" fmla="*/ 305 h 309"/>
                <a:gd name="T6" fmla="*/ 127 w 257"/>
                <a:gd name="T7" fmla="*/ 307 h 309"/>
                <a:gd name="T8" fmla="*/ 130 w 257"/>
                <a:gd name="T9" fmla="*/ 300 h 309"/>
                <a:gd name="T10" fmla="*/ 255 w 257"/>
                <a:gd name="T11" fmla="*/ 239 h 309"/>
                <a:gd name="T12" fmla="*/ 249 w 257"/>
                <a:gd name="T13" fmla="*/ 225 h 309"/>
                <a:gd name="T14" fmla="*/ 243 w 257"/>
                <a:gd name="T15" fmla="*/ 204 h 309"/>
                <a:gd name="T16" fmla="*/ 232 w 257"/>
                <a:gd name="T17" fmla="*/ 202 h 309"/>
                <a:gd name="T18" fmla="*/ 209 w 257"/>
                <a:gd name="T19" fmla="*/ 193 h 309"/>
                <a:gd name="T20" fmla="*/ 203 w 257"/>
                <a:gd name="T21" fmla="*/ 181 h 309"/>
                <a:gd name="T22" fmla="*/ 197 w 257"/>
                <a:gd name="T23" fmla="*/ 168 h 309"/>
                <a:gd name="T24" fmla="*/ 188 w 257"/>
                <a:gd name="T25" fmla="*/ 168 h 309"/>
                <a:gd name="T26" fmla="*/ 173 w 257"/>
                <a:gd name="T27" fmla="*/ 166 h 309"/>
                <a:gd name="T28" fmla="*/ 161 w 257"/>
                <a:gd name="T29" fmla="*/ 160 h 309"/>
                <a:gd name="T30" fmla="*/ 150 w 257"/>
                <a:gd name="T31" fmla="*/ 151 h 309"/>
                <a:gd name="T32" fmla="*/ 171 w 257"/>
                <a:gd name="T33" fmla="*/ 134 h 309"/>
                <a:gd name="T34" fmla="*/ 176 w 257"/>
                <a:gd name="T35" fmla="*/ 128 h 309"/>
                <a:gd name="T36" fmla="*/ 180 w 257"/>
                <a:gd name="T37" fmla="*/ 128 h 309"/>
                <a:gd name="T38" fmla="*/ 188 w 257"/>
                <a:gd name="T39" fmla="*/ 115 h 309"/>
                <a:gd name="T40" fmla="*/ 184 w 257"/>
                <a:gd name="T41" fmla="*/ 109 h 309"/>
                <a:gd name="T42" fmla="*/ 165 w 257"/>
                <a:gd name="T43" fmla="*/ 103 h 309"/>
                <a:gd name="T44" fmla="*/ 157 w 257"/>
                <a:gd name="T45" fmla="*/ 103 h 309"/>
                <a:gd name="T46" fmla="*/ 146 w 257"/>
                <a:gd name="T47" fmla="*/ 105 h 309"/>
                <a:gd name="T48" fmla="*/ 138 w 257"/>
                <a:gd name="T49" fmla="*/ 99 h 309"/>
                <a:gd name="T50" fmla="*/ 134 w 257"/>
                <a:gd name="T51" fmla="*/ 94 h 309"/>
                <a:gd name="T52" fmla="*/ 138 w 257"/>
                <a:gd name="T53" fmla="*/ 88 h 309"/>
                <a:gd name="T54" fmla="*/ 132 w 257"/>
                <a:gd name="T55" fmla="*/ 80 h 309"/>
                <a:gd name="T56" fmla="*/ 123 w 257"/>
                <a:gd name="T57" fmla="*/ 80 h 309"/>
                <a:gd name="T58" fmla="*/ 115 w 257"/>
                <a:gd name="T59" fmla="*/ 80 h 309"/>
                <a:gd name="T60" fmla="*/ 115 w 257"/>
                <a:gd name="T61" fmla="*/ 73 h 309"/>
                <a:gd name="T62" fmla="*/ 111 w 257"/>
                <a:gd name="T63" fmla="*/ 67 h 309"/>
                <a:gd name="T64" fmla="*/ 100 w 257"/>
                <a:gd name="T65" fmla="*/ 55 h 309"/>
                <a:gd name="T66" fmla="*/ 88 w 257"/>
                <a:gd name="T67" fmla="*/ 48 h 309"/>
                <a:gd name="T68" fmla="*/ 79 w 257"/>
                <a:gd name="T69" fmla="*/ 46 h 309"/>
                <a:gd name="T70" fmla="*/ 62 w 257"/>
                <a:gd name="T71" fmla="*/ 36 h 309"/>
                <a:gd name="T72" fmla="*/ 52 w 257"/>
                <a:gd name="T73" fmla="*/ 23 h 309"/>
                <a:gd name="T74" fmla="*/ 46 w 257"/>
                <a:gd name="T75" fmla="*/ 6 h 309"/>
                <a:gd name="T76" fmla="*/ 39 w 257"/>
                <a:gd name="T77" fmla="*/ 2 h 309"/>
                <a:gd name="T78" fmla="*/ 18 w 257"/>
                <a:gd name="T79" fmla="*/ 10 h 309"/>
                <a:gd name="T80" fmla="*/ 6 w 257"/>
                <a:gd name="T81" fmla="*/ 34 h 309"/>
                <a:gd name="T82" fmla="*/ 35 w 257"/>
                <a:gd name="T83" fmla="*/ 61 h 309"/>
                <a:gd name="T84" fmla="*/ 79 w 257"/>
                <a:gd name="T85" fmla="*/ 111 h 309"/>
                <a:gd name="T86" fmla="*/ 115 w 257"/>
                <a:gd name="T87" fmla="*/ 141 h 309"/>
                <a:gd name="T88" fmla="*/ 117 w 257"/>
                <a:gd name="T89" fmla="*/ 147 h 309"/>
                <a:gd name="T90" fmla="*/ 119 w 257"/>
                <a:gd name="T91" fmla="*/ 160 h 309"/>
                <a:gd name="T92" fmla="*/ 142 w 257"/>
                <a:gd name="T93" fmla="*/ 181 h 309"/>
                <a:gd name="T94" fmla="*/ 190 w 257"/>
                <a:gd name="T95" fmla="*/ 218 h 309"/>
                <a:gd name="T96" fmla="*/ 217 w 257"/>
                <a:gd name="T97" fmla="*/ 242 h 309"/>
                <a:gd name="T98" fmla="*/ 224 w 257"/>
                <a:gd name="T99" fmla="*/ 248 h 309"/>
                <a:gd name="T100" fmla="*/ 232 w 257"/>
                <a:gd name="T101" fmla="*/ 248 h 309"/>
                <a:gd name="T102" fmla="*/ 236 w 257"/>
                <a:gd name="T103" fmla="*/ 252 h 309"/>
                <a:gd name="T104" fmla="*/ 243 w 257"/>
                <a:gd name="T105" fmla="*/ 252 h 309"/>
                <a:gd name="T106" fmla="*/ 255 w 257"/>
                <a:gd name="T107" fmla="*/ 24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57" h="309">
                  <a:moveTo>
                    <a:pt x="125" y="294"/>
                  </a:moveTo>
                  <a:lnTo>
                    <a:pt x="119" y="294"/>
                  </a:lnTo>
                  <a:lnTo>
                    <a:pt x="119" y="292"/>
                  </a:lnTo>
                  <a:lnTo>
                    <a:pt x="117" y="290"/>
                  </a:lnTo>
                  <a:lnTo>
                    <a:pt x="115" y="290"/>
                  </a:lnTo>
                  <a:lnTo>
                    <a:pt x="115" y="290"/>
                  </a:lnTo>
                  <a:lnTo>
                    <a:pt x="113" y="290"/>
                  </a:lnTo>
                  <a:lnTo>
                    <a:pt x="111" y="288"/>
                  </a:lnTo>
                  <a:lnTo>
                    <a:pt x="109" y="288"/>
                  </a:lnTo>
                  <a:lnTo>
                    <a:pt x="104" y="288"/>
                  </a:lnTo>
                  <a:lnTo>
                    <a:pt x="100" y="292"/>
                  </a:lnTo>
                  <a:lnTo>
                    <a:pt x="104" y="294"/>
                  </a:lnTo>
                  <a:lnTo>
                    <a:pt x="115" y="302"/>
                  </a:lnTo>
                  <a:lnTo>
                    <a:pt x="115" y="305"/>
                  </a:lnTo>
                  <a:lnTo>
                    <a:pt x="117" y="307"/>
                  </a:lnTo>
                  <a:lnTo>
                    <a:pt x="119" y="309"/>
                  </a:lnTo>
                  <a:lnTo>
                    <a:pt x="119" y="307"/>
                  </a:lnTo>
                  <a:lnTo>
                    <a:pt x="119" y="305"/>
                  </a:lnTo>
                  <a:lnTo>
                    <a:pt x="121" y="305"/>
                  </a:lnTo>
                  <a:lnTo>
                    <a:pt x="121" y="305"/>
                  </a:lnTo>
                  <a:lnTo>
                    <a:pt x="121" y="305"/>
                  </a:lnTo>
                  <a:lnTo>
                    <a:pt x="121" y="305"/>
                  </a:lnTo>
                  <a:lnTo>
                    <a:pt x="123" y="305"/>
                  </a:lnTo>
                  <a:lnTo>
                    <a:pt x="127" y="307"/>
                  </a:lnTo>
                  <a:lnTo>
                    <a:pt x="127" y="307"/>
                  </a:lnTo>
                  <a:lnTo>
                    <a:pt x="127" y="305"/>
                  </a:lnTo>
                  <a:lnTo>
                    <a:pt x="125" y="305"/>
                  </a:lnTo>
                  <a:lnTo>
                    <a:pt x="125" y="302"/>
                  </a:lnTo>
                  <a:lnTo>
                    <a:pt x="127" y="302"/>
                  </a:lnTo>
                  <a:lnTo>
                    <a:pt x="130" y="300"/>
                  </a:lnTo>
                  <a:lnTo>
                    <a:pt x="130" y="298"/>
                  </a:lnTo>
                  <a:lnTo>
                    <a:pt x="130" y="296"/>
                  </a:lnTo>
                  <a:lnTo>
                    <a:pt x="125" y="294"/>
                  </a:lnTo>
                  <a:close/>
                  <a:moveTo>
                    <a:pt x="257" y="242"/>
                  </a:moveTo>
                  <a:lnTo>
                    <a:pt x="255" y="239"/>
                  </a:lnTo>
                  <a:lnTo>
                    <a:pt x="255" y="239"/>
                  </a:lnTo>
                  <a:lnTo>
                    <a:pt x="253" y="237"/>
                  </a:lnTo>
                  <a:lnTo>
                    <a:pt x="253" y="237"/>
                  </a:lnTo>
                  <a:lnTo>
                    <a:pt x="253" y="235"/>
                  </a:lnTo>
                  <a:lnTo>
                    <a:pt x="251" y="227"/>
                  </a:lnTo>
                  <a:lnTo>
                    <a:pt x="251" y="225"/>
                  </a:lnTo>
                  <a:lnTo>
                    <a:pt x="249" y="225"/>
                  </a:lnTo>
                  <a:lnTo>
                    <a:pt x="249" y="223"/>
                  </a:lnTo>
                  <a:lnTo>
                    <a:pt x="245" y="218"/>
                  </a:lnTo>
                  <a:lnTo>
                    <a:pt x="245" y="216"/>
                  </a:lnTo>
                  <a:lnTo>
                    <a:pt x="245" y="214"/>
                  </a:lnTo>
                  <a:lnTo>
                    <a:pt x="245" y="206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1" y="204"/>
                  </a:lnTo>
                  <a:lnTo>
                    <a:pt x="241" y="202"/>
                  </a:lnTo>
                  <a:lnTo>
                    <a:pt x="236" y="202"/>
                  </a:lnTo>
                  <a:lnTo>
                    <a:pt x="234" y="202"/>
                  </a:lnTo>
                  <a:lnTo>
                    <a:pt x="232" y="202"/>
                  </a:lnTo>
                  <a:lnTo>
                    <a:pt x="228" y="200"/>
                  </a:lnTo>
                  <a:lnTo>
                    <a:pt x="222" y="197"/>
                  </a:lnTo>
                  <a:lnTo>
                    <a:pt x="220" y="197"/>
                  </a:lnTo>
                  <a:lnTo>
                    <a:pt x="215" y="195"/>
                  </a:lnTo>
                  <a:lnTo>
                    <a:pt x="211" y="193"/>
                  </a:lnTo>
                  <a:lnTo>
                    <a:pt x="209" y="193"/>
                  </a:lnTo>
                  <a:lnTo>
                    <a:pt x="207" y="191"/>
                  </a:lnTo>
                  <a:lnTo>
                    <a:pt x="205" y="191"/>
                  </a:lnTo>
                  <a:lnTo>
                    <a:pt x="205" y="191"/>
                  </a:lnTo>
                  <a:lnTo>
                    <a:pt x="203" y="189"/>
                  </a:lnTo>
                  <a:lnTo>
                    <a:pt x="203" y="183"/>
                  </a:lnTo>
                  <a:lnTo>
                    <a:pt x="203" y="181"/>
                  </a:lnTo>
                  <a:lnTo>
                    <a:pt x="199" y="174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197" y="170"/>
                  </a:lnTo>
                  <a:lnTo>
                    <a:pt x="197" y="168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92" y="168"/>
                  </a:lnTo>
                  <a:lnTo>
                    <a:pt x="190" y="168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86" y="170"/>
                  </a:lnTo>
                  <a:lnTo>
                    <a:pt x="184" y="170"/>
                  </a:lnTo>
                  <a:lnTo>
                    <a:pt x="180" y="166"/>
                  </a:lnTo>
                  <a:lnTo>
                    <a:pt x="180" y="166"/>
                  </a:lnTo>
                  <a:lnTo>
                    <a:pt x="178" y="166"/>
                  </a:lnTo>
                  <a:lnTo>
                    <a:pt x="173" y="166"/>
                  </a:lnTo>
                  <a:lnTo>
                    <a:pt x="171" y="166"/>
                  </a:lnTo>
                  <a:lnTo>
                    <a:pt x="171" y="166"/>
                  </a:lnTo>
                  <a:lnTo>
                    <a:pt x="167" y="166"/>
                  </a:lnTo>
                  <a:lnTo>
                    <a:pt x="165" y="164"/>
                  </a:lnTo>
                  <a:lnTo>
                    <a:pt x="163" y="164"/>
                  </a:lnTo>
                  <a:lnTo>
                    <a:pt x="161" y="160"/>
                  </a:lnTo>
                  <a:lnTo>
                    <a:pt x="161" y="157"/>
                  </a:lnTo>
                  <a:lnTo>
                    <a:pt x="157" y="155"/>
                  </a:lnTo>
                  <a:lnTo>
                    <a:pt x="157" y="155"/>
                  </a:lnTo>
                  <a:lnTo>
                    <a:pt x="155" y="153"/>
                  </a:lnTo>
                  <a:lnTo>
                    <a:pt x="155" y="151"/>
                  </a:lnTo>
                  <a:lnTo>
                    <a:pt x="150" y="151"/>
                  </a:lnTo>
                  <a:lnTo>
                    <a:pt x="150" y="149"/>
                  </a:lnTo>
                  <a:lnTo>
                    <a:pt x="153" y="149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69" y="136"/>
                  </a:lnTo>
                  <a:lnTo>
                    <a:pt x="171" y="134"/>
                  </a:lnTo>
                  <a:lnTo>
                    <a:pt x="173" y="134"/>
                  </a:lnTo>
                  <a:lnTo>
                    <a:pt x="176" y="132"/>
                  </a:lnTo>
                  <a:lnTo>
                    <a:pt x="176" y="132"/>
                  </a:lnTo>
                  <a:lnTo>
                    <a:pt x="176" y="130"/>
                  </a:lnTo>
                  <a:lnTo>
                    <a:pt x="176" y="130"/>
                  </a:lnTo>
                  <a:lnTo>
                    <a:pt x="176" y="128"/>
                  </a:lnTo>
                  <a:lnTo>
                    <a:pt x="173" y="128"/>
                  </a:lnTo>
                  <a:lnTo>
                    <a:pt x="176" y="126"/>
                  </a:lnTo>
                  <a:lnTo>
                    <a:pt x="176" y="126"/>
                  </a:lnTo>
                  <a:lnTo>
                    <a:pt x="178" y="128"/>
                  </a:lnTo>
                  <a:lnTo>
                    <a:pt x="180" y="128"/>
                  </a:lnTo>
                  <a:lnTo>
                    <a:pt x="180" y="128"/>
                  </a:lnTo>
                  <a:lnTo>
                    <a:pt x="182" y="128"/>
                  </a:lnTo>
                  <a:lnTo>
                    <a:pt x="182" y="128"/>
                  </a:lnTo>
                  <a:lnTo>
                    <a:pt x="184" y="128"/>
                  </a:lnTo>
                  <a:lnTo>
                    <a:pt x="186" y="126"/>
                  </a:lnTo>
                  <a:lnTo>
                    <a:pt x="188" y="118"/>
                  </a:lnTo>
                  <a:lnTo>
                    <a:pt x="188" y="115"/>
                  </a:lnTo>
                  <a:lnTo>
                    <a:pt x="186" y="113"/>
                  </a:lnTo>
                  <a:lnTo>
                    <a:pt x="186" y="113"/>
                  </a:lnTo>
                  <a:lnTo>
                    <a:pt x="186" y="111"/>
                  </a:lnTo>
                  <a:lnTo>
                    <a:pt x="186" y="111"/>
                  </a:lnTo>
                  <a:lnTo>
                    <a:pt x="184" y="111"/>
                  </a:lnTo>
                  <a:lnTo>
                    <a:pt x="184" y="109"/>
                  </a:lnTo>
                  <a:lnTo>
                    <a:pt x="180" y="109"/>
                  </a:lnTo>
                  <a:lnTo>
                    <a:pt x="180" y="109"/>
                  </a:lnTo>
                  <a:lnTo>
                    <a:pt x="173" y="107"/>
                  </a:lnTo>
                  <a:lnTo>
                    <a:pt x="171" y="107"/>
                  </a:lnTo>
                  <a:lnTo>
                    <a:pt x="167" y="105"/>
                  </a:lnTo>
                  <a:lnTo>
                    <a:pt x="165" y="103"/>
                  </a:lnTo>
                  <a:lnTo>
                    <a:pt x="165" y="101"/>
                  </a:lnTo>
                  <a:lnTo>
                    <a:pt x="165" y="99"/>
                  </a:lnTo>
                  <a:lnTo>
                    <a:pt x="163" y="99"/>
                  </a:lnTo>
                  <a:lnTo>
                    <a:pt x="161" y="99"/>
                  </a:lnTo>
                  <a:lnTo>
                    <a:pt x="159" y="101"/>
                  </a:lnTo>
                  <a:lnTo>
                    <a:pt x="157" y="103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0" y="107"/>
                  </a:lnTo>
                  <a:lnTo>
                    <a:pt x="148" y="107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4" y="105"/>
                  </a:lnTo>
                  <a:lnTo>
                    <a:pt x="144" y="105"/>
                  </a:lnTo>
                  <a:lnTo>
                    <a:pt x="142" y="103"/>
                  </a:lnTo>
                  <a:lnTo>
                    <a:pt x="140" y="101"/>
                  </a:lnTo>
                  <a:lnTo>
                    <a:pt x="140" y="101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6" y="97"/>
                  </a:lnTo>
                  <a:lnTo>
                    <a:pt x="136" y="97"/>
                  </a:lnTo>
                  <a:lnTo>
                    <a:pt x="136" y="97"/>
                  </a:lnTo>
                  <a:lnTo>
                    <a:pt x="134" y="94"/>
                  </a:lnTo>
                  <a:lnTo>
                    <a:pt x="134" y="94"/>
                  </a:lnTo>
                  <a:lnTo>
                    <a:pt x="136" y="94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8" y="88"/>
                  </a:lnTo>
                  <a:lnTo>
                    <a:pt x="138" y="86"/>
                  </a:lnTo>
                  <a:lnTo>
                    <a:pt x="138" y="86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4" y="84"/>
                  </a:lnTo>
                  <a:lnTo>
                    <a:pt x="132" y="80"/>
                  </a:lnTo>
                  <a:lnTo>
                    <a:pt x="125" y="80"/>
                  </a:lnTo>
                  <a:lnTo>
                    <a:pt x="125" y="78"/>
                  </a:lnTo>
                  <a:lnTo>
                    <a:pt x="125" y="80"/>
                  </a:lnTo>
                  <a:lnTo>
                    <a:pt x="123" y="80"/>
                  </a:lnTo>
                  <a:lnTo>
                    <a:pt x="123" y="80"/>
                  </a:lnTo>
                  <a:lnTo>
                    <a:pt x="123" y="80"/>
                  </a:lnTo>
                  <a:lnTo>
                    <a:pt x="121" y="80"/>
                  </a:lnTo>
                  <a:lnTo>
                    <a:pt x="119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78"/>
                  </a:lnTo>
                  <a:lnTo>
                    <a:pt x="111" y="76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3" y="73"/>
                  </a:lnTo>
                  <a:lnTo>
                    <a:pt x="115" y="73"/>
                  </a:lnTo>
                  <a:lnTo>
                    <a:pt x="115" y="73"/>
                  </a:lnTo>
                  <a:lnTo>
                    <a:pt x="115" y="73"/>
                  </a:lnTo>
                  <a:lnTo>
                    <a:pt x="113" y="71"/>
                  </a:lnTo>
                  <a:lnTo>
                    <a:pt x="113" y="69"/>
                  </a:lnTo>
                  <a:lnTo>
                    <a:pt x="113" y="69"/>
                  </a:lnTo>
                  <a:lnTo>
                    <a:pt x="111" y="67"/>
                  </a:lnTo>
                  <a:lnTo>
                    <a:pt x="106" y="63"/>
                  </a:lnTo>
                  <a:lnTo>
                    <a:pt x="104" y="63"/>
                  </a:lnTo>
                  <a:lnTo>
                    <a:pt x="104" y="59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100" y="55"/>
                  </a:lnTo>
                  <a:lnTo>
                    <a:pt x="98" y="52"/>
                  </a:lnTo>
                  <a:lnTo>
                    <a:pt x="96" y="52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2" y="48"/>
                  </a:lnTo>
                  <a:lnTo>
                    <a:pt x="88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79" y="46"/>
                  </a:lnTo>
                  <a:lnTo>
                    <a:pt x="79" y="44"/>
                  </a:lnTo>
                  <a:lnTo>
                    <a:pt x="77" y="44"/>
                  </a:lnTo>
                  <a:lnTo>
                    <a:pt x="75" y="44"/>
                  </a:lnTo>
                  <a:lnTo>
                    <a:pt x="71" y="40"/>
                  </a:lnTo>
                  <a:lnTo>
                    <a:pt x="67" y="38"/>
                  </a:lnTo>
                  <a:lnTo>
                    <a:pt x="62" y="36"/>
                  </a:lnTo>
                  <a:lnTo>
                    <a:pt x="60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0" y="21"/>
                  </a:lnTo>
                  <a:lnTo>
                    <a:pt x="48" y="10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29" y="6"/>
                  </a:lnTo>
                  <a:lnTo>
                    <a:pt x="25" y="6"/>
                  </a:lnTo>
                  <a:lnTo>
                    <a:pt x="21" y="10"/>
                  </a:lnTo>
                  <a:lnTo>
                    <a:pt x="18" y="10"/>
                  </a:lnTo>
                  <a:lnTo>
                    <a:pt x="14" y="13"/>
                  </a:lnTo>
                  <a:lnTo>
                    <a:pt x="12" y="13"/>
                  </a:lnTo>
                  <a:lnTo>
                    <a:pt x="4" y="19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6" y="34"/>
                  </a:lnTo>
                  <a:lnTo>
                    <a:pt x="10" y="36"/>
                  </a:lnTo>
                  <a:lnTo>
                    <a:pt x="14" y="38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7" y="48"/>
                  </a:lnTo>
                  <a:lnTo>
                    <a:pt x="35" y="61"/>
                  </a:lnTo>
                  <a:lnTo>
                    <a:pt x="37" y="65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4" y="94"/>
                  </a:lnTo>
                  <a:lnTo>
                    <a:pt x="56" y="97"/>
                  </a:lnTo>
                  <a:lnTo>
                    <a:pt x="79" y="111"/>
                  </a:lnTo>
                  <a:lnTo>
                    <a:pt x="98" y="124"/>
                  </a:lnTo>
                  <a:lnTo>
                    <a:pt x="113" y="132"/>
                  </a:lnTo>
                  <a:lnTo>
                    <a:pt x="113" y="134"/>
                  </a:lnTo>
                  <a:lnTo>
                    <a:pt x="115" y="136"/>
                  </a:lnTo>
                  <a:lnTo>
                    <a:pt x="115" y="141"/>
                  </a:lnTo>
                  <a:lnTo>
                    <a:pt x="115" y="141"/>
                  </a:lnTo>
                  <a:lnTo>
                    <a:pt x="115" y="143"/>
                  </a:lnTo>
                  <a:lnTo>
                    <a:pt x="115" y="143"/>
                  </a:lnTo>
                  <a:lnTo>
                    <a:pt x="117" y="145"/>
                  </a:lnTo>
                  <a:lnTo>
                    <a:pt x="117" y="145"/>
                  </a:lnTo>
                  <a:lnTo>
                    <a:pt x="117" y="145"/>
                  </a:lnTo>
                  <a:lnTo>
                    <a:pt x="117" y="147"/>
                  </a:lnTo>
                  <a:lnTo>
                    <a:pt x="117" y="147"/>
                  </a:lnTo>
                  <a:lnTo>
                    <a:pt x="117" y="149"/>
                  </a:lnTo>
                  <a:lnTo>
                    <a:pt x="119" y="151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19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21" y="166"/>
                  </a:lnTo>
                  <a:lnTo>
                    <a:pt x="123" y="168"/>
                  </a:lnTo>
                  <a:lnTo>
                    <a:pt x="125" y="170"/>
                  </a:lnTo>
                  <a:lnTo>
                    <a:pt x="142" y="181"/>
                  </a:lnTo>
                  <a:lnTo>
                    <a:pt x="157" y="191"/>
                  </a:lnTo>
                  <a:lnTo>
                    <a:pt x="173" y="206"/>
                  </a:lnTo>
                  <a:lnTo>
                    <a:pt x="176" y="208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90" y="218"/>
                  </a:lnTo>
                  <a:lnTo>
                    <a:pt x="203" y="225"/>
                  </a:lnTo>
                  <a:lnTo>
                    <a:pt x="213" y="233"/>
                  </a:lnTo>
                  <a:lnTo>
                    <a:pt x="213" y="235"/>
                  </a:lnTo>
                  <a:lnTo>
                    <a:pt x="215" y="239"/>
                  </a:lnTo>
                  <a:lnTo>
                    <a:pt x="217" y="242"/>
                  </a:lnTo>
                  <a:lnTo>
                    <a:pt x="217" y="242"/>
                  </a:lnTo>
                  <a:lnTo>
                    <a:pt x="220" y="242"/>
                  </a:lnTo>
                  <a:lnTo>
                    <a:pt x="222" y="242"/>
                  </a:lnTo>
                  <a:lnTo>
                    <a:pt x="222" y="242"/>
                  </a:lnTo>
                  <a:lnTo>
                    <a:pt x="224" y="244"/>
                  </a:lnTo>
                  <a:lnTo>
                    <a:pt x="224" y="248"/>
                  </a:lnTo>
                  <a:lnTo>
                    <a:pt x="224" y="248"/>
                  </a:lnTo>
                  <a:lnTo>
                    <a:pt x="226" y="248"/>
                  </a:lnTo>
                  <a:lnTo>
                    <a:pt x="226" y="248"/>
                  </a:lnTo>
                  <a:lnTo>
                    <a:pt x="228" y="248"/>
                  </a:lnTo>
                  <a:lnTo>
                    <a:pt x="230" y="248"/>
                  </a:lnTo>
                  <a:lnTo>
                    <a:pt x="230" y="248"/>
                  </a:lnTo>
                  <a:lnTo>
                    <a:pt x="232" y="248"/>
                  </a:lnTo>
                  <a:lnTo>
                    <a:pt x="232" y="248"/>
                  </a:lnTo>
                  <a:lnTo>
                    <a:pt x="234" y="248"/>
                  </a:lnTo>
                  <a:lnTo>
                    <a:pt x="234" y="250"/>
                  </a:lnTo>
                  <a:lnTo>
                    <a:pt x="236" y="250"/>
                  </a:lnTo>
                  <a:lnTo>
                    <a:pt x="236" y="252"/>
                  </a:lnTo>
                  <a:lnTo>
                    <a:pt x="236" y="252"/>
                  </a:lnTo>
                  <a:lnTo>
                    <a:pt x="238" y="252"/>
                  </a:lnTo>
                  <a:lnTo>
                    <a:pt x="238" y="252"/>
                  </a:lnTo>
                  <a:lnTo>
                    <a:pt x="238" y="252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3" y="252"/>
                  </a:lnTo>
                  <a:lnTo>
                    <a:pt x="243" y="252"/>
                  </a:lnTo>
                  <a:lnTo>
                    <a:pt x="245" y="252"/>
                  </a:lnTo>
                  <a:lnTo>
                    <a:pt x="247" y="252"/>
                  </a:lnTo>
                  <a:lnTo>
                    <a:pt x="249" y="250"/>
                  </a:lnTo>
                  <a:lnTo>
                    <a:pt x="251" y="248"/>
                  </a:lnTo>
                  <a:lnTo>
                    <a:pt x="255" y="246"/>
                  </a:lnTo>
                  <a:lnTo>
                    <a:pt x="257" y="242"/>
                  </a:lnTo>
                  <a:lnTo>
                    <a:pt x="257" y="242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7" name="Freeform 122">
              <a:extLst>
                <a:ext uri="{FF2B5EF4-FFF2-40B4-BE49-F238E27FC236}">
                  <a16:creationId xmlns:a16="http://schemas.microsoft.com/office/drawing/2014/main" id="{E7B86C2A-C8DC-42CE-AF13-F9A5C73A5D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6653" y="1237471"/>
              <a:ext cx="354806" cy="197644"/>
            </a:xfrm>
            <a:custGeom>
              <a:avLst/>
              <a:gdLst>
                <a:gd name="T0" fmla="*/ 147 w 298"/>
                <a:gd name="T1" fmla="*/ 138 h 166"/>
                <a:gd name="T2" fmla="*/ 151 w 298"/>
                <a:gd name="T3" fmla="*/ 105 h 166"/>
                <a:gd name="T4" fmla="*/ 159 w 298"/>
                <a:gd name="T5" fmla="*/ 100 h 166"/>
                <a:gd name="T6" fmla="*/ 117 w 298"/>
                <a:gd name="T7" fmla="*/ 92 h 166"/>
                <a:gd name="T8" fmla="*/ 99 w 298"/>
                <a:gd name="T9" fmla="*/ 37 h 166"/>
                <a:gd name="T10" fmla="*/ 90 w 298"/>
                <a:gd name="T11" fmla="*/ 25 h 166"/>
                <a:gd name="T12" fmla="*/ 86 w 298"/>
                <a:gd name="T13" fmla="*/ 19 h 166"/>
                <a:gd name="T14" fmla="*/ 84 w 298"/>
                <a:gd name="T15" fmla="*/ 8 h 166"/>
                <a:gd name="T16" fmla="*/ 71 w 298"/>
                <a:gd name="T17" fmla="*/ 0 h 166"/>
                <a:gd name="T18" fmla="*/ 55 w 298"/>
                <a:gd name="T19" fmla="*/ 6 h 166"/>
                <a:gd name="T20" fmla="*/ 59 w 298"/>
                <a:gd name="T21" fmla="*/ 21 h 166"/>
                <a:gd name="T22" fmla="*/ 57 w 298"/>
                <a:gd name="T23" fmla="*/ 25 h 166"/>
                <a:gd name="T24" fmla="*/ 55 w 298"/>
                <a:gd name="T25" fmla="*/ 14 h 166"/>
                <a:gd name="T26" fmla="*/ 40 w 298"/>
                <a:gd name="T27" fmla="*/ 4 h 166"/>
                <a:gd name="T28" fmla="*/ 25 w 298"/>
                <a:gd name="T29" fmla="*/ 10 h 166"/>
                <a:gd name="T30" fmla="*/ 21 w 298"/>
                <a:gd name="T31" fmla="*/ 19 h 166"/>
                <a:gd name="T32" fmla="*/ 2 w 298"/>
                <a:gd name="T33" fmla="*/ 42 h 166"/>
                <a:gd name="T34" fmla="*/ 13 w 298"/>
                <a:gd name="T35" fmla="*/ 56 h 166"/>
                <a:gd name="T36" fmla="*/ 32 w 298"/>
                <a:gd name="T37" fmla="*/ 58 h 166"/>
                <a:gd name="T38" fmla="*/ 48 w 298"/>
                <a:gd name="T39" fmla="*/ 58 h 166"/>
                <a:gd name="T40" fmla="*/ 61 w 298"/>
                <a:gd name="T41" fmla="*/ 63 h 166"/>
                <a:gd name="T42" fmla="*/ 65 w 298"/>
                <a:gd name="T43" fmla="*/ 77 h 166"/>
                <a:gd name="T44" fmla="*/ 71 w 298"/>
                <a:gd name="T45" fmla="*/ 107 h 166"/>
                <a:gd name="T46" fmla="*/ 115 w 298"/>
                <a:gd name="T47" fmla="*/ 138 h 166"/>
                <a:gd name="T48" fmla="*/ 130 w 298"/>
                <a:gd name="T49" fmla="*/ 149 h 166"/>
                <a:gd name="T50" fmla="*/ 145 w 298"/>
                <a:gd name="T51" fmla="*/ 149 h 166"/>
                <a:gd name="T52" fmla="*/ 151 w 298"/>
                <a:gd name="T53" fmla="*/ 149 h 166"/>
                <a:gd name="T54" fmla="*/ 61 w 298"/>
                <a:gd name="T55" fmla="*/ 88 h 166"/>
                <a:gd name="T56" fmla="*/ 157 w 298"/>
                <a:gd name="T57" fmla="*/ 126 h 166"/>
                <a:gd name="T58" fmla="*/ 214 w 298"/>
                <a:gd name="T59" fmla="*/ 121 h 166"/>
                <a:gd name="T60" fmla="*/ 214 w 298"/>
                <a:gd name="T61" fmla="*/ 124 h 166"/>
                <a:gd name="T62" fmla="*/ 151 w 298"/>
                <a:gd name="T63" fmla="*/ 130 h 166"/>
                <a:gd name="T64" fmla="*/ 151 w 298"/>
                <a:gd name="T65" fmla="*/ 130 h 166"/>
                <a:gd name="T66" fmla="*/ 161 w 298"/>
                <a:gd name="T67" fmla="*/ 128 h 166"/>
                <a:gd name="T68" fmla="*/ 157 w 298"/>
                <a:gd name="T69" fmla="*/ 132 h 166"/>
                <a:gd name="T70" fmla="*/ 153 w 298"/>
                <a:gd name="T71" fmla="*/ 140 h 166"/>
                <a:gd name="T72" fmla="*/ 226 w 298"/>
                <a:gd name="T73" fmla="*/ 159 h 166"/>
                <a:gd name="T74" fmla="*/ 226 w 298"/>
                <a:gd name="T75" fmla="*/ 163 h 166"/>
                <a:gd name="T76" fmla="*/ 226 w 298"/>
                <a:gd name="T77" fmla="*/ 140 h 166"/>
                <a:gd name="T78" fmla="*/ 298 w 298"/>
                <a:gd name="T79" fmla="*/ 126 h 166"/>
                <a:gd name="T80" fmla="*/ 281 w 298"/>
                <a:gd name="T81" fmla="*/ 107 h 166"/>
                <a:gd name="T82" fmla="*/ 272 w 298"/>
                <a:gd name="T83" fmla="*/ 103 h 166"/>
                <a:gd name="T84" fmla="*/ 249 w 298"/>
                <a:gd name="T85" fmla="*/ 100 h 166"/>
                <a:gd name="T86" fmla="*/ 237 w 298"/>
                <a:gd name="T87" fmla="*/ 119 h 166"/>
                <a:gd name="T88" fmla="*/ 228 w 298"/>
                <a:gd name="T89" fmla="*/ 132 h 166"/>
                <a:gd name="T90" fmla="*/ 233 w 298"/>
                <a:gd name="T91" fmla="*/ 138 h 166"/>
                <a:gd name="T92" fmla="*/ 233 w 298"/>
                <a:gd name="T93" fmla="*/ 149 h 166"/>
                <a:gd name="T94" fmla="*/ 233 w 298"/>
                <a:gd name="T95" fmla="*/ 161 h 166"/>
                <a:gd name="T96" fmla="*/ 254 w 298"/>
                <a:gd name="T97" fmla="*/ 149 h 166"/>
                <a:gd name="T98" fmla="*/ 260 w 298"/>
                <a:gd name="T99" fmla="*/ 149 h 166"/>
                <a:gd name="T100" fmla="*/ 275 w 298"/>
                <a:gd name="T101" fmla="*/ 163 h 166"/>
                <a:gd name="T102" fmla="*/ 287 w 298"/>
                <a:gd name="T103" fmla="*/ 155 h 166"/>
                <a:gd name="T104" fmla="*/ 289 w 298"/>
                <a:gd name="T105" fmla="*/ 149 h 166"/>
                <a:gd name="T106" fmla="*/ 296 w 298"/>
                <a:gd name="T107" fmla="*/ 132 h 166"/>
                <a:gd name="T108" fmla="*/ 182 w 298"/>
                <a:gd name="T109" fmla="*/ 126 h 166"/>
                <a:gd name="T110" fmla="*/ 184 w 298"/>
                <a:gd name="T111" fmla="*/ 132 h 166"/>
                <a:gd name="T112" fmla="*/ 216 w 298"/>
                <a:gd name="T113" fmla="*/ 126 h 166"/>
                <a:gd name="T114" fmla="*/ 214 w 298"/>
                <a:gd name="T115" fmla="*/ 136 h 166"/>
                <a:gd name="T116" fmla="*/ 218 w 298"/>
                <a:gd name="T117" fmla="*/ 134 h 166"/>
                <a:gd name="T118" fmla="*/ 216 w 298"/>
                <a:gd name="T119" fmla="*/ 138 h 166"/>
                <a:gd name="T120" fmla="*/ 218 w 298"/>
                <a:gd name="T121" fmla="*/ 140 h 166"/>
                <a:gd name="T122" fmla="*/ 220 w 298"/>
                <a:gd name="T123" fmla="*/ 13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98" h="166">
                  <a:moveTo>
                    <a:pt x="151" y="147"/>
                  </a:moveTo>
                  <a:lnTo>
                    <a:pt x="151" y="145"/>
                  </a:lnTo>
                  <a:lnTo>
                    <a:pt x="151" y="142"/>
                  </a:lnTo>
                  <a:lnTo>
                    <a:pt x="151" y="142"/>
                  </a:lnTo>
                  <a:lnTo>
                    <a:pt x="149" y="140"/>
                  </a:lnTo>
                  <a:lnTo>
                    <a:pt x="149" y="140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7" y="138"/>
                  </a:lnTo>
                  <a:lnTo>
                    <a:pt x="145" y="138"/>
                  </a:lnTo>
                  <a:lnTo>
                    <a:pt x="145" y="138"/>
                  </a:lnTo>
                  <a:lnTo>
                    <a:pt x="143" y="138"/>
                  </a:lnTo>
                  <a:lnTo>
                    <a:pt x="138" y="136"/>
                  </a:lnTo>
                  <a:lnTo>
                    <a:pt x="138" y="134"/>
                  </a:lnTo>
                  <a:lnTo>
                    <a:pt x="138" y="130"/>
                  </a:lnTo>
                  <a:lnTo>
                    <a:pt x="145" y="113"/>
                  </a:lnTo>
                  <a:lnTo>
                    <a:pt x="149" y="107"/>
                  </a:lnTo>
                  <a:lnTo>
                    <a:pt x="151" y="105"/>
                  </a:lnTo>
                  <a:lnTo>
                    <a:pt x="153" y="105"/>
                  </a:lnTo>
                  <a:lnTo>
                    <a:pt x="153" y="105"/>
                  </a:lnTo>
                  <a:lnTo>
                    <a:pt x="157" y="103"/>
                  </a:lnTo>
                  <a:lnTo>
                    <a:pt x="157" y="103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59" y="100"/>
                  </a:lnTo>
                  <a:lnTo>
                    <a:pt x="159" y="100"/>
                  </a:lnTo>
                  <a:lnTo>
                    <a:pt x="155" y="100"/>
                  </a:lnTo>
                  <a:lnTo>
                    <a:pt x="153" y="100"/>
                  </a:lnTo>
                  <a:lnTo>
                    <a:pt x="147" y="98"/>
                  </a:lnTo>
                  <a:lnTo>
                    <a:pt x="134" y="96"/>
                  </a:lnTo>
                  <a:lnTo>
                    <a:pt x="124" y="92"/>
                  </a:lnTo>
                  <a:lnTo>
                    <a:pt x="122" y="92"/>
                  </a:lnTo>
                  <a:lnTo>
                    <a:pt x="122" y="92"/>
                  </a:lnTo>
                  <a:lnTo>
                    <a:pt x="120" y="92"/>
                  </a:lnTo>
                  <a:lnTo>
                    <a:pt x="117" y="92"/>
                  </a:lnTo>
                  <a:lnTo>
                    <a:pt x="115" y="92"/>
                  </a:lnTo>
                  <a:lnTo>
                    <a:pt x="111" y="88"/>
                  </a:lnTo>
                  <a:lnTo>
                    <a:pt x="109" y="84"/>
                  </a:lnTo>
                  <a:lnTo>
                    <a:pt x="107" y="82"/>
                  </a:lnTo>
                  <a:lnTo>
                    <a:pt x="101" y="65"/>
                  </a:lnTo>
                  <a:lnTo>
                    <a:pt x="97" y="48"/>
                  </a:lnTo>
                  <a:lnTo>
                    <a:pt x="97" y="44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5"/>
                  </a:lnTo>
                  <a:lnTo>
                    <a:pt x="92" y="31"/>
                  </a:lnTo>
                  <a:lnTo>
                    <a:pt x="92" y="29"/>
                  </a:lnTo>
                  <a:lnTo>
                    <a:pt x="94" y="29"/>
                  </a:lnTo>
                  <a:lnTo>
                    <a:pt x="94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8"/>
                  </a:lnTo>
                  <a:lnTo>
                    <a:pt x="84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6" y="4"/>
                  </a:lnTo>
                  <a:lnTo>
                    <a:pt x="76" y="2"/>
                  </a:lnTo>
                  <a:lnTo>
                    <a:pt x="73" y="2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9" y="0"/>
                  </a:lnTo>
                  <a:lnTo>
                    <a:pt x="65" y="2"/>
                  </a:lnTo>
                  <a:lnTo>
                    <a:pt x="63" y="4"/>
                  </a:lnTo>
                  <a:lnTo>
                    <a:pt x="55" y="2"/>
                  </a:lnTo>
                  <a:lnTo>
                    <a:pt x="53" y="4"/>
                  </a:lnTo>
                  <a:lnTo>
                    <a:pt x="55" y="4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10"/>
                  </a:lnTo>
                  <a:lnTo>
                    <a:pt x="57" y="12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1" y="25"/>
                  </a:lnTo>
                  <a:lnTo>
                    <a:pt x="63" y="27"/>
                  </a:lnTo>
                  <a:lnTo>
                    <a:pt x="63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7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0" y="23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53" y="16"/>
                  </a:lnTo>
                  <a:lnTo>
                    <a:pt x="55" y="14"/>
                  </a:lnTo>
                  <a:lnTo>
                    <a:pt x="50" y="14"/>
                  </a:lnTo>
                  <a:lnTo>
                    <a:pt x="48" y="12"/>
                  </a:lnTo>
                  <a:lnTo>
                    <a:pt x="46" y="12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6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27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21" y="21"/>
                  </a:lnTo>
                  <a:lnTo>
                    <a:pt x="25" y="23"/>
                  </a:lnTo>
                  <a:lnTo>
                    <a:pt x="25" y="27"/>
                  </a:lnTo>
                  <a:lnTo>
                    <a:pt x="23" y="31"/>
                  </a:lnTo>
                  <a:lnTo>
                    <a:pt x="15" y="35"/>
                  </a:lnTo>
                  <a:lnTo>
                    <a:pt x="4" y="40"/>
                  </a:lnTo>
                  <a:lnTo>
                    <a:pt x="2" y="42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52"/>
                  </a:lnTo>
                  <a:lnTo>
                    <a:pt x="0" y="54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6" y="54"/>
                  </a:lnTo>
                  <a:lnTo>
                    <a:pt x="9" y="54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5" y="58"/>
                  </a:lnTo>
                  <a:lnTo>
                    <a:pt x="15" y="61"/>
                  </a:lnTo>
                  <a:lnTo>
                    <a:pt x="17" y="61"/>
                  </a:lnTo>
                  <a:lnTo>
                    <a:pt x="21" y="58"/>
                  </a:lnTo>
                  <a:lnTo>
                    <a:pt x="27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2" y="58"/>
                  </a:lnTo>
                  <a:lnTo>
                    <a:pt x="34" y="56"/>
                  </a:lnTo>
                  <a:lnTo>
                    <a:pt x="38" y="54"/>
                  </a:lnTo>
                  <a:lnTo>
                    <a:pt x="40" y="54"/>
                  </a:lnTo>
                  <a:lnTo>
                    <a:pt x="42" y="54"/>
                  </a:lnTo>
                  <a:lnTo>
                    <a:pt x="44" y="56"/>
                  </a:lnTo>
                  <a:lnTo>
                    <a:pt x="44" y="58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3" y="63"/>
                  </a:lnTo>
                  <a:lnTo>
                    <a:pt x="63" y="67"/>
                  </a:lnTo>
                  <a:lnTo>
                    <a:pt x="63" y="69"/>
                  </a:lnTo>
                  <a:lnTo>
                    <a:pt x="63" y="71"/>
                  </a:lnTo>
                  <a:lnTo>
                    <a:pt x="63" y="73"/>
                  </a:lnTo>
                  <a:lnTo>
                    <a:pt x="65" y="73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9"/>
                  </a:lnTo>
                  <a:lnTo>
                    <a:pt x="65" y="84"/>
                  </a:lnTo>
                  <a:lnTo>
                    <a:pt x="69" y="88"/>
                  </a:lnTo>
                  <a:lnTo>
                    <a:pt x="71" y="88"/>
                  </a:lnTo>
                  <a:lnTo>
                    <a:pt x="76" y="90"/>
                  </a:lnTo>
                  <a:lnTo>
                    <a:pt x="76" y="94"/>
                  </a:lnTo>
                  <a:lnTo>
                    <a:pt x="76" y="98"/>
                  </a:lnTo>
                  <a:lnTo>
                    <a:pt x="73" y="103"/>
                  </a:lnTo>
                  <a:lnTo>
                    <a:pt x="71" y="107"/>
                  </a:lnTo>
                  <a:lnTo>
                    <a:pt x="73" y="111"/>
                  </a:lnTo>
                  <a:lnTo>
                    <a:pt x="73" y="115"/>
                  </a:lnTo>
                  <a:lnTo>
                    <a:pt x="80" y="126"/>
                  </a:lnTo>
                  <a:lnTo>
                    <a:pt x="82" y="126"/>
                  </a:lnTo>
                  <a:lnTo>
                    <a:pt x="88" y="126"/>
                  </a:lnTo>
                  <a:lnTo>
                    <a:pt x="90" y="126"/>
                  </a:lnTo>
                  <a:lnTo>
                    <a:pt x="109" y="134"/>
                  </a:lnTo>
                  <a:lnTo>
                    <a:pt x="115" y="138"/>
                  </a:lnTo>
                  <a:lnTo>
                    <a:pt x="115" y="138"/>
                  </a:lnTo>
                  <a:lnTo>
                    <a:pt x="122" y="138"/>
                  </a:lnTo>
                  <a:lnTo>
                    <a:pt x="124" y="138"/>
                  </a:lnTo>
                  <a:lnTo>
                    <a:pt x="124" y="140"/>
                  </a:lnTo>
                  <a:lnTo>
                    <a:pt x="126" y="142"/>
                  </a:lnTo>
                  <a:lnTo>
                    <a:pt x="126" y="142"/>
                  </a:lnTo>
                  <a:lnTo>
                    <a:pt x="128" y="145"/>
                  </a:lnTo>
                  <a:lnTo>
                    <a:pt x="128" y="145"/>
                  </a:lnTo>
                  <a:lnTo>
                    <a:pt x="130" y="147"/>
                  </a:lnTo>
                  <a:lnTo>
                    <a:pt x="130" y="149"/>
                  </a:lnTo>
                  <a:lnTo>
                    <a:pt x="130" y="151"/>
                  </a:lnTo>
                  <a:lnTo>
                    <a:pt x="132" y="151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34" y="151"/>
                  </a:lnTo>
                  <a:lnTo>
                    <a:pt x="136" y="149"/>
                  </a:lnTo>
                  <a:lnTo>
                    <a:pt x="138" y="149"/>
                  </a:lnTo>
                  <a:lnTo>
                    <a:pt x="143" y="149"/>
                  </a:lnTo>
                  <a:lnTo>
                    <a:pt x="145" y="149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7" y="149"/>
                  </a:lnTo>
                  <a:lnTo>
                    <a:pt x="147" y="151"/>
                  </a:lnTo>
                  <a:lnTo>
                    <a:pt x="147" y="151"/>
                  </a:lnTo>
                  <a:lnTo>
                    <a:pt x="149" y="151"/>
                  </a:lnTo>
                  <a:lnTo>
                    <a:pt x="149" y="151"/>
                  </a:lnTo>
                  <a:lnTo>
                    <a:pt x="151" y="149"/>
                  </a:lnTo>
                  <a:lnTo>
                    <a:pt x="151" y="149"/>
                  </a:lnTo>
                  <a:lnTo>
                    <a:pt x="151" y="149"/>
                  </a:lnTo>
                  <a:lnTo>
                    <a:pt x="153" y="149"/>
                  </a:lnTo>
                  <a:lnTo>
                    <a:pt x="153" y="149"/>
                  </a:lnTo>
                  <a:lnTo>
                    <a:pt x="151" y="147"/>
                  </a:lnTo>
                  <a:close/>
                  <a:moveTo>
                    <a:pt x="61" y="86"/>
                  </a:move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8"/>
                  </a:lnTo>
                  <a:lnTo>
                    <a:pt x="61" y="88"/>
                  </a:lnTo>
                  <a:lnTo>
                    <a:pt x="61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1" y="86"/>
                  </a:lnTo>
                  <a:close/>
                  <a:moveTo>
                    <a:pt x="155" y="126"/>
                  </a:moveTo>
                  <a:lnTo>
                    <a:pt x="155" y="128"/>
                  </a:lnTo>
                  <a:lnTo>
                    <a:pt x="157" y="128"/>
                  </a:lnTo>
                  <a:lnTo>
                    <a:pt x="157" y="126"/>
                  </a:lnTo>
                  <a:lnTo>
                    <a:pt x="155" y="126"/>
                  </a:lnTo>
                  <a:close/>
                  <a:moveTo>
                    <a:pt x="214" y="126"/>
                  </a:moveTo>
                  <a:lnTo>
                    <a:pt x="216" y="126"/>
                  </a:lnTo>
                  <a:lnTo>
                    <a:pt x="216" y="126"/>
                  </a:lnTo>
                  <a:lnTo>
                    <a:pt x="216" y="124"/>
                  </a:lnTo>
                  <a:lnTo>
                    <a:pt x="216" y="124"/>
                  </a:lnTo>
                  <a:lnTo>
                    <a:pt x="216" y="124"/>
                  </a:lnTo>
                  <a:lnTo>
                    <a:pt x="216" y="121"/>
                  </a:lnTo>
                  <a:lnTo>
                    <a:pt x="214" y="121"/>
                  </a:lnTo>
                  <a:lnTo>
                    <a:pt x="214" y="121"/>
                  </a:lnTo>
                  <a:lnTo>
                    <a:pt x="214" y="121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14" y="124"/>
                  </a:lnTo>
                  <a:lnTo>
                    <a:pt x="214" y="124"/>
                  </a:lnTo>
                  <a:lnTo>
                    <a:pt x="214" y="124"/>
                  </a:lnTo>
                  <a:lnTo>
                    <a:pt x="214" y="124"/>
                  </a:lnTo>
                  <a:lnTo>
                    <a:pt x="214" y="124"/>
                  </a:lnTo>
                  <a:lnTo>
                    <a:pt x="212" y="124"/>
                  </a:lnTo>
                  <a:lnTo>
                    <a:pt x="212" y="124"/>
                  </a:lnTo>
                  <a:lnTo>
                    <a:pt x="212" y="126"/>
                  </a:lnTo>
                  <a:lnTo>
                    <a:pt x="212" y="126"/>
                  </a:lnTo>
                  <a:lnTo>
                    <a:pt x="214" y="126"/>
                  </a:lnTo>
                  <a:close/>
                  <a:moveTo>
                    <a:pt x="151" y="130"/>
                  </a:moveTo>
                  <a:lnTo>
                    <a:pt x="151" y="130"/>
                  </a:lnTo>
                  <a:lnTo>
                    <a:pt x="151" y="130"/>
                  </a:lnTo>
                  <a:lnTo>
                    <a:pt x="149" y="130"/>
                  </a:lnTo>
                  <a:lnTo>
                    <a:pt x="149" y="132"/>
                  </a:lnTo>
                  <a:lnTo>
                    <a:pt x="151" y="132"/>
                  </a:lnTo>
                  <a:lnTo>
                    <a:pt x="151" y="132"/>
                  </a:lnTo>
                  <a:lnTo>
                    <a:pt x="151" y="132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1" y="130"/>
                  </a:lnTo>
                  <a:close/>
                  <a:moveTo>
                    <a:pt x="182" y="88"/>
                  </a:moveTo>
                  <a:lnTo>
                    <a:pt x="182" y="88"/>
                  </a:lnTo>
                  <a:lnTo>
                    <a:pt x="182" y="86"/>
                  </a:lnTo>
                  <a:lnTo>
                    <a:pt x="182" y="86"/>
                  </a:lnTo>
                  <a:lnTo>
                    <a:pt x="182" y="86"/>
                  </a:lnTo>
                  <a:lnTo>
                    <a:pt x="182" y="86"/>
                  </a:lnTo>
                  <a:lnTo>
                    <a:pt x="182" y="86"/>
                  </a:lnTo>
                  <a:lnTo>
                    <a:pt x="182" y="88"/>
                  </a:lnTo>
                  <a:close/>
                  <a:moveTo>
                    <a:pt x="161" y="128"/>
                  </a:moveTo>
                  <a:lnTo>
                    <a:pt x="161" y="128"/>
                  </a:lnTo>
                  <a:lnTo>
                    <a:pt x="161" y="128"/>
                  </a:lnTo>
                  <a:lnTo>
                    <a:pt x="159" y="128"/>
                  </a:lnTo>
                  <a:lnTo>
                    <a:pt x="161" y="128"/>
                  </a:lnTo>
                  <a:close/>
                  <a:moveTo>
                    <a:pt x="168" y="134"/>
                  </a:moveTo>
                  <a:lnTo>
                    <a:pt x="166" y="134"/>
                  </a:lnTo>
                  <a:lnTo>
                    <a:pt x="161" y="134"/>
                  </a:lnTo>
                  <a:lnTo>
                    <a:pt x="159" y="132"/>
                  </a:lnTo>
                  <a:lnTo>
                    <a:pt x="157" y="132"/>
                  </a:lnTo>
                  <a:lnTo>
                    <a:pt x="157" y="132"/>
                  </a:lnTo>
                  <a:lnTo>
                    <a:pt x="155" y="132"/>
                  </a:lnTo>
                  <a:lnTo>
                    <a:pt x="153" y="134"/>
                  </a:lnTo>
                  <a:lnTo>
                    <a:pt x="151" y="134"/>
                  </a:lnTo>
                  <a:lnTo>
                    <a:pt x="151" y="136"/>
                  </a:lnTo>
                  <a:lnTo>
                    <a:pt x="151" y="136"/>
                  </a:lnTo>
                  <a:lnTo>
                    <a:pt x="151" y="138"/>
                  </a:lnTo>
                  <a:lnTo>
                    <a:pt x="149" y="138"/>
                  </a:lnTo>
                  <a:lnTo>
                    <a:pt x="153" y="140"/>
                  </a:lnTo>
                  <a:lnTo>
                    <a:pt x="157" y="142"/>
                  </a:lnTo>
                  <a:lnTo>
                    <a:pt x="159" y="142"/>
                  </a:lnTo>
                  <a:lnTo>
                    <a:pt x="164" y="145"/>
                  </a:lnTo>
                  <a:lnTo>
                    <a:pt x="164" y="145"/>
                  </a:lnTo>
                  <a:lnTo>
                    <a:pt x="166" y="142"/>
                  </a:lnTo>
                  <a:lnTo>
                    <a:pt x="166" y="140"/>
                  </a:lnTo>
                  <a:lnTo>
                    <a:pt x="168" y="136"/>
                  </a:lnTo>
                  <a:lnTo>
                    <a:pt x="168" y="134"/>
                  </a:lnTo>
                  <a:close/>
                  <a:moveTo>
                    <a:pt x="226" y="159"/>
                  </a:moveTo>
                  <a:lnTo>
                    <a:pt x="226" y="159"/>
                  </a:lnTo>
                  <a:lnTo>
                    <a:pt x="224" y="159"/>
                  </a:lnTo>
                  <a:lnTo>
                    <a:pt x="224" y="161"/>
                  </a:lnTo>
                  <a:lnTo>
                    <a:pt x="224" y="163"/>
                  </a:lnTo>
                  <a:lnTo>
                    <a:pt x="224" y="166"/>
                  </a:lnTo>
                  <a:lnTo>
                    <a:pt x="226" y="166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61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6" y="159"/>
                  </a:lnTo>
                  <a:close/>
                  <a:moveTo>
                    <a:pt x="224" y="140"/>
                  </a:moveTo>
                  <a:lnTo>
                    <a:pt x="226" y="140"/>
                  </a:lnTo>
                  <a:lnTo>
                    <a:pt x="226" y="140"/>
                  </a:lnTo>
                  <a:lnTo>
                    <a:pt x="226" y="138"/>
                  </a:lnTo>
                  <a:lnTo>
                    <a:pt x="226" y="138"/>
                  </a:lnTo>
                  <a:lnTo>
                    <a:pt x="224" y="138"/>
                  </a:lnTo>
                  <a:lnTo>
                    <a:pt x="224" y="138"/>
                  </a:lnTo>
                  <a:lnTo>
                    <a:pt x="224" y="140"/>
                  </a:lnTo>
                  <a:lnTo>
                    <a:pt x="224" y="142"/>
                  </a:lnTo>
                  <a:lnTo>
                    <a:pt x="224" y="140"/>
                  </a:lnTo>
                  <a:close/>
                  <a:moveTo>
                    <a:pt x="298" y="126"/>
                  </a:moveTo>
                  <a:lnTo>
                    <a:pt x="296" y="121"/>
                  </a:lnTo>
                  <a:lnTo>
                    <a:pt x="296" y="119"/>
                  </a:lnTo>
                  <a:lnTo>
                    <a:pt x="289" y="111"/>
                  </a:lnTo>
                  <a:lnTo>
                    <a:pt x="287" y="111"/>
                  </a:lnTo>
                  <a:lnTo>
                    <a:pt x="285" y="111"/>
                  </a:lnTo>
                  <a:lnTo>
                    <a:pt x="285" y="111"/>
                  </a:lnTo>
                  <a:lnTo>
                    <a:pt x="285" y="109"/>
                  </a:lnTo>
                  <a:lnTo>
                    <a:pt x="283" y="107"/>
                  </a:lnTo>
                  <a:lnTo>
                    <a:pt x="281" y="107"/>
                  </a:lnTo>
                  <a:lnTo>
                    <a:pt x="281" y="107"/>
                  </a:lnTo>
                  <a:lnTo>
                    <a:pt x="281" y="105"/>
                  </a:lnTo>
                  <a:lnTo>
                    <a:pt x="279" y="105"/>
                  </a:lnTo>
                  <a:lnTo>
                    <a:pt x="277" y="103"/>
                  </a:lnTo>
                  <a:lnTo>
                    <a:pt x="275" y="105"/>
                  </a:lnTo>
                  <a:lnTo>
                    <a:pt x="275" y="105"/>
                  </a:lnTo>
                  <a:lnTo>
                    <a:pt x="275" y="109"/>
                  </a:lnTo>
                  <a:lnTo>
                    <a:pt x="272" y="109"/>
                  </a:lnTo>
                  <a:lnTo>
                    <a:pt x="272" y="103"/>
                  </a:lnTo>
                  <a:lnTo>
                    <a:pt x="270" y="103"/>
                  </a:lnTo>
                  <a:lnTo>
                    <a:pt x="268" y="100"/>
                  </a:lnTo>
                  <a:lnTo>
                    <a:pt x="264" y="100"/>
                  </a:lnTo>
                  <a:lnTo>
                    <a:pt x="262" y="100"/>
                  </a:lnTo>
                  <a:lnTo>
                    <a:pt x="260" y="100"/>
                  </a:lnTo>
                  <a:lnTo>
                    <a:pt x="256" y="98"/>
                  </a:lnTo>
                  <a:lnTo>
                    <a:pt x="254" y="96"/>
                  </a:lnTo>
                  <a:lnTo>
                    <a:pt x="254" y="98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7" y="100"/>
                  </a:lnTo>
                  <a:lnTo>
                    <a:pt x="245" y="100"/>
                  </a:lnTo>
                  <a:lnTo>
                    <a:pt x="243" y="100"/>
                  </a:lnTo>
                  <a:lnTo>
                    <a:pt x="239" y="100"/>
                  </a:lnTo>
                  <a:lnTo>
                    <a:pt x="237" y="103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37" y="119"/>
                  </a:lnTo>
                  <a:lnTo>
                    <a:pt x="235" y="119"/>
                  </a:lnTo>
                  <a:lnTo>
                    <a:pt x="233" y="121"/>
                  </a:lnTo>
                  <a:lnTo>
                    <a:pt x="233" y="121"/>
                  </a:lnTo>
                  <a:lnTo>
                    <a:pt x="233" y="124"/>
                  </a:lnTo>
                  <a:lnTo>
                    <a:pt x="233" y="128"/>
                  </a:lnTo>
                  <a:lnTo>
                    <a:pt x="233" y="130"/>
                  </a:lnTo>
                  <a:lnTo>
                    <a:pt x="231" y="130"/>
                  </a:lnTo>
                  <a:lnTo>
                    <a:pt x="231" y="130"/>
                  </a:lnTo>
                  <a:lnTo>
                    <a:pt x="228" y="132"/>
                  </a:lnTo>
                  <a:lnTo>
                    <a:pt x="228" y="132"/>
                  </a:lnTo>
                  <a:lnTo>
                    <a:pt x="228" y="134"/>
                  </a:lnTo>
                  <a:lnTo>
                    <a:pt x="228" y="134"/>
                  </a:lnTo>
                  <a:lnTo>
                    <a:pt x="228" y="134"/>
                  </a:lnTo>
                  <a:lnTo>
                    <a:pt x="231" y="134"/>
                  </a:lnTo>
                  <a:lnTo>
                    <a:pt x="233" y="134"/>
                  </a:lnTo>
                  <a:lnTo>
                    <a:pt x="233" y="134"/>
                  </a:lnTo>
                  <a:lnTo>
                    <a:pt x="233" y="136"/>
                  </a:lnTo>
                  <a:lnTo>
                    <a:pt x="233" y="138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1" y="142"/>
                  </a:lnTo>
                  <a:lnTo>
                    <a:pt x="231" y="142"/>
                  </a:lnTo>
                  <a:lnTo>
                    <a:pt x="231" y="145"/>
                  </a:lnTo>
                  <a:lnTo>
                    <a:pt x="233" y="145"/>
                  </a:lnTo>
                  <a:lnTo>
                    <a:pt x="233" y="147"/>
                  </a:lnTo>
                  <a:lnTo>
                    <a:pt x="233" y="147"/>
                  </a:lnTo>
                  <a:lnTo>
                    <a:pt x="233" y="149"/>
                  </a:lnTo>
                  <a:lnTo>
                    <a:pt x="233" y="149"/>
                  </a:lnTo>
                  <a:lnTo>
                    <a:pt x="235" y="151"/>
                  </a:lnTo>
                  <a:lnTo>
                    <a:pt x="235" y="153"/>
                  </a:lnTo>
                  <a:lnTo>
                    <a:pt x="237" y="153"/>
                  </a:lnTo>
                  <a:lnTo>
                    <a:pt x="237" y="153"/>
                  </a:lnTo>
                  <a:lnTo>
                    <a:pt x="237" y="153"/>
                  </a:lnTo>
                  <a:lnTo>
                    <a:pt x="237" y="153"/>
                  </a:lnTo>
                  <a:lnTo>
                    <a:pt x="233" y="157"/>
                  </a:lnTo>
                  <a:lnTo>
                    <a:pt x="233" y="161"/>
                  </a:lnTo>
                  <a:lnTo>
                    <a:pt x="233" y="163"/>
                  </a:lnTo>
                  <a:lnTo>
                    <a:pt x="235" y="163"/>
                  </a:lnTo>
                  <a:lnTo>
                    <a:pt x="239" y="163"/>
                  </a:lnTo>
                  <a:lnTo>
                    <a:pt x="241" y="159"/>
                  </a:lnTo>
                  <a:lnTo>
                    <a:pt x="247" y="159"/>
                  </a:lnTo>
                  <a:lnTo>
                    <a:pt x="254" y="157"/>
                  </a:lnTo>
                  <a:lnTo>
                    <a:pt x="256" y="155"/>
                  </a:lnTo>
                  <a:lnTo>
                    <a:pt x="256" y="151"/>
                  </a:lnTo>
                  <a:lnTo>
                    <a:pt x="254" y="149"/>
                  </a:lnTo>
                  <a:lnTo>
                    <a:pt x="254" y="149"/>
                  </a:lnTo>
                  <a:lnTo>
                    <a:pt x="256" y="147"/>
                  </a:lnTo>
                  <a:lnTo>
                    <a:pt x="258" y="147"/>
                  </a:lnTo>
                  <a:lnTo>
                    <a:pt x="258" y="147"/>
                  </a:lnTo>
                  <a:lnTo>
                    <a:pt x="258" y="147"/>
                  </a:lnTo>
                  <a:lnTo>
                    <a:pt x="260" y="147"/>
                  </a:lnTo>
                  <a:lnTo>
                    <a:pt x="260" y="149"/>
                  </a:lnTo>
                  <a:lnTo>
                    <a:pt x="260" y="149"/>
                  </a:lnTo>
                  <a:lnTo>
                    <a:pt x="260" y="149"/>
                  </a:lnTo>
                  <a:lnTo>
                    <a:pt x="260" y="149"/>
                  </a:lnTo>
                  <a:lnTo>
                    <a:pt x="264" y="155"/>
                  </a:lnTo>
                  <a:lnTo>
                    <a:pt x="266" y="155"/>
                  </a:lnTo>
                  <a:lnTo>
                    <a:pt x="268" y="157"/>
                  </a:lnTo>
                  <a:lnTo>
                    <a:pt x="268" y="161"/>
                  </a:lnTo>
                  <a:lnTo>
                    <a:pt x="268" y="163"/>
                  </a:lnTo>
                  <a:lnTo>
                    <a:pt x="270" y="163"/>
                  </a:lnTo>
                  <a:lnTo>
                    <a:pt x="270" y="163"/>
                  </a:lnTo>
                  <a:lnTo>
                    <a:pt x="275" y="163"/>
                  </a:lnTo>
                  <a:lnTo>
                    <a:pt x="277" y="163"/>
                  </a:lnTo>
                  <a:lnTo>
                    <a:pt x="277" y="163"/>
                  </a:lnTo>
                  <a:lnTo>
                    <a:pt x="277" y="159"/>
                  </a:lnTo>
                  <a:lnTo>
                    <a:pt x="277" y="157"/>
                  </a:lnTo>
                  <a:lnTo>
                    <a:pt x="279" y="157"/>
                  </a:lnTo>
                  <a:lnTo>
                    <a:pt x="281" y="157"/>
                  </a:lnTo>
                  <a:lnTo>
                    <a:pt x="283" y="157"/>
                  </a:lnTo>
                  <a:lnTo>
                    <a:pt x="285" y="155"/>
                  </a:lnTo>
                  <a:lnTo>
                    <a:pt x="287" y="155"/>
                  </a:lnTo>
                  <a:lnTo>
                    <a:pt x="289" y="155"/>
                  </a:lnTo>
                  <a:lnTo>
                    <a:pt x="289" y="153"/>
                  </a:lnTo>
                  <a:lnTo>
                    <a:pt x="287" y="153"/>
                  </a:lnTo>
                  <a:lnTo>
                    <a:pt x="287" y="151"/>
                  </a:lnTo>
                  <a:lnTo>
                    <a:pt x="287" y="151"/>
                  </a:lnTo>
                  <a:lnTo>
                    <a:pt x="289" y="149"/>
                  </a:lnTo>
                  <a:lnTo>
                    <a:pt x="289" y="149"/>
                  </a:lnTo>
                  <a:lnTo>
                    <a:pt x="289" y="149"/>
                  </a:lnTo>
                  <a:lnTo>
                    <a:pt x="289" y="149"/>
                  </a:lnTo>
                  <a:lnTo>
                    <a:pt x="289" y="147"/>
                  </a:lnTo>
                  <a:lnTo>
                    <a:pt x="289" y="145"/>
                  </a:lnTo>
                  <a:lnTo>
                    <a:pt x="289" y="145"/>
                  </a:lnTo>
                  <a:lnTo>
                    <a:pt x="289" y="142"/>
                  </a:lnTo>
                  <a:lnTo>
                    <a:pt x="289" y="142"/>
                  </a:lnTo>
                  <a:lnTo>
                    <a:pt x="291" y="140"/>
                  </a:lnTo>
                  <a:lnTo>
                    <a:pt x="293" y="134"/>
                  </a:lnTo>
                  <a:lnTo>
                    <a:pt x="296" y="132"/>
                  </a:lnTo>
                  <a:lnTo>
                    <a:pt x="296" y="132"/>
                  </a:lnTo>
                  <a:lnTo>
                    <a:pt x="296" y="130"/>
                  </a:lnTo>
                  <a:lnTo>
                    <a:pt x="298" y="130"/>
                  </a:lnTo>
                  <a:lnTo>
                    <a:pt x="298" y="128"/>
                  </a:lnTo>
                  <a:lnTo>
                    <a:pt x="298" y="126"/>
                  </a:lnTo>
                  <a:close/>
                  <a:moveTo>
                    <a:pt x="182" y="126"/>
                  </a:moveTo>
                  <a:lnTo>
                    <a:pt x="182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2" y="126"/>
                  </a:lnTo>
                  <a:lnTo>
                    <a:pt x="180" y="126"/>
                  </a:lnTo>
                  <a:lnTo>
                    <a:pt x="178" y="128"/>
                  </a:lnTo>
                  <a:lnTo>
                    <a:pt x="178" y="130"/>
                  </a:lnTo>
                  <a:lnTo>
                    <a:pt x="178" y="132"/>
                  </a:lnTo>
                  <a:lnTo>
                    <a:pt x="180" y="132"/>
                  </a:lnTo>
                  <a:lnTo>
                    <a:pt x="182" y="132"/>
                  </a:lnTo>
                  <a:lnTo>
                    <a:pt x="182" y="132"/>
                  </a:lnTo>
                  <a:lnTo>
                    <a:pt x="184" y="134"/>
                  </a:lnTo>
                  <a:lnTo>
                    <a:pt x="184" y="132"/>
                  </a:lnTo>
                  <a:lnTo>
                    <a:pt x="184" y="130"/>
                  </a:lnTo>
                  <a:lnTo>
                    <a:pt x="184" y="128"/>
                  </a:lnTo>
                  <a:lnTo>
                    <a:pt x="184" y="126"/>
                  </a:lnTo>
                  <a:lnTo>
                    <a:pt x="182" y="126"/>
                  </a:lnTo>
                  <a:close/>
                  <a:moveTo>
                    <a:pt x="222" y="126"/>
                  </a:moveTo>
                  <a:lnTo>
                    <a:pt x="222" y="126"/>
                  </a:lnTo>
                  <a:lnTo>
                    <a:pt x="222" y="126"/>
                  </a:lnTo>
                  <a:lnTo>
                    <a:pt x="220" y="126"/>
                  </a:lnTo>
                  <a:lnTo>
                    <a:pt x="216" y="126"/>
                  </a:lnTo>
                  <a:lnTo>
                    <a:pt x="214" y="128"/>
                  </a:lnTo>
                  <a:lnTo>
                    <a:pt x="214" y="130"/>
                  </a:lnTo>
                  <a:lnTo>
                    <a:pt x="212" y="130"/>
                  </a:lnTo>
                  <a:lnTo>
                    <a:pt x="210" y="130"/>
                  </a:lnTo>
                  <a:lnTo>
                    <a:pt x="210" y="130"/>
                  </a:lnTo>
                  <a:lnTo>
                    <a:pt x="208" y="130"/>
                  </a:lnTo>
                  <a:lnTo>
                    <a:pt x="212" y="132"/>
                  </a:lnTo>
                  <a:lnTo>
                    <a:pt x="214" y="136"/>
                  </a:lnTo>
                  <a:lnTo>
                    <a:pt x="214" y="136"/>
                  </a:lnTo>
                  <a:lnTo>
                    <a:pt x="216" y="134"/>
                  </a:lnTo>
                  <a:lnTo>
                    <a:pt x="220" y="134"/>
                  </a:lnTo>
                  <a:lnTo>
                    <a:pt x="222" y="132"/>
                  </a:lnTo>
                  <a:lnTo>
                    <a:pt x="222" y="130"/>
                  </a:lnTo>
                  <a:lnTo>
                    <a:pt x="224" y="128"/>
                  </a:lnTo>
                  <a:lnTo>
                    <a:pt x="222" y="128"/>
                  </a:lnTo>
                  <a:lnTo>
                    <a:pt x="222" y="126"/>
                  </a:lnTo>
                  <a:close/>
                  <a:moveTo>
                    <a:pt x="218" y="134"/>
                  </a:moveTo>
                  <a:lnTo>
                    <a:pt x="218" y="134"/>
                  </a:lnTo>
                  <a:lnTo>
                    <a:pt x="218" y="136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6" y="136"/>
                  </a:lnTo>
                  <a:lnTo>
                    <a:pt x="216" y="138"/>
                  </a:lnTo>
                  <a:lnTo>
                    <a:pt x="216" y="138"/>
                  </a:lnTo>
                  <a:lnTo>
                    <a:pt x="216" y="138"/>
                  </a:lnTo>
                  <a:lnTo>
                    <a:pt x="216" y="138"/>
                  </a:lnTo>
                  <a:lnTo>
                    <a:pt x="216" y="138"/>
                  </a:lnTo>
                  <a:lnTo>
                    <a:pt x="216" y="138"/>
                  </a:lnTo>
                  <a:lnTo>
                    <a:pt x="216" y="140"/>
                  </a:lnTo>
                  <a:lnTo>
                    <a:pt x="216" y="140"/>
                  </a:lnTo>
                  <a:lnTo>
                    <a:pt x="216" y="140"/>
                  </a:lnTo>
                  <a:lnTo>
                    <a:pt x="218" y="140"/>
                  </a:lnTo>
                  <a:lnTo>
                    <a:pt x="216" y="140"/>
                  </a:lnTo>
                  <a:lnTo>
                    <a:pt x="218" y="140"/>
                  </a:lnTo>
                  <a:lnTo>
                    <a:pt x="218" y="140"/>
                  </a:lnTo>
                  <a:lnTo>
                    <a:pt x="218" y="140"/>
                  </a:lnTo>
                  <a:lnTo>
                    <a:pt x="218" y="140"/>
                  </a:lnTo>
                  <a:lnTo>
                    <a:pt x="218" y="140"/>
                  </a:lnTo>
                  <a:lnTo>
                    <a:pt x="218" y="138"/>
                  </a:lnTo>
                  <a:lnTo>
                    <a:pt x="218" y="138"/>
                  </a:lnTo>
                  <a:lnTo>
                    <a:pt x="220" y="138"/>
                  </a:lnTo>
                  <a:lnTo>
                    <a:pt x="220" y="138"/>
                  </a:lnTo>
                  <a:lnTo>
                    <a:pt x="220" y="138"/>
                  </a:lnTo>
                  <a:lnTo>
                    <a:pt x="220" y="138"/>
                  </a:lnTo>
                  <a:lnTo>
                    <a:pt x="220" y="138"/>
                  </a:lnTo>
                  <a:lnTo>
                    <a:pt x="220" y="138"/>
                  </a:lnTo>
                  <a:lnTo>
                    <a:pt x="220" y="136"/>
                  </a:lnTo>
                  <a:lnTo>
                    <a:pt x="220" y="136"/>
                  </a:lnTo>
                  <a:lnTo>
                    <a:pt x="220" y="136"/>
                  </a:lnTo>
                  <a:lnTo>
                    <a:pt x="220" y="134"/>
                  </a:lnTo>
                  <a:lnTo>
                    <a:pt x="218" y="134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  <p:sp>
          <p:nvSpPr>
            <p:cNvPr id="148" name="Freeform 124">
              <a:extLst>
                <a:ext uri="{FF2B5EF4-FFF2-40B4-BE49-F238E27FC236}">
                  <a16:creationId xmlns:a16="http://schemas.microsoft.com/office/drawing/2014/main" id="{107BA112-A5E9-4A47-A08E-F76D6F3B27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99606" y="408796"/>
              <a:ext cx="366713" cy="435769"/>
            </a:xfrm>
            <a:custGeom>
              <a:avLst/>
              <a:gdLst>
                <a:gd name="T0" fmla="*/ 157 w 308"/>
                <a:gd name="T1" fmla="*/ 357 h 366"/>
                <a:gd name="T2" fmla="*/ 130 w 308"/>
                <a:gd name="T3" fmla="*/ 322 h 366"/>
                <a:gd name="T4" fmla="*/ 117 w 308"/>
                <a:gd name="T5" fmla="*/ 311 h 366"/>
                <a:gd name="T6" fmla="*/ 105 w 308"/>
                <a:gd name="T7" fmla="*/ 305 h 366"/>
                <a:gd name="T8" fmla="*/ 86 w 308"/>
                <a:gd name="T9" fmla="*/ 288 h 366"/>
                <a:gd name="T10" fmla="*/ 73 w 308"/>
                <a:gd name="T11" fmla="*/ 280 h 366"/>
                <a:gd name="T12" fmla="*/ 71 w 308"/>
                <a:gd name="T13" fmla="*/ 288 h 366"/>
                <a:gd name="T14" fmla="*/ 69 w 308"/>
                <a:gd name="T15" fmla="*/ 296 h 366"/>
                <a:gd name="T16" fmla="*/ 82 w 308"/>
                <a:gd name="T17" fmla="*/ 309 h 366"/>
                <a:gd name="T18" fmla="*/ 90 w 308"/>
                <a:gd name="T19" fmla="*/ 309 h 366"/>
                <a:gd name="T20" fmla="*/ 124 w 308"/>
                <a:gd name="T21" fmla="*/ 330 h 366"/>
                <a:gd name="T22" fmla="*/ 136 w 308"/>
                <a:gd name="T23" fmla="*/ 334 h 366"/>
                <a:gd name="T24" fmla="*/ 10 w 308"/>
                <a:gd name="T25" fmla="*/ 28 h 366"/>
                <a:gd name="T26" fmla="*/ 13 w 308"/>
                <a:gd name="T27" fmla="*/ 21 h 366"/>
                <a:gd name="T28" fmla="*/ 0 w 308"/>
                <a:gd name="T29" fmla="*/ 15 h 366"/>
                <a:gd name="T30" fmla="*/ 4 w 308"/>
                <a:gd name="T31" fmla="*/ 19 h 366"/>
                <a:gd name="T32" fmla="*/ 23 w 308"/>
                <a:gd name="T33" fmla="*/ 4 h 366"/>
                <a:gd name="T34" fmla="*/ 33 w 308"/>
                <a:gd name="T35" fmla="*/ 9 h 366"/>
                <a:gd name="T36" fmla="*/ 25 w 308"/>
                <a:gd name="T37" fmla="*/ 4 h 366"/>
                <a:gd name="T38" fmla="*/ 308 w 308"/>
                <a:gd name="T39" fmla="*/ 139 h 366"/>
                <a:gd name="T40" fmla="*/ 295 w 308"/>
                <a:gd name="T41" fmla="*/ 128 h 366"/>
                <a:gd name="T42" fmla="*/ 285 w 308"/>
                <a:gd name="T43" fmla="*/ 128 h 366"/>
                <a:gd name="T44" fmla="*/ 279 w 308"/>
                <a:gd name="T45" fmla="*/ 103 h 366"/>
                <a:gd name="T46" fmla="*/ 205 w 308"/>
                <a:gd name="T47" fmla="*/ 70 h 366"/>
                <a:gd name="T48" fmla="*/ 172 w 308"/>
                <a:gd name="T49" fmla="*/ 59 h 366"/>
                <a:gd name="T50" fmla="*/ 132 w 308"/>
                <a:gd name="T51" fmla="*/ 65 h 366"/>
                <a:gd name="T52" fmla="*/ 84 w 308"/>
                <a:gd name="T53" fmla="*/ 36 h 366"/>
                <a:gd name="T54" fmla="*/ 46 w 308"/>
                <a:gd name="T55" fmla="*/ 28 h 366"/>
                <a:gd name="T56" fmla="*/ 27 w 308"/>
                <a:gd name="T57" fmla="*/ 30 h 366"/>
                <a:gd name="T58" fmla="*/ 21 w 308"/>
                <a:gd name="T59" fmla="*/ 38 h 366"/>
                <a:gd name="T60" fmla="*/ 19 w 308"/>
                <a:gd name="T61" fmla="*/ 57 h 366"/>
                <a:gd name="T62" fmla="*/ 27 w 308"/>
                <a:gd name="T63" fmla="*/ 70 h 366"/>
                <a:gd name="T64" fmla="*/ 38 w 308"/>
                <a:gd name="T65" fmla="*/ 93 h 366"/>
                <a:gd name="T66" fmla="*/ 46 w 308"/>
                <a:gd name="T67" fmla="*/ 107 h 366"/>
                <a:gd name="T68" fmla="*/ 52 w 308"/>
                <a:gd name="T69" fmla="*/ 120 h 366"/>
                <a:gd name="T70" fmla="*/ 96 w 308"/>
                <a:gd name="T71" fmla="*/ 160 h 366"/>
                <a:gd name="T72" fmla="*/ 111 w 308"/>
                <a:gd name="T73" fmla="*/ 168 h 366"/>
                <a:gd name="T74" fmla="*/ 168 w 308"/>
                <a:gd name="T75" fmla="*/ 204 h 366"/>
                <a:gd name="T76" fmla="*/ 180 w 308"/>
                <a:gd name="T77" fmla="*/ 217 h 366"/>
                <a:gd name="T78" fmla="*/ 218 w 308"/>
                <a:gd name="T79" fmla="*/ 267 h 366"/>
                <a:gd name="T80" fmla="*/ 245 w 308"/>
                <a:gd name="T81" fmla="*/ 288 h 366"/>
                <a:gd name="T82" fmla="*/ 262 w 308"/>
                <a:gd name="T83" fmla="*/ 341 h 366"/>
                <a:gd name="T84" fmla="*/ 291 w 308"/>
                <a:gd name="T85" fmla="*/ 349 h 366"/>
                <a:gd name="T86" fmla="*/ 289 w 308"/>
                <a:gd name="T87" fmla="*/ 326 h 366"/>
                <a:gd name="T88" fmla="*/ 289 w 308"/>
                <a:gd name="T89" fmla="*/ 305 h 366"/>
                <a:gd name="T90" fmla="*/ 285 w 308"/>
                <a:gd name="T91" fmla="*/ 290 h 366"/>
                <a:gd name="T92" fmla="*/ 274 w 308"/>
                <a:gd name="T93" fmla="*/ 275 h 366"/>
                <a:gd name="T94" fmla="*/ 276 w 308"/>
                <a:gd name="T95" fmla="*/ 261 h 366"/>
                <a:gd name="T96" fmla="*/ 279 w 308"/>
                <a:gd name="T97" fmla="*/ 246 h 366"/>
                <a:gd name="T98" fmla="*/ 274 w 308"/>
                <a:gd name="T99" fmla="*/ 229 h 366"/>
                <a:gd name="T100" fmla="*/ 266 w 308"/>
                <a:gd name="T101" fmla="*/ 219 h 366"/>
                <a:gd name="T102" fmla="*/ 272 w 308"/>
                <a:gd name="T103" fmla="*/ 193 h 366"/>
                <a:gd name="T104" fmla="*/ 281 w 308"/>
                <a:gd name="T105" fmla="*/ 183 h 366"/>
                <a:gd name="T106" fmla="*/ 289 w 308"/>
                <a:gd name="T107" fmla="*/ 160 h 366"/>
                <a:gd name="T108" fmla="*/ 300 w 308"/>
                <a:gd name="T109" fmla="*/ 151 h 366"/>
                <a:gd name="T110" fmla="*/ 151 w 308"/>
                <a:gd name="T111" fmla="*/ 349 h 366"/>
                <a:gd name="T112" fmla="*/ 214 w 308"/>
                <a:gd name="T113" fmla="*/ 345 h 366"/>
                <a:gd name="T114" fmla="*/ 199 w 308"/>
                <a:gd name="T115" fmla="*/ 347 h 366"/>
                <a:gd name="T116" fmla="*/ 218 w 308"/>
                <a:gd name="T117" fmla="*/ 364 h 366"/>
                <a:gd name="T118" fmla="*/ 197 w 308"/>
                <a:gd name="T119" fmla="*/ 357 h 366"/>
                <a:gd name="T120" fmla="*/ 201 w 308"/>
                <a:gd name="T121" fmla="*/ 362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08" h="366">
                  <a:moveTo>
                    <a:pt x="155" y="355"/>
                  </a:moveTo>
                  <a:lnTo>
                    <a:pt x="155" y="355"/>
                  </a:lnTo>
                  <a:lnTo>
                    <a:pt x="153" y="355"/>
                  </a:lnTo>
                  <a:lnTo>
                    <a:pt x="151" y="355"/>
                  </a:lnTo>
                  <a:lnTo>
                    <a:pt x="151" y="357"/>
                  </a:lnTo>
                  <a:lnTo>
                    <a:pt x="151" y="357"/>
                  </a:lnTo>
                  <a:lnTo>
                    <a:pt x="151" y="359"/>
                  </a:lnTo>
                  <a:lnTo>
                    <a:pt x="153" y="362"/>
                  </a:lnTo>
                  <a:lnTo>
                    <a:pt x="155" y="362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7"/>
                  </a:lnTo>
                  <a:lnTo>
                    <a:pt x="155" y="355"/>
                  </a:lnTo>
                  <a:close/>
                  <a:moveTo>
                    <a:pt x="138" y="328"/>
                  </a:moveTo>
                  <a:lnTo>
                    <a:pt x="138" y="326"/>
                  </a:lnTo>
                  <a:lnTo>
                    <a:pt x="136" y="322"/>
                  </a:lnTo>
                  <a:lnTo>
                    <a:pt x="134" y="320"/>
                  </a:lnTo>
                  <a:lnTo>
                    <a:pt x="132" y="320"/>
                  </a:lnTo>
                  <a:lnTo>
                    <a:pt x="132" y="320"/>
                  </a:lnTo>
                  <a:lnTo>
                    <a:pt x="132" y="317"/>
                  </a:lnTo>
                  <a:lnTo>
                    <a:pt x="132" y="322"/>
                  </a:lnTo>
                  <a:lnTo>
                    <a:pt x="130" y="322"/>
                  </a:lnTo>
                  <a:lnTo>
                    <a:pt x="130" y="324"/>
                  </a:lnTo>
                  <a:lnTo>
                    <a:pt x="130" y="324"/>
                  </a:lnTo>
                  <a:lnTo>
                    <a:pt x="128" y="322"/>
                  </a:lnTo>
                  <a:lnTo>
                    <a:pt x="128" y="320"/>
                  </a:lnTo>
                  <a:lnTo>
                    <a:pt x="128" y="320"/>
                  </a:lnTo>
                  <a:lnTo>
                    <a:pt x="126" y="315"/>
                  </a:lnTo>
                  <a:lnTo>
                    <a:pt x="124" y="315"/>
                  </a:lnTo>
                  <a:lnTo>
                    <a:pt x="121" y="313"/>
                  </a:lnTo>
                  <a:lnTo>
                    <a:pt x="121" y="313"/>
                  </a:lnTo>
                  <a:lnTo>
                    <a:pt x="117" y="311"/>
                  </a:lnTo>
                  <a:lnTo>
                    <a:pt x="117" y="311"/>
                  </a:lnTo>
                  <a:lnTo>
                    <a:pt x="109" y="303"/>
                  </a:lnTo>
                  <a:lnTo>
                    <a:pt x="107" y="303"/>
                  </a:lnTo>
                  <a:lnTo>
                    <a:pt x="107" y="305"/>
                  </a:lnTo>
                  <a:lnTo>
                    <a:pt x="109" y="305"/>
                  </a:lnTo>
                  <a:lnTo>
                    <a:pt x="109" y="307"/>
                  </a:lnTo>
                  <a:lnTo>
                    <a:pt x="109" y="307"/>
                  </a:lnTo>
                  <a:lnTo>
                    <a:pt x="109" y="307"/>
                  </a:lnTo>
                  <a:lnTo>
                    <a:pt x="107" y="307"/>
                  </a:lnTo>
                  <a:lnTo>
                    <a:pt x="107" y="305"/>
                  </a:lnTo>
                  <a:lnTo>
                    <a:pt x="105" y="305"/>
                  </a:lnTo>
                  <a:lnTo>
                    <a:pt x="105" y="305"/>
                  </a:lnTo>
                  <a:lnTo>
                    <a:pt x="103" y="307"/>
                  </a:lnTo>
                  <a:lnTo>
                    <a:pt x="103" y="305"/>
                  </a:lnTo>
                  <a:lnTo>
                    <a:pt x="107" y="301"/>
                  </a:lnTo>
                  <a:lnTo>
                    <a:pt x="105" y="299"/>
                  </a:lnTo>
                  <a:lnTo>
                    <a:pt x="103" y="296"/>
                  </a:lnTo>
                  <a:lnTo>
                    <a:pt x="103" y="296"/>
                  </a:lnTo>
                  <a:lnTo>
                    <a:pt x="96" y="294"/>
                  </a:lnTo>
                  <a:lnTo>
                    <a:pt x="94" y="294"/>
                  </a:lnTo>
                  <a:lnTo>
                    <a:pt x="92" y="292"/>
                  </a:lnTo>
                  <a:lnTo>
                    <a:pt x="90" y="290"/>
                  </a:lnTo>
                  <a:lnTo>
                    <a:pt x="86" y="288"/>
                  </a:lnTo>
                  <a:lnTo>
                    <a:pt x="86" y="286"/>
                  </a:lnTo>
                  <a:lnTo>
                    <a:pt x="82" y="288"/>
                  </a:lnTo>
                  <a:lnTo>
                    <a:pt x="82" y="284"/>
                  </a:lnTo>
                  <a:lnTo>
                    <a:pt x="84" y="284"/>
                  </a:lnTo>
                  <a:lnTo>
                    <a:pt x="86" y="286"/>
                  </a:lnTo>
                  <a:lnTo>
                    <a:pt x="86" y="282"/>
                  </a:lnTo>
                  <a:lnTo>
                    <a:pt x="82" y="282"/>
                  </a:lnTo>
                  <a:lnTo>
                    <a:pt x="75" y="282"/>
                  </a:lnTo>
                  <a:lnTo>
                    <a:pt x="75" y="280"/>
                  </a:lnTo>
                  <a:lnTo>
                    <a:pt x="75" y="280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1" y="282"/>
                  </a:lnTo>
                  <a:lnTo>
                    <a:pt x="71" y="284"/>
                  </a:lnTo>
                  <a:lnTo>
                    <a:pt x="71" y="286"/>
                  </a:lnTo>
                  <a:lnTo>
                    <a:pt x="71" y="286"/>
                  </a:lnTo>
                  <a:lnTo>
                    <a:pt x="71" y="286"/>
                  </a:lnTo>
                  <a:lnTo>
                    <a:pt x="73" y="286"/>
                  </a:lnTo>
                  <a:lnTo>
                    <a:pt x="73" y="288"/>
                  </a:lnTo>
                  <a:lnTo>
                    <a:pt x="73" y="288"/>
                  </a:lnTo>
                  <a:lnTo>
                    <a:pt x="71" y="288"/>
                  </a:lnTo>
                  <a:lnTo>
                    <a:pt x="67" y="288"/>
                  </a:lnTo>
                  <a:lnTo>
                    <a:pt x="65" y="290"/>
                  </a:lnTo>
                  <a:lnTo>
                    <a:pt x="65" y="290"/>
                  </a:lnTo>
                  <a:lnTo>
                    <a:pt x="65" y="292"/>
                  </a:lnTo>
                  <a:lnTo>
                    <a:pt x="65" y="294"/>
                  </a:lnTo>
                  <a:lnTo>
                    <a:pt x="67" y="294"/>
                  </a:lnTo>
                  <a:lnTo>
                    <a:pt x="67" y="294"/>
                  </a:lnTo>
                  <a:lnTo>
                    <a:pt x="69" y="294"/>
                  </a:lnTo>
                  <a:lnTo>
                    <a:pt x="69" y="294"/>
                  </a:lnTo>
                  <a:lnTo>
                    <a:pt x="69" y="296"/>
                  </a:lnTo>
                  <a:lnTo>
                    <a:pt x="69" y="296"/>
                  </a:lnTo>
                  <a:lnTo>
                    <a:pt x="71" y="299"/>
                  </a:lnTo>
                  <a:lnTo>
                    <a:pt x="71" y="299"/>
                  </a:lnTo>
                  <a:lnTo>
                    <a:pt x="73" y="301"/>
                  </a:lnTo>
                  <a:lnTo>
                    <a:pt x="73" y="303"/>
                  </a:lnTo>
                  <a:lnTo>
                    <a:pt x="73" y="305"/>
                  </a:lnTo>
                  <a:lnTo>
                    <a:pt x="73" y="305"/>
                  </a:lnTo>
                  <a:lnTo>
                    <a:pt x="73" y="307"/>
                  </a:lnTo>
                  <a:lnTo>
                    <a:pt x="80" y="307"/>
                  </a:lnTo>
                  <a:lnTo>
                    <a:pt x="82" y="307"/>
                  </a:lnTo>
                  <a:lnTo>
                    <a:pt x="82" y="307"/>
                  </a:lnTo>
                  <a:lnTo>
                    <a:pt x="82" y="309"/>
                  </a:lnTo>
                  <a:lnTo>
                    <a:pt x="82" y="309"/>
                  </a:lnTo>
                  <a:lnTo>
                    <a:pt x="84" y="309"/>
                  </a:lnTo>
                  <a:lnTo>
                    <a:pt x="86" y="311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88" y="311"/>
                  </a:lnTo>
                  <a:lnTo>
                    <a:pt x="90" y="311"/>
                  </a:lnTo>
                  <a:lnTo>
                    <a:pt x="90" y="311"/>
                  </a:lnTo>
                  <a:lnTo>
                    <a:pt x="90" y="311"/>
                  </a:lnTo>
                  <a:lnTo>
                    <a:pt x="90" y="309"/>
                  </a:lnTo>
                  <a:lnTo>
                    <a:pt x="90" y="309"/>
                  </a:lnTo>
                  <a:lnTo>
                    <a:pt x="92" y="311"/>
                  </a:lnTo>
                  <a:lnTo>
                    <a:pt x="92" y="311"/>
                  </a:lnTo>
                  <a:lnTo>
                    <a:pt x="94" y="311"/>
                  </a:lnTo>
                  <a:lnTo>
                    <a:pt x="96" y="311"/>
                  </a:lnTo>
                  <a:lnTo>
                    <a:pt x="98" y="311"/>
                  </a:lnTo>
                  <a:lnTo>
                    <a:pt x="101" y="313"/>
                  </a:lnTo>
                  <a:lnTo>
                    <a:pt x="115" y="326"/>
                  </a:lnTo>
                  <a:lnTo>
                    <a:pt x="119" y="326"/>
                  </a:lnTo>
                  <a:lnTo>
                    <a:pt x="121" y="330"/>
                  </a:lnTo>
                  <a:lnTo>
                    <a:pt x="124" y="330"/>
                  </a:lnTo>
                  <a:lnTo>
                    <a:pt x="124" y="330"/>
                  </a:lnTo>
                  <a:lnTo>
                    <a:pt x="124" y="332"/>
                  </a:lnTo>
                  <a:lnTo>
                    <a:pt x="124" y="332"/>
                  </a:lnTo>
                  <a:lnTo>
                    <a:pt x="124" y="334"/>
                  </a:lnTo>
                  <a:lnTo>
                    <a:pt x="126" y="334"/>
                  </a:lnTo>
                  <a:lnTo>
                    <a:pt x="126" y="334"/>
                  </a:lnTo>
                  <a:lnTo>
                    <a:pt x="128" y="332"/>
                  </a:lnTo>
                  <a:lnTo>
                    <a:pt x="132" y="334"/>
                  </a:lnTo>
                  <a:lnTo>
                    <a:pt x="134" y="336"/>
                  </a:lnTo>
                  <a:lnTo>
                    <a:pt x="134" y="334"/>
                  </a:lnTo>
                  <a:lnTo>
                    <a:pt x="138" y="334"/>
                  </a:lnTo>
                  <a:lnTo>
                    <a:pt x="136" y="334"/>
                  </a:lnTo>
                  <a:lnTo>
                    <a:pt x="138" y="334"/>
                  </a:lnTo>
                  <a:lnTo>
                    <a:pt x="138" y="332"/>
                  </a:lnTo>
                  <a:lnTo>
                    <a:pt x="138" y="330"/>
                  </a:lnTo>
                  <a:lnTo>
                    <a:pt x="138" y="328"/>
                  </a:lnTo>
                  <a:close/>
                  <a:moveTo>
                    <a:pt x="15" y="23"/>
                  </a:moveTo>
                  <a:lnTo>
                    <a:pt x="13" y="23"/>
                  </a:lnTo>
                  <a:lnTo>
                    <a:pt x="13" y="23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5" y="30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5"/>
                  </a:lnTo>
                  <a:lnTo>
                    <a:pt x="15" y="23"/>
                  </a:lnTo>
                  <a:close/>
                  <a:moveTo>
                    <a:pt x="13" y="21"/>
                  </a:moveTo>
                  <a:lnTo>
                    <a:pt x="13" y="19"/>
                  </a:lnTo>
                  <a:lnTo>
                    <a:pt x="10" y="19"/>
                  </a:lnTo>
                  <a:lnTo>
                    <a:pt x="10" y="17"/>
                  </a:lnTo>
                  <a:lnTo>
                    <a:pt x="10" y="19"/>
                  </a:lnTo>
                  <a:lnTo>
                    <a:pt x="8" y="17"/>
                  </a:lnTo>
                  <a:lnTo>
                    <a:pt x="6" y="15"/>
                  </a:lnTo>
                  <a:lnTo>
                    <a:pt x="4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4" y="15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3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3" y="21"/>
                  </a:lnTo>
                  <a:close/>
                  <a:moveTo>
                    <a:pt x="21" y="2"/>
                  </a:moveTo>
                  <a:lnTo>
                    <a:pt x="23" y="4"/>
                  </a:lnTo>
                  <a:lnTo>
                    <a:pt x="23" y="6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3" y="11"/>
                  </a:lnTo>
                  <a:lnTo>
                    <a:pt x="33" y="6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6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9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5" y="4"/>
                  </a:lnTo>
                  <a:lnTo>
                    <a:pt x="25" y="2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1" y="2"/>
                  </a:lnTo>
                  <a:lnTo>
                    <a:pt x="21" y="2"/>
                  </a:lnTo>
                  <a:close/>
                  <a:moveTo>
                    <a:pt x="308" y="141"/>
                  </a:moveTo>
                  <a:lnTo>
                    <a:pt x="308" y="139"/>
                  </a:lnTo>
                  <a:lnTo>
                    <a:pt x="308" y="139"/>
                  </a:lnTo>
                  <a:lnTo>
                    <a:pt x="306" y="137"/>
                  </a:lnTo>
                  <a:lnTo>
                    <a:pt x="306" y="137"/>
                  </a:lnTo>
                  <a:lnTo>
                    <a:pt x="304" y="135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0" y="133"/>
                  </a:lnTo>
                  <a:lnTo>
                    <a:pt x="300" y="135"/>
                  </a:lnTo>
                  <a:lnTo>
                    <a:pt x="300" y="135"/>
                  </a:lnTo>
                  <a:lnTo>
                    <a:pt x="300" y="133"/>
                  </a:lnTo>
                  <a:lnTo>
                    <a:pt x="297" y="130"/>
                  </a:lnTo>
                  <a:lnTo>
                    <a:pt x="295" y="128"/>
                  </a:lnTo>
                  <a:lnTo>
                    <a:pt x="293" y="128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91" y="128"/>
                  </a:lnTo>
                  <a:lnTo>
                    <a:pt x="289" y="128"/>
                  </a:lnTo>
                  <a:lnTo>
                    <a:pt x="289" y="128"/>
                  </a:lnTo>
                  <a:lnTo>
                    <a:pt x="289" y="128"/>
                  </a:lnTo>
                  <a:lnTo>
                    <a:pt x="287" y="126"/>
                  </a:lnTo>
                  <a:lnTo>
                    <a:pt x="287" y="126"/>
                  </a:lnTo>
                  <a:lnTo>
                    <a:pt x="287" y="128"/>
                  </a:lnTo>
                  <a:lnTo>
                    <a:pt x="285" y="128"/>
                  </a:lnTo>
                  <a:lnTo>
                    <a:pt x="285" y="126"/>
                  </a:lnTo>
                  <a:lnTo>
                    <a:pt x="283" y="128"/>
                  </a:lnTo>
                  <a:lnTo>
                    <a:pt x="281" y="126"/>
                  </a:lnTo>
                  <a:lnTo>
                    <a:pt x="283" y="126"/>
                  </a:lnTo>
                  <a:lnTo>
                    <a:pt x="283" y="122"/>
                  </a:lnTo>
                  <a:lnTo>
                    <a:pt x="283" y="120"/>
                  </a:lnTo>
                  <a:lnTo>
                    <a:pt x="283" y="120"/>
                  </a:lnTo>
                  <a:lnTo>
                    <a:pt x="281" y="116"/>
                  </a:lnTo>
                  <a:lnTo>
                    <a:pt x="281" y="114"/>
                  </a:lnTo>
                  <a:lnTo>
                    <a:pt x="279" y="105"/>
                  </a:lnTo>
                  <a:lnTo>
                    <a:pt x="279" y="103"/>
                  </a:lnTo>
                  <a:lnTo>
                    <a:pt x="274" y="95"/>
                  </a:lnTo>
                  <a:lnTo>
                    <a:pt x="272" y="95"/>
                  </a:lnTo>
                  <a:lnTo>
                    <a:pt x="270" y="93"/>
                  </a:lnTo>
                  <a:lnTo>
                    <a:pt x="266" y="91"/>
                  </a:lnTo>
                  <a:lnTo>
                    <a:pt x="251" y="78"/>
                  </a:lnTo>
                  <a:lnTo>
                    <a:pt x="237" y="63"/>
                  </a:lnTo>
                  <a:lnTo>
                    <a:pt x="235" y="61"/>
                  </a:lnTo>
                  <a:lnTo>
                    <a:pt x="214" y="70"/>
                  </a:lnTo>
                  <a:lnTo>
                    <a:pt x="209" y="72"/>
                  </a:lnTo>
                  <a:lnTo>
                    <a:pt x="205" y="70"/>
                  </a:lnTo>
                  <a:lnTo>
                    <a:pt x="205" y="70"/>
                  </a:lnTo>
                  <a:lnTo>
                    <a:pt x="203" y="70"/>
                  </a:lnTo>
                  <a:lnTo>
                    <a:pt x="201" y="67"/>
                  </a:lnTo>
                  <a:lnTo>
                    <a:pt x="199" y="65"/>
                  </a:lnTo>
                  <a:lnTo>
                    <a:pt x="195" y="63"/>
                  </a:lnTo>
                  <a:lnTo>
                    <a:pt x="191" y="61"/>
                  </a:lnTo>
                  <a:lnTo>
                    <a:pt x="184" y="59"/>
                  </a:lnTo>
                  <a:lnTo>
                    <a:pt x="180" y="59"/>
                  </a:lnTo>
                  <a:lnTo>
                    <a:pt x="178" y="61"/>
                  </a:lnTo>
                  <a:lnTo>
                    <a:pt x="178" y="61"/>
                  </a:lnTo>
                  <a:lnTo>
                    <a:pt x="174" y="59"/>
                  </a:lnTo>
                  <a:lnTo>
                    <a:pt x="172" y="59"/>
                  </a:lnTo>
                  <a:lnTo>
                    <a:pt x="168" y="61"/>
                  </a:lnTo>
                  <a:lnTo>
                    <a:pt x="157" y="63"/>
                  </a:lnTo>
                  <a:lnTo>
                    <a:pt x="155" y="65"/>
                  </a:lnTo>
                  <a:lnTo>
                    <a:pt x="147" y="65"/>
                  </a:lnTo>
                  <a:lnTo>
                    <a:pt x="142" y="65"/>
                  </a:lnTo>
                  <a:lnTo>
                    <a:pt x="140" y="65"/>
                  </a:lnTo>
                  <a:lnTo>
                    <a:pt x="140" y="63"/>
                  </a:lnTo>
                  <a:lnTo>
                    <a:pt x="138" y="63"/>
                  </a:lnTo>
                  <a:lnTo>
                    <a:pt x="136" y="63"/>
                  </a:lnTo>
                  <a:lnTo>
                    <a:pt x="134" y="65"/>
                  </a:lnTo>
                  <a:lnTo>
                    <a:pt x="132" y="65"/>
                  </a:lnTo>
                  <a:lnTo>
                    <a:pt x="128" y="63"/>
                  </a:lnTo>
                  <a:lnTo>
                    <a:pt x="126" y="63"/>
                  </a:lnTo>
                  <a:lnTo>
                    <a:pt x="121" y="61"/>
                  </a:lnTo>
                  <a:lnTo>
                    <a:pt x="121" y="61"/>
                  </a:lnTo>
                  <a:lnTo>
                    <a:pt x="105" y="59"/>
                  </a:lnTo>
                  <a:lnTo>
                    <a:pt x="103" y="57"/>
                  </a:lnTo>
                  <a:lnTo>
                    <a:pt x="98" y="55"/>
                  </a:lnTo>
                  <a:lnTo>
                    <a:pt x="88" y="46"/>
                  </a:lnTo>
                  <a:lnTo>
                    <a:pt x="84" y="42"/>
                  </a:lnTo>
                  <a:lnTo>
                    <a:pt x="84" y="38"/>
                  </a:lnTo>
                  <a:lnTo>
                    <a:pt x="84" y="36"/>
                  </a:lnTo>
                  <a:lnTo>
                    <a:pt x="82" y="36"/>
                  </a:lnTo>
                  <a:lnTo>
                    <a:pt x="80" y="36"/>
                  </a:lnTo>
                  <a:lnTo>
                    <a:pt x="77" y="36"/>
                  </a:lnTo>
                  <a:lnTo>
                    <a:pt x="71" y="32"/>
                  </a:lnTo>
                  <a:lnTo>
                    <a:pt x="57" y="25"/>
                  </a:lnTo>
                  <a:lnTo>
                    <a:pt x="54" y="25"/>
                  </a:lnTo>
                  <a:lnTo>
                    <a:pt x="50" y="25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4" y="25"/>
                  </a:lnTo>
                  <a:lnTo>
                    <a:pt x="42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9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19" y="32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3" y="42"/>
                  </a:lnTo>
                  <a:lnTo>
                    <a:pt x="21" y="42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1" y="51"/>
                  </a:lnTo>
                  <a:lnTo>
                    <a:pt x="21" y="53"/>
                  </a:lnTo>
                  <a:lnTo>
                    <a:pt x="21" y="55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5" y="65"/>
                  </a:lnTo>
                  <a:lnTo>
                    <a:pt x="27" y="67"/>
                  </a:lnTo>
                  <a:lnTo>
                    <a:pt x="27" y="70"/>
                  </a:lnTo>
                  <a:lnTo>
                    <a:pt x="27" y="72"/>
                  </a:lnTo>
                  <a:lnTo>
                    <a:pt x="25" y="74"/>
                  </a:lnTo>
                  <a:lnTo>
                    <a:pt x="27" y="74"/>
                  </a:lnTo>
                  <a:lnTo>
                    <a:pt x="27" y="76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31" y="80"/>
                  </a:lnTo>
                  <a:lnTo>
                    <a:pt x="31" y="82"/>
                  </a:lnTo>
                  <a:lnTo>
                    <a:pt x="36" y="88"/>
                  </a:lnTo>
                  <a:lnTo>
                    <a:pt x="36" y="91"/>
                  </a:lnTo>
                  <a:lnTo>
                    <a:pt x="38" y="93"/>
                  </a:lnTo>
                  <a:lnTo>
                    <a:pt x="38" y="95"/>
                  </a:lnTo>
                  <a:lnTo>
                    <a:pt x="38" y="99"/>
                  </a:lnTo>
                  <a:lnTo>
                    <a:pt x="40" y="99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1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2" y="105"/>
                  </a:lnTo>
                  <a:lnTo>
                    <a:pt x="44" y="105"/>
                  </a:lnTo>
                  <a:lnTo>
                    <a:pt x="46" y="107"/>
                  </a:lnTo>
                  <a:lnTo>
                    <a:pt x="48" y="112"/>
                  </a:lnTo>
                  <a:lnTo>
                    <a:pt x="48" y="114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4" y="116"/>
                  </a:lnTo>
                  <a:lnTo>
                    <a:pt x="52" y="118"/>
                  </a:lnTo>
                  <a:lnTo>
                    <a:pt x="52" y="118"/>
                  </a:lnTo>
                  <a:lnTo>
                    <a:pt x="52" y="118"/>
                  </a:lnTo>
                  <a:lnTo>
                    <a:pt x="52" y="120"/>
                  </a:lnTo>
                  <a:lnTo>
                    <a:pt x="54" y="120"/>
                  </a:lnTo>
                  <a:lnTo>
                    <a:pt x="57" y="120"/>
                  </a:lnTo>
                  <a:lnTo>
                    <a:pt x="57" y="120"/>
                  </a:lnTo>
                  <a:lnTo>
                    <a:pt x="61" y="124"/>
                  </a:lnTo>
                  <a:lnTo>
                    <a:pt x="67" y="128"/>
                  </a:lnTo>
                  <a:lnTo>
                    <a:pt x="71" y="135"/>
                  </a:lnTo>
                  <a:lnTo>
                    <a:pt x="75" y="137"/>
                  </a:lnTo>
                  <a:lnTo>
                    <a:pt x="75" y="139"/>
                  </a:lnTo>
                  <a:lnTo>
                    <a:pt x="84" y="147"/>
                  </a:lnTo>
                  <a:lnTo>
                    <a:pt x="94" y="158"/>
                  </a:lnTo>
                  <a:lnTo>
                    <a:pt x="96" y="160"/>
                  </a:lnTo>
                  <a:lnTo>
                    <a:pt x="98" y="160"/>
                  </a:lnTo>
                  <a:lnTo>
                    <a:pt x="101" y="160"/>
                  </a:lnTo>
                  <a:lnTo>
                    <a:pt x="105" y="166"/>
                  </a:lnTo>
                  <a:lnTo>
                    <a:pt x="105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9" y="166"/>
                  </a:lnTo>
                  <a:lnTo>
                    <a:pt x="109" y="166"/>
                  </a:lnTo>
                  <a:lnTo>
                    <a:pt x="111" y="166"/>
                  </a:lnTo>
                  <a:lnTo>
                    <a:pt x="111" y="168"/>
                  </a:lnTo>
                  <a:lnTo>
                    <a:pt x="113" y="168"/>
                  </a:lnTo>
                  <a:lnTo>
                    <a:pt x="113" y="168"/>
                  </a:lnTo>
                  <a:lnTo>
                    <a:pt x="113" y="170"/>
                  </a:lnTo>
                  <a:lnTo>
                    <a:pt x="113" y="170"/>
                  </a:lnTo>
                  <a:lnTo>
                    <a:pt x="119" y="177"/>
                  </a:lnTo>
                  <a:lnTo>
                    <a:pt x="134" y="196"/>
                  </a:lnTo>
                  <a:lnTo>
                    <a:pt x="138" y="200"/>
                  </a:lnTo>
                  <a:lnTo>
                    <a:pt x="142" y="202"/>
                  </a:lnTo>
                  <a:lnTo>
                    <a:pt x="147" y="204"/>
                  </a:lnTo>
                  <a:lnTo>
                    <a:pt x="165" y="204"/>
                  </a:lnTo>
                  <a:lnTo>
                    <a:pt x="168" y="204"/>
                  </a:lnTo>
                  <a:lnTo>
                    <a:pt x="170" y="206"/>
                  </a:lnTo>
                  <a:lnTo>
                    <a:pt x="170" y="206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4" y="206"/>
                  </a:lnTo>
                  <a:lnTo>
                    <a:pt x="176" y="208"/>
                  </a:lnTo>
                  <a:lnTo>
                    <a:pt x="176" y="208"/>
                  </a:lnTo>
                  <a:lnTo>
                    <a:pt x="176" y="210"/>
                  </a:lnTo>
                  <a:lnTo>
                    <a:pt x="178" y="210"/>
                  </a:lnTo>
                  <a:lnTo>
                    <a:pt x="178" y="214"/>
                  </a:lnTo>
                  <a:lnTo>
                    <a:pt x="180" y="217"/>
                  </a:lnTo>
                  <a:lnTo>
                    <a:pt x="188" y="223"/>
                  </a:lnTo>
                  <a:lnTo>
                    <a:pt x="191" y="225"/>
                  </a:lnTo>
                  <a:lnTo>
                    <a:pt x="203" y="248"/>
                  </a:lnTo>
                  <a:lnTo>
                    <a:pt x="203" y="250"/>
                  </a:lnTo>
                  <a:lnTo>
                    <a:pt x="205" y="250"/>
                  </a:lnTo>
                  <a:lnTo>
                    <a:pt x="207" y="250"/>
                  </a:lnTo>
                  <a:lnTo>
                    <a:pt x="212" y="250"/>
                  </a:lnTo>
                  <a:lnTo>
                    <a:pt x="214" y="252"/>
                  </a:lnTo>
                  <a:lnTo>
                    <a:pt x="216" y="257"/>
                  </a:lnTo>
                  <a:lnTo>
                    <a:pt x="216" y="265"/>
                  </a:lnTo>
                  <a:lnTo>
                    <a:pt x="218" y="267"/>
                  </a:lnTo>
                  <a:lnTo>
                    <a:pt x="220" y="271"/>
                  </a:lnTo>
                  <a:lnTo>
                    <a:pt x="226" y="280"/>
                  </a:lnTo>
                  <a:lnTo>
                    <a:pt x="228" y="280"/>
                  </a:lnTo>
                  <a:lnTo>
                    <a:pt x="230" y="282"/>
                  </a:lnTo>
                  <a:lnTo>
                    <a:pt x="232" y="282"/>
                  </a:lnTo>
                  <a:lnTo>
                    <a:pt x="232" y="282"/>
                  </a:lnTo>
                  <a:lnTo>
                    <a:pt x="239" y="284"/>
                  </a:lnTo>
                  <a:lnTo>
                    <a:pt x="243" y="286"/>
                  </a:lnTo>
                  <a:lnTo>
                    <a:pt x="243" y="286"/>
                  </a:lnTo>
                  <a:lnTo>
                    <a:pt x="245" y="286"/>
                  </a:lnTo>
                  <a:lnTo>
                    <a:pt x="245" y="288"/>
                  </a:lnTo>
                  <a:lnTo>
                    <a:pt x="249" y="305"/>
                  </a:lnTo>
                  <a:lnTo>
                    <a:pt x="249" y="317"/>
                  </a:lnTo>
                  <a:lnTo>
                    <a:pt x="249" y="328"/>
                  </a:lnTo>
                  <a:lnTo>
                    <a:pt x="251" y="330"/>
                  </a:lnTo>
                  <a:lnTo>
                    <a:pt x="251" y="332"/>
                  </a:lnTo>
                  <a:lnTo>
                    <a:pt x="253" y="334"/>
                  </a:lnTo>
                  <a:lnTo>
                    <a:pt x="258" y="341"/>
                  </a:lnTo>
                  <a:lnTo>
                    <a:pt x="260" y="343"/>
                  </a:lnTo>
                  <a:lnTo>
                    <a:pt x="260" y="343"/>
                  </a:lnTo>
                  <a:lnTo>
                    <a:pt x="262" y="341"/>
                  </a:lnTo>
                  <a:lnTo>
                    <a:pt x="262" y="341"/>
                  </a:lnTo>
                  <a:lnTo>
                    <a:pt x="264" y="343"/>
                  </a:lnTo>
                  <a:lnTo>
                    <a:pt x="264" y="343"/>
                  </a:lnTo>
                  <a:lnTo>
                    <a:pt x="264" y="343"/>
                  </a:lnTo>
                  <a:lnTo>
                    <a:pt x="266" y="343"/>
                  </a:lnTo>
                  <a:lnTo>
                    <a:pt x="268" y="345"/>
                  </a:lnTo>
                  <a:lnTo>
                    <a:pt x="270" y="345"/>
                  </a:lnTo>
                  <a:lnTo>
                    <a:pt x="270" y="345"/>
                  </a:lnTo>
                  <a:lnTo>
                    <a:pt x="276" y="343"/>
                  </a:lnTo>
                  <a:lnTo>
                    <a:pt x="279" y="343"/>
                  </a:lnTo>
                  <a:lnTo>
                    <a:pt x="281" y="345"/>
                  </a:lnTo>
                  <a:lnTo>
                    <a:pt x="291" y="349"/>
                  </a:lnTo>
                  <a:lnTo>
                    <a:pt x="291" y="349"/>
                  </a:lnTo>
                  <a:lnTo>
                    <a:pt x="291" y="349"/>
                  </a:lnTo>
                  <a:lnTo>
                    <a:pt x="293" y="338"/>
                  </a:lnTo>
                  <a:lnTo>
                    <a:pt x="293" y="336"/>
                  </a:lnTo>
                  <a:lnTo>
                    <a:pt x="293" y="332"/>
                  </a:lnTo>
                  <a:lnTo>
                    <a:pt x="291" y="330"/>
                  </a:lnTo>
                  <a:lnTo>
                    <a:pt x="291" y="328"/>
                  </a:lnTo>
                  <a:lnTo>
                    <a:pt x="291" y="326"/>
                  </a:lnTo>
                  <a:lnTo>
                    <a:pt x="289" y="326"/>
                  </a:lnTo>
                  <a:lnTo>
                    <a:pt x="289" y="326"/>
                  </a:lnTo>
                  <a:lnTo>
                    <a:pt x="289" y="326"/>
                  </a:lnTo>
                  <a:lnTo>
                    <a:pt x="287" y="324"/>
                  </a:lnTo>
                  <a:lnTo>
                    <a:pt x="285" y="317"/>
                  </a:lnTo>
                  <a:lnTo>
                    <a:pt x="285" y="313"/>
                  </a:lnTo>
                  <a:lnTo>
                    <a:pt x="285" y="313"/>
                  </a:lnTo>
                  <a:lnTo>
                    <a:pt x="285" y="311"/>
                  </a:lnTo>
                  <a:lnTo>
                    <a:pt x="285" y="309"/>
                  </a:lnTo>
                  <a:lnTo>
                    <a:pt x="285" y="309"/>
                  </a:lnTo>
                  <a:lnTo>
                    <a:pt x="285" y="307"/>
                  </a:lnTo>
                  <a:lnTo>
                    <a:pt x="285" y="307"/>
                  </a:lnTo>
                  <a:lnTo>
                    <a:pt x="287" y="305"/>
                  </a:lnTo>
                  <a:lnTo>
                    <a:pt x="289" y="305"/>
                  </a:lnTo>
                  <a:lnTo>
                    <a:pt x="289" y="303"/>
                  </a:lnTo>
                  <a:lnTo>
                    <a:pt x="289" y="303"/>
                  </a:lnTo>
                  <a:lnTo>
                    <a:pt x="287" y="301"/>
                  </a:lnTo>
                  <a:lnTo>
                    <a:pt x="287" y="299"/>
                  </a:lnTo>
                  <a:lnTo>
                    <a:pt x="287" y="296"/>
                  </a:lnTo>
                  <a:lnTo>
                    <a:pt x="287" y="294"/>
                  </a:lnTo>
                  <a:lnTo>
                    <a:pt x="287" y="294"/>
                  </a:lnTo>
                  <a:lnTo>
                    <a:pt x="287" y="292"/>
                  </a:lnTo>
                  <a:lnTo>
                    <a:pt x="287" y="292"/>
                  </a:lnTo>
                  <a:lnTo>
                    <a:pt x="287" y="290"/>
                  </a:lnTo>
                  <a:lnTo>
                    <a:pt x="285" y="290"/>
                  </a:lnTo>
                  <a:lnTo>
                    <a:pt x="285" y="288"/>
                  </a:lnTo>
                  <a:lnTo>
                    <a:pt x="283" y="288"/>
                  </a:lnTo>
                  <a:lnTo>
                    <a:pt x="281" y="288"/>
                  </a:lnTo>
                  <a:lnTo>
                    <a:pt x="279" y="284"/>
                  </a:lnTo>
                  <a:lnTo>
                    <a:pt x="279" y="284"/>
                  </a:lnTo>
                  <a:lnTo>
                    <a:pt x="276" y="282"/>
                  </a:lnTo>
                  <a:lnTo>
                    <a:pt x="274" y="282"/>
                  </a:lnTo>
                  <a:lnTo>
                    <a:pt x="274" y="282"/>
                  </a:lnTo>
                  <a:lnTo>
                    <a:pt x="274" y="280"/>
                  </a:lnTo>
                  <a:lnTo>
                    <a:pt x="274" y="280"/>
                  </a:lnTo>
                  <a:lnTo>
                    <a:pt x="274" y="275"/>
                  </a:lnTo>
                  <a:lnTo>
                    <a:pt x="272" y="269"/>
                  </a:lnTo>
                  <a:lnTo>
                    <a:pt x="272" y="267"/>
                  </a:lnTo>
                  <a:lnTo>
                    <a:pt x="272" y="267"/>
                  </a:lnTo>
                  <a:lnTo>
                    <a:pt x="272" y="265"/>
                  </a:lnTo>
                  <a:lnTo>
                    <a:pt x="272" y="265"/>
                  </a:lnTo>
                  <a:lnTo>
                    <a:pt x="274" y="267"/>
                  </a:lnTo>
                  <a:lnTo>
                    <a:pt x="274" y="265"/>
                  </a:lnTo>
                  <a:lnTo>
                    <a:pt x="276" y="265"/>
                  </a:lnTo>
                  <a:lnTo>
                    <a:pt x="276" y="263"/>
                  </a:lnTo>
                  <a:lnTo>
                    <a:pt x="276" y="261"/>
                  </a:lnTo>
                  <a:lnTo>
                    <a:pt x="276" y="261"/>
                  </a:lnTo>
                  <a:lnTo>
                    <a:pt x="274" y="257"/>
                  </a:lnTo>
                  <a:lnTo>
                    <a:pt x="274" y="257"/>
                  </a:lnTo>
                  <a:lnTo>
                    <a:pt x="272" y="254"/>
                  </a:lnTo>
                  <a:lnTo>
                    <a:pt x="272" y="254"/>
                  </a:lnTo>
                  <a:lnTo>
                    <a:pt x="272" y="252"/>
                  </a:lnTo>
                  <a:lnTo>
                    <a:pt x="272" y="252"/>
                  </a:lnTo>
                  <a:lnTo>
                    <a:pt x="270" y="250"/>
                  </a:lnTo>
                  <a:lnTo>
                    <a:pt x="270" y="250"/>
                  </a:lnTo>
                  <a:lnTo>
                    <a:pt x="270" y="248"/>
                  </a:lnTo>
                  <a:lnTo>
                    <a:pt x="272" y="248"/>
                  </a:lnTo>
                  <a:lnTo>
                    <a:pt x="279" y="246"/>
                  </a:lnTo>
                  <a:lnTo>
                    <a:pt x="279" y="246"/>
                  </a:lnTo>
                  <a:lnTo>
                    <a:pt x="281" y="242"/>
                  </a:lnTo>
                  <a:lnTo>
                    <a:pt x="281" y="240"/>
                  </a:lnTo>
                  <a:lnTo>
                    <a:pt x="279" y="240"/>
                  </a:lnTo>
                  <a:lnTo>
                    <a:pt x="276" y="235"/>
                  </a:lnTo>
                  <a:lnTo>
                    <a:pt x="274" y="235"/>
                  </a:lnTo>
                  <a:lnTo>
                    <a:pt x="274" y="233"/>
                  </a:lnTo>
                  <a:lnTo>
                    <a:pt x="272" y="233"/>
                  </a:lnTo>
                  <a:lnTo>
                    <a:pt x="272" y="231"/>
                  </a:lnTo>
                  <a:lnTo>
                    <a:pt x="272" y="231"/>
                  </a:lnTo>
                  <a:lnTo>
                    <a:pt x="274" y="229"/>
                  </a:lnTo>
                  <a:lnTo>
                    <a:pt x="274" y="227"/>
                  </a:lnTo>
                  <a:lnTo>
                    <a:pt x="274" y="227"/>
                  </a:lnTo>
                  <a:lnTo>
                    <a:pt x="272" y="225"/>
                  </a:lnTo>
                  <a:lnTo>
                    <a:pt x="272" y="225"/>
                  </a:lnTo>
                  <a:lnTo>
                    <a:pt x="270" y="223"/>
                  </a:lnTo>
                  <a:lnTo>
                    <a:pt x="270" y="221"/>
                  </a:lnTo>
                  <a:lnTo>
                    <a:pt x="270" y="221"/>
                  </a:lnTo>
                  <a:lnTo>
                    <a:pt x="270" y="221"/>
                  </a:lnTo>
                  <a:lnTo>
                    <a:pt x="268" y="221"/>
                  </a:lnTo>
                  <a:lnTo>
                    <a:pt x="268" y="219"/>
                  </a:lnTo>
                  <a:lnTo>
                    <a:pt x="266" y="219"/>
                  </a:lnTo>
                  <a:lnTo>
                    <a:pt x="266" y="212"/>
                  </a:lnTo>
                  <a:lnTo>
                    <a:pt x="264" y="210"/>
                  </a:lnTo>
                  <a:lnTo>
                    <a:pt x="262" y="206"/>
                  </a:lnTo>
                  <a:lnTo>
                    <a:pt x="262" y="206"/>
                  </a:lnTo>
                  <a:lnTo>
                    <a:pt x="262" y="204"/>
                  </a:lnTo>
                  <a:lnTo>
                    <a:pt x="262" y="204"/>
                  </a:lnTo>
                  <a:lnTo>
                    <a:pt x="262" y="202"/>
                  </a:lnTo>
                  <a:lnTo>
                    <a:pt x="264" y="202"/>
                  </a:lnTo>
                  <a:lnTo>
                    <a:pt x="270" y="196"/>
                  </a:lnTo>
                  <a:lnTo>
                    <a:pt x="272" y="193"/>
                  </a:lnTo>
                  <a:lnTo>
                    <a:pt x="272" y="193"/>
                  </a:lnTo>
                  <a:lnTo>
                    <a:pt x="272" y="191"/>
                  </a:lnTo>
                  <a:lnTo>
                    <a:pt x="272" y="189"/>
                  </a:lnTo>
                  <a:lnTo>
                    <a:pt x="272" y="187"/>
                  </a:lnTo>
                  <a:lnTo>
                    <a:pt x="274" y="189"/>
                  </a:lnTo>
                  <a:lnTo>
                    <a:pt x="274" y="189"/>
                  </a:lnTo>
                  <a:lnTo>
                    <a:pt x="276" y="189"/>
                  </a:lnTo>
                  <a:lnTo>
                    <a:pt x="276" y="187"/>
                  </a:lnTo>
                  <a:lnTo>
                    <a:pt x="276" y="187"/>
                  </a:lnTo>
                  <a:lnTo>
                    <a:pt x="276" y="185"/>
                  </a:lnTo>
                  <a:lnTo>
                    <a:pt x="279" y="185"/>
                  </a:lnTo>
                  <a:lnTo>
                    <a:pt x="281" y="183"/>
                  </a:lnTo>
                  <a:lnTo>
                    <a:pt x="283" y="181"/>
                  </a:lnTo>
                  <a:lnTo>
                    <a:pt x="283" y="179"/>
                  </a:lnTo>
                  <a:lnTo>
                    <a:pt x="283" y="179"/>
                  </a:lnTo>
                  <a:lnTo>
                    <a:pt x="285" y="177"/>
                  </a:lnTo>
                  <a:lnTo>
                    <a:pt x="285" y="175"/>
                  </a:lnTo>
                  <a:lnTo>
                    <a:pt x="285" y="172"/>
                  </a:lnTo>
                  <a:lnTo>
                    <a:pt x="285" y="170"/>
                  </a:lnTo>
                  <a:lnTo>
                    <a:pt x="287" y="166"/>
                  </a:lnTo>
                  <a:lnTo>
                    <a:pt x="287" y="162"/>
                  </a:lnTo>
                  <a:lnTo>
                    <a:pt x="289" y="162"/>
                  </a:lnTo>
                  <a:lnTo>
                    <a:pt x="289" y="160"/>
                  </a:lnTo>
                  <a:lnTo>
                    <a:pt x="289" y="160"/>
                  </a:lnTo>
                  <a:lnTo>
                    <a:pt x="289" y="158"/>
                  </a:lnTo>
                  <a:lnTo>
                    <a:pt x="289" y="158"/>
                  </a:lnTo>
                  <a:lnTo>
                    <a:pt x="289" y="156"/>
                  </a:lnTo>
                  <a:lnTo>
                    <a:pt x="289" y="156"/>
                  </a:lnTo>
                  <a:lnTo>
                    <a:pt x="291" y="156"/>
                  </a:lnTo>
                  <a:lnTo>
                    <a:pt x="293" y="156"/>
                  </a:lnTo>
                  <a:lnTo>
                    <a:pt x="293" y="154"/>
                  </a:lnTo>
                  <a:lnTo>
                    <a:pt x="295" y="154"/>
                  </a:lnTo>
                  <a:lnTo>
                    <a:pt x="295" y="151"/>
                  </a:lnTo>
                  <a:lnTo>
                    <a:pt x="300" y="151"/>
                  </a:lnTo>
                  <a:lnTo>
                    <a:pt x="300" y="151"/>
                  </a:lnTo>
                  <a:lnTo>
                    <a:pt x="308" y="151"/>
                  </a:lnTo>
                  <a:lnTo>
                    <a:pt x="308" y="151"/>
                  </a:lnTo>
                  <a:lnTo>
                    <a:pt x="308" y="151"/>
                  </a:lnTo>
                  <a:lnTo>
                    <a:pt x="308" y="145"/>
                  </a:lnTo>
                  <a:lnTo>
                    <a:pt x="308" y="141"/>
                  </a:lnTo>
                  <a:close/>
                  <a:moveTo>
                    <a:pt x="153" y="353"/>
                  </a:moveTo>
                  <a:lnTo>
                    <a:pt x="155" y="351"/>
                  </a:lnTo>
                  <a:lnTo>
                    <a:pt x="155" y="351"/>
                  </a:lnTo>
                  <a:lnTo>
                    <a:pt x="153" y="351"/>
                  </a:lnTo>
                  <a:lnTo>
                    <a:pt x="151" y="349"/>
                  </a:lnTo>
                  <a:lnTo>
                    <a:pt x="151" y="351"/>
                  </a:lnTo>
                  <a:lnTo>
                    <a:pt x="153" y="353"/>
                  </a:lnTo>
                  <a:close/>
                  <a:moveTo>
                    <a:pt x="220" y="355"/>
                  </a:moveTo>
                  <a:lnTo>
                    <a:pt x="218" y="353"/>
                  </a:lnTo>
                  <a:lnTo>
                    <a:pt x="218" y="351"/>
                  </a:lnTo>
                  <a:lnTo>
                    <a:pt x="218" y="351"/>
                  </a:lnTo>
                  <a:lnTo>
                    <a:pt x="216" y="351"/>
                  </a:lnTo>
                  <a:lnTo>
                    <a:pt x="214" y="349"/>
                  </a:lnTo>
                  <a:lnTo>
                    <a:pt x="216" y="347"/>
                  </a:lnTo>
                  <a:lnTo>
                    <a:pt x="214" y="347"/>
                  </a:lnTo>
                  <a:lnTo>
                    <a:pt x="214" y="345"/>
                  </a:lnTo>
                  <a:lnTo>
                    <a:pt x="212" y="347"/>
                  </a:lnTo>
                  <a:lnTo>
                    <a:pt x="209" y="347"/>
                  </a:lnTo>
                  <a:lnTo>
                    <a:pt x="209" y="347"/>
                  </a:lnTo>
                  <a:lnTo>
                    <a:pt x="207" y="349"/>
                  </a:lnTo>
                  <a:lnTo>
                    <a:pt x="205" y="349"/>
                  </a:lnTo>
                  <a:lnTo>
                    <a:pt x="205" y="347"/>
                  </a:lnTo>
                  <a:lnTo>
                    <a:pt x="205" y="347"/>
                  </a:lnTo>
                  <a:lnTo>
                    <a:pt x="203" y="345"/>
                  </a:lnTo>
                  <a:lnTo>
                    <a:pt x="203" y="345"/>
                  </a:lnTo>
                  <a:lnTo>
                    <a:pt x="199" y="347"/>
                  </a:lnTo>
                  <a:lnTo>
                    <a:pt x="199" y="347"/>
                  </a:lnTo>
                  <a:lnTo>
                    <a:pt x="197" y="347"/>
                  </a:lnTo>
                  <a:lnTo>
                    <a:pt x="207" y="351"/>
                  </a:lnTo>
                  <a:lnTo>
                    <a:pt x="209" y="353"/>
                  </a:lnTo>
                  <a:lnTo>
                    <a:pt x="209" y="353"/>
                  </a:lnTo>
                  <a:lnTo>
                    <a:pt x="214" y="357"/>
                  </a:lnTo>
                  <a:lnTo>
                    <a:pt x="216" y="359"/>
                  </a:lnTo>
                  <a:lnTo>
                    <a:pt x="216" y="362"/>
                  </a:lnTo>
                  <a:lnTo>
                    <a:pt x="216" y="362"/>
                  </a:lnTo>
                  <a:lnTo>
                    <a:pt x="218" y="362"/>
                  </a:lnTo>
                  <a:lnTo>
                    <a:pt x="218" y="364"/>
                  </a:lnTo>
                  <a:lnTo>
                    <a:pt x="218" y="364"/>
                  </a:lnTo>
                  <a:lnTo>
                    <a:pt x="220" y="364"/>
                  </a:lnTo>
                  <a:lnTo>
                    <a:pt x="220" y="364"/>
                  </a:lnTo>
                  <a:lnTo>
                    <a:pt x="220" y="364"/>
                  </a:lnTo>
                  <a:lnTo>
                    <a:pt x="220" y="362"/>
                  </a:lnTo>
                  <a:lnTo>
                    <a:pt x="220" y="359"/>
                  </a:lnTo>
                  <a:lnTo>
                    <a:pt x="220" y="357"/>
                  </a:lnTo>
                  <a:lnTo>
                    <a:pt x="220" y="355"/>
                  </a:lnTo>
                  <a:close/>
                  <a:moveTo>
                    <a:pt x="201" y="359"/>
                  </a:moveTo>
                  <a:lnTo>
                    <a:pt x="201" y="357"/>
                  </a:lnTo>
                  <a:lnTo>
                    <a:pt x="199" y="357"/>
                  </a:lnTo>
                  <a:lnTo>
                    <a:pt x="197" y="357"/>
                  </a:lnTo>
                  <a:lnTo>
                    <a:pt x="197" y="357"/>
                  </a:lnTo>
                  <a:lnTo>
                    <a:pt x="197" y="359"/>
                  </a:lnTo>
                  <a:lnTo>
                    <a:pt x="195" y="359"/>
                  </a:lnTo>
                  <a:lnTo>
                    <a:pt x="195" y="359"/>
                  </a:lnTo>
                  <a:lnTo>
                    <a:pt x="197" y="366"/>
                  </a:lnTo>
                  <a:lnTo>
                    <a:pt x="199" y="366"/>
                  </a:lnTo>
                  <a:lnTo>
                    <a:pt x="199" y="366"/>
                  </a:lnTo>
                  <a:lnTo>
                    <a:pt x="199" y="364"/>
                  </a:lnTo>
                  <a:lnTo>
                    <a:pt x="199" y="364"/>
                  </a:lnTo>
                  <a:lnTo>
                    <a:pt x="201" y="364"/>
                  </a:lnTo>
                  <a:lnTo>
                    <a:pt x="201" y="362"/>
                  </a:lnTo>
                  <a:lnTo>
                    <a:pt x="201" y="362"/>
                  </a:lnTo>
                  <a:lnTo>
                    <a:pt x="201" y="359"/>
                  </a:ln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  <a:headEnd/>
              <a:tailEnd/>
            </a:ln>
            <a:effec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 dirty="0"/>
            </a:p>
          </p:txBody>
        </p:sp>
      </p:grpSp>
      <p:sp>
        <p:nvSpPr>
          <p:cNvPr id="149" name="object 35">
            <a:extLst>
              <a:ext uri="{FF2B5EF4-FFF2-40B4-BE49-F238E27FC236}">
                <a16:creationId xmlns:a16="http://schemas.microsoft.com/office/drawing/2014/main" id="{9B00A3D8-7CC3-41B6-A008-C5D1C5B8CDBB}"/>
              </a:ext>
            </a:extLst>
          </p:cNvPr>
          <p:cNvSpPr txBox="1"/>
          <p:nvPr/>
        </p:nvSpPr>
        <p:spPr>
          <a:xfrm>
            <a:off x="3253629" y="717249"/>
            <a:ext cx="5393971" cy="834083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11206" algn="ctr">
              <a:lnSpc>
                <a:spcPts val="2660"/>
              </a:lnSpc>
            </a:pPr>
            <a:r>
              <a:rPr lang="en-US" sz="2515" b="1" spc="8" dirty="0">
                <a:latin typeface="Arial" panose="020B0604020202020204" pitchFamily="34" charset="0"/>
                <a:cs typeface="Arial" panose="020B0604020202020204" pitchFamily="34" charset="0"/>
              </a:rPr>
              <a:t>Japanese Investment in Indonesia</a:t>
            </a:r>
          </a:p>
          <a:p>
            <a:pPr marL="11206" algn="ctr">
              <a:lnSpc>
                <a:spcPts val="2660"/>
              </a:lnSpc>
            </a:pPr>
            <a:r>
              <a:rPr lang="en-US" spc="8" dirty="0">
                <a:latin typeface="Arial" panose="020B0604020202020204" pitchFamily="34" charset="0"/>
                <a:cs typeface="Arial" panose="020B0604020202020204" pitchFamily="34" charset="0"/>
              </a:rPr>
              <a:t>2017 - Jun 2022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0" name="object 35">
            <a:extLst>
              <a:ext uri="{FF2B5EF4-FFF2-40B4-BE49-F238E27FC236}">
                <a16:creationId xmlns:a16="http://schemas.microsoft.com/office/drawing/2014/main" id="{942C0AF8-5207-4CE7-BC74-BBD427933BEE}"/>
              </a:ext>
            </a:extLst>
          </p:cNvPr>
          <p:cNvSpPr txBox="1"/>
          <p:nvPr/>
        </p:nvSpPr>
        <p:spPr>
          <a:xfrm>
            <a:off x="381800" y="1510779"/>
            <a:ext cx="5393971" cy="45137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11206">
              <a:lnSpc>
                <a:spcPts val="2660"/>
              </a:lnSpc>
              <a:spcBef>
                <a:spcPts val="132"/>
              </a:spcBef>
            </a:pPr>
            <a:r>
              <a:rPr lang="en-US" b="1" spc="8" dirty="0">
                <a:solidFill>
                  <a:srgbClr val="0023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sector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1" name="object 35">
            <a:extLst>
              <a:ext uri="{FF2B5EF4-FFF2-40B4-BE49-F238E27FC236}">
                <a16:creationId xmlns:a16="http://schemas.microsoft.com/office/drawing/2014/main" id="{85ED3457-6EB4-4D0F-BE60-5D6765FBC3D7}"/>
              </a:ext>
            </a:extLst>
          </p:cNvPr>
          <p:cNvSpPr txBox="1"/>
          <p:nvPr/>
        </p:nvSpPr>
        <p:spPr>
          <a:xfrm>
            <a:off x="6322382" y="1512485"/>
            <a:ext cx="5393971" cy="451375"/>
          </a:xfrm>
          <a:prstGeom prst="rect">
            <a:avLst/>
          </a:prstGeom>
        </p:spPr>
        <p:txBody>
          <a:bodyPr wrap="square" lIns="0" tIns="0" rIns="0" bIns="0" rtlCol="0" anchor="ctr">
            <a:noAutofit/>
          </a:bodyPr>
          <a:lstStyle/>
          <a:p>
            <a:pPr marL="11206">
              <a:lnSpc>
                <a:spcPts val="2660"/>
              </a:lnSpc>
              <a:spcBef>
                <a:spcPts val="132"/>
              </a:spcBef>
            </a:pPr>
            <a:r>
              <a:rPr lang="en-US" b="1" spc="8" dirty="0">
                <a:solidFill>
                  <a:srgbClr val="00236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sed on location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D3CE719-FF05-4A63-D9E1-F17C178167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31358"/>
            <a:ext cx="4435341" cy="1197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0511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j0mif7Kgo.njzMJb6Z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gB.gzOZrQxu0l_wKN_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iFxixiCic5Sjx.HDnwT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CG Grid 16:9">
  <a:themeElements>
    <a:clrScheme name="BUMN Battery Grid 16:9">
      <a:dk1>
        <a:srgbClr val="000000"/>
      </a:dk1>
      <a:lt1>
        <a:sysClr val="window" lastClr="FFFFFF"/>
      </a:lt1>
      <a:dk2>
        <a:srgbClr val="203864"/>
      </a:dk2>
      <a:lt2>
        <a:srgbClr val="F2F2F2"/>
      </a:lt2>
      <a:accent1>
        <a:srgbClr val="121F36"/>
      </a:accent1>
      <a:accent2>
        <a:srgbClr val="33599D"/>
      </a:accent2>
      <a:accent3>
        <a:srgbClr val="FFFF00"/>
      </a:accent3>
      <a:accent4>
        <a:srgbClr val="5780C9"/>
      </a:accent4>
      <a:accent5>
        <a:srgbClr val="68696E"/>
      </a:accent5>
      <a:accent6>
        <a:srgbClr val="00B4B7"/>
      </a:accent6>
      <a:hlink>
        <a:srgbClr val="939CC7"/>
      </a:hlink>
      <a:folHlink>
        <a:srgbClr val="939CC7"/>
      </a:folHlink>
    </a:clrScheme>
    <a:fontScheme name="Custom 5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accent5"/>
          </a:solidFill>
          <a:prstDash val="solid"/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3_Tem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rgbClr val="000000"/>
    </a:dk1>
    <a:lt1>
      <a:srgbClr val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Arial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9895</TotalTime>
  <Words>3229</Words>
  <Application>Microsoft Office PowerPoint</Application>
  <PresentationFormat>Widescreen</PresentationFormat>
  <Paragraphs>773</Paragraphs>
  <Slides>2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1" baseType="lpstr">
      <vt:lpstr>Arial</vt:lpstr>
      <vt:lpstr>Calibri</vt:lpstr>
      <vt:lpstr>Calibri Light</vt:lpstr>
      <vt:lpstr>Carlito</vt:lpstr>
      <vt:lpstr>Courier New</vt:lpstr>
      <vt:lpstr>Gotham</vt:lpstr>
      <vt:lpstr>GOTHAM-BOOK</vt:lpstr>
      <vt:lpstr>Lato</vt:lpstr>
      <vt:lpstr>Montserrat</vt:lpstr>
      <vt:lpstr>oxygenRegular</vt:lpstr>
      <vt:lpstr>Times New Roman</vt:lpstr>
      <vt:lpstr>Trebuchet MS</vt:lpstr>
      <vt:lpstr>Wingdings</vt:lpstr>
      <vt:lpstr>BCG Grid 16:9</vt:lpstr>
      <vt:lpstr>3_Tema Office</vt:lpstr>
      <vt:lpstr>1_Tema Offic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i Pramono Sudi</dc:creator>
  <cp:lastModifiedBy>Dit. PSP</cp:lastModifiedBy>
  <cp:revision>199</cp:revision>
  <cp:lastPrinted>2021-10-21T02:26:10Z</cp:lastPrinted>
  <dcterms:created xsi:type="dcterms:W3CDTF">2021-07-22T16:14:13Z</dcterms:created>
  <dcterms:modified xsi:type="dcterms:W3CDTF">2022-10-25T04:34:26Z</dcterms:modified>
</cp:coreProperties>
</file>